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22" r:id="rId5"/>
    <p:sldMasterId id="2147483735" r:id="rId6"/>
    <p:sldMasterId id="2147483747" r:id="rId7"/>
    <p:sldMasterId id="2147483750" r:id="rId8"/>
  </p:sldMasterIdLst>
  <p:notesMasterIdLst>
    <p:notesMasterId r:id="rId17"/>
  </p:notesMasterIdLst>
  <p:handoutMasterIdLst>
    <p:handoutMasterId r:id="rId18"/>
  </p:handoutMasterIdLst>
  <p:sldIdLst>
    <p:sldId id="259" r:id="rId9"/>
    <p:sldId id="2147483357" r:id="rId10"/>
    <p:sldId id="2147483362" r:id="rId11"/>
    <p:sldId id="2147375567" r:id="rId12"/>
    <p:sldId id="2147375568" r:id="rId13"/>
    <p:sldId id="2147483363" r:id="rId14"/>
    <p:sldId id="2147483364" r:id="rId15"/>
    <p:sldId id="2147483366" r:id="rId16"/>
  </p:sldIdLst>
  <p:sldSz cx="12192000" cy="6858000"/>
  <p:notesSz cx="6858000" cy="9926638"/>
  <p:defaultTextStyle>
    <a:defPPr>
      <a:defRPr lang="fi-FI"/>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17">
          <p15:clr>
            <a:srgbClr val="A4A3A4"/>
          </p15:clr>
        </p15:guide>
        <p15:guide id="2" orient="horz" pos="2160">
          <p15:clr>
            <a:srgbClr val="A4A3A4"/>
          </p15:clr>
        </p15:guide>
        <p15:guide id="6" pos="483">
          <p15:clr>
            <a:srgbClr val="A4A3A4"/>
          </p15:clr>
        </p15:guide>
        <p15:guide id="7" pos="7197">
          <p15:clr>
            <a:srgbClr val="A4A3A4"/>
          </p15:clr>
        </p15:guide>
        <p15:guide id="8" orient="horz" pos="3748">
          <p15:clr>
            <a:srgbClr val="A4A3A4"/>
          </p15:clr>
        </p15:guide>
        <p15:guide id="10" pos="384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DC82F"/>
    <a:srgbClr val="A68A4F"/>
    <a:srgbClr val="004165"/>
    <a:srgbClr val="A5A4A4"/>
    <a:srgbClr val="85717A"/>
    <a:srgbClr val="73808D"/>
    <a:srgbClr val="808176"/>
    <a:srgbClr val="68676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9FD3BB-D7AD-4E14-A024-5F41C1845F65}" v="1" dt="2025-09-16T08:15:55.1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howGuides="1">
      <p:cViewPr varScale="1">
        <p:scale>
          <a:sx n="66" d="100"/>
          <a:sy n="66" d="100"/>
        </p:scale>
        <p:origin x="668" y="32"/>
      </p:cViewPr>
      <p:guideLst>
        <p:guide orient="horz" pos="1117"/>
        <p:guide orient="horz" pos="2160"/>
        <p:guide pos="483"/>
        <p:guide pos="7197"/>
        <p:guide orient="horz" pos="3748"/>
        <p:guide pos="3840"/>
      </p:guideLst>
    </p:cSldViewPr>
  </p:slideViewPr>
  <p:notesTextViewPr>
    <p:cViewPr>
      <p:scale>
        <a:sx n="1" d="1"/>
        <a:sy n="1" d="1"/>
      </p:scale>
      <p:origin x="0" y="0"/>
    </p:cViewPr>
  </p:notesTextViewPr>
  <p:notesViewPr>
    <p:cSldViewPr showGuides="1">
      <p:cViewPr varScale="1">
        <p:scale>
          <a:sx n="88" d="100"/>
          <a:sy n="88" d="100"/>
        </p:scale>
        <p:origin x="3738" y="78"/>
      </p:cViewPr>
      <p:guideLst>
        <p:guide orient="horz" pos="3127"/>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slide" Target="slides/slide7.xml"/><Relationship Id="rId23" Type="http://schemas.microsoft.com/office/2015/10/relationships/revisionInfo" Target="revisionInfo.xml"/><Relationship Id="rId10" Type="http://schemas.openxmlformats.org/officeDocument/2006/relationships/slide" Target="slides/slide2.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Visualisation!$E$21</c:f>
              <c:strCache>
                <c:ptCount val="1"/>
              </c:strCache>
            </c:strRef>
          </c:tx>
          <c:spPr>
            <a:solidFill>
              <a:schemeClr val="accent1"/>
            </a:solidFill>
            <a:ln>
              <a:noFill/>
            </a:ln>
            <a:effectLst/>
          </c:spPr>
          <c:invertIfNegative val="0"/>
          <c:cat>
            <c:numRef>
              <c:f>Visualisation!$B$22:$B$27</c:f>
              <c:numCache>
                <c:formatCode>General</c:formatCode>
                <c:ptCount val="6"/>
                <c:pt idx="0">
                  <c:v>2019</c:v>
                </c:pt>
                <c:pt idx="1">
                  <c:v>2020</c:v>
                </c:pt>
                <c:pt idx="2">
                  <c:v>2021</c:v>
                </c:pt>
                <c:pt idx="3">
                  <c:v>2022</c:v>
                </c:pt>
                <c:pt idx="4">
                  <c:v>2023</c:v>
                </c:pt>
                <c:pt idx="5">
                  <c:v>2024</c:v>
                </c:pt>
              </c:numCache>
            </c:numRef>
          </c:cat>
          <c:val>
            <c:numRef>
              <c:f>Visualisation!$E$22:$E$27</c:f>
              <c:numCache>
                <c:formatCode>0.0</c:formatCode>
                <c:ptCount val="6"/>
                <c:pt idx="0">
                  <c:v>25.490683954953457</c:v>
                </c:pt>
                <c:pt idx="1">
                  <c:v>24.751608361141823</c:v>
                </c:pt>
                <c:pt idx="2">
                  <c:v>30.031075030000004</c:v>
                </c:pt>
                <c:pt idx="3">
                  <c:v>31.064748218127342</c:v>
                </c:pt>
                <c:pt idx="4">
                  <c:v>38.513393384315499</c:v>
                </c:pt>
                <c:pt idx="5">
                  <c:v>54.307521584052282</c:v>
                </c:pt>
              </c:numCache>
            </c:numRef>
          </c:val>
          <c:extLst>
            <c:ext xmlns:c16="http://schemas.microsoft.com/office/drawing/2014/chart" uri="{C3380CC4-5D6E-409C-BE32-E72D297353CC}">
              <c16:uniqueId val="{00000000-D571-4527-9D74-67865433400E}"/>
            </c:ext>
          </c:extLst>
        </c:ser>
        <c:dLbls>
          <c:showLegendKey val="0"/>
          <c:showVal val="0"/>
          <c:showCatName val="0"/>
          <c:showSerName val="0"/>
          <c:showPercent val="0"/>
          <c:showBubbleSize val="0"/>
        </c:dLbls>
        <c:gapWidth val="150"/>
        <c:overlap val="100"/>
        <c:axId val="1157867823"/>
        <c:axId val="1157865743"/>
      </c:barChart>
      <c:catAx>
        <c:axId val="11578678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fi-FI"/>
          </a:p>
        </c:txPr>
        <c:crossAx val="1157865743"/>
        <c:crosses val="autoZero"/>
        <c:auto val="1"/>
        <c:lblAlgn val="ctr"/>
        <c:lblOffset val="100"/>
        <c:noMultiLvlLbl val="0"/>
      </c:catAx>
      <c:valAx>
        <c:axId val="115786574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vert="horz"/>
              <a:lstStyle/>
              <a:p>
                <a:pPr>
                  <a:defRPr/>
                </a:pPr>
                <a:r>
                  <a:rPr lang="en-US" dirty="0"/>
                  <a:t>M€</a:t>
                </a:r>
              </a:p>
            </c:rich>
          </c:tx>
          <c:overlay val="0"/>
          <c:spPr>
            <a:noFill/>
            <a:ln>
              <a:noFill/>
            </a:ln>
            <a:effectLst/>
          </c:spPr>
        </c:title>
        <c:numFmt formatCode="0.0" sourceLinked="1"/>
        <c:majorTickMark val="none"/>
        <c:minorTickMark val="none"/>
        <c:tickLblPos val="nextTo"/>
        <c:spPr>
          <a:noFill/>
          <a:ln>
            <a:noFill/>
          </a:ln>
          <a:effectLst/>
        </c:spPr>
        <c:txPr>
          <a:bodyPr rot="-60000000" vert="horz"/>
          <a:lstStyle/>
          <a:p>
            <a:pPr>
              <a:defRPr/>
            </a:pPr>
            <a:endParaRPr lang="fi-FI"/>
          </a:p>
        </c:txPr>
        <c:crossAx val="1157867823"/>
        <c:crosses val="autoZero"/>
        <c:crossBetween val="between"/>
      </c:valAx>
    </c:plotArea>
    <c:plotVisOnly val="1"/>
    <c:dispBlanksAs val="gap"/>
    <c:showDLblsOverMax val="0"/>
    <c:extLst/>
  </c:chart>
  <c:spPr>
    <a:solidFill>
      <a:schemeClr val="bg1"/>
    </a:solidFill>
    <a:ln w="9525" cap="flat" cmpd="sng" algn="ctr">
      <a:noFill/>
      <a:round/>
    </a:ln>
    <a:effectLst/>
  </c:spPr>
  <c:txPr>
    <a:bodyPr/>
    <a:lstStyle/>
    <a:p>
      <a:pPr>
        <a:defRPr sz="1050"/>
      </a:pPr>
      <a:endParaRPr lang="fi-FI"/>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en-GB" b="1" dirty="0" err="1"/>
              <a:t>Ekosysteemin</a:t>
            </a:r>
            <a:r>
              <a:rPr lang="en-GB" b="1" dirty="0"/>
              <a:t> </a:t>
            </a:r>
            <a:r>
              <a:rPr lang="en-GB" b="1" dirty="0" err="1"/>
              <a:t>kokoonpano</a:t>
            </a:r>
            <a:endParaRPr lang="en-GB" b="1" dirty="0"/>
          </a:p>
        </c:rich>
      </c:tx>
      <c:overlay val="1"/>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fi-FI"/>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8.7304818646328761E-2"/>
          <c:y val="5.7963394059848738E-2"/>
          <c:w val="0.50778227714145696"/>
          <c:h val="0.77519627675173808"/>
        </c:manualLayout>
      </c:layout>
      <c:pie3DChart>
        <c:varyColors val="1"/>
        <c:ser>
          <c:idx val="0"/>
          <c:order val="0"/>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4784-4DAA-833C-585C9C00DA67}"/>
              </c:ext>
            </c:extLst>
          </c:dPt>
          <c:dPt>
            <c:idx val="1"/>
            <c:bubble3D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3-4784-4DAA-833C-585C9C00DA67}"/>
              </c:ext>
            </c:extLst>
          </c:dPt>
          <c:dPt>
            <c:idx val="2"/>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5-4784-4DAA-833C-585C9C00DA67}"/>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4784-4DAA-833C-585C9C00DA67}"/>
              </c:ext>
            </c:extLst>
          </c:dPt>
          <c:dPt>
            <c:idx val="4"/>
            <c:bubble3D val="0"/>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09-4784-4DAA-833C-585C9C00DA67}"/>
              </c:ext>
            </c:extLst>
          </c:dPt>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fi-FI"/>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I$9:$I$13</c:f>
              <c:strCache>
                <c:ptCount val="5"/>
                <c:pt idx="0">
                  <c:v>Teollisuus</c:v>
                </c:pt>
                <c:pt idx="1">
                  <c:v>Palvelu- ja  teknologiatoimittajat</c:v>
                </c:pt>
                <c:pt idx="2">
                  <c:v>Yliopistot ja ammattikorkeakoulut</c:v>
                </c:pt>
                <c:pt idx="3">
                  <c:v>Tutkimuslaitokset</c:v>
                </c:pt>
                <c:pt idx="4">
                  <c:v>Muut (järjestöt, VCt)</c:v>
                </c:pt>
              </c:strCache>
            </c:strRef>
          </c:cat>
          <c:val>
            <c:numRef>
              <c:f>Sheet1!$J$9:$J$13</c:f>
              <c:numCache>
                <c:formatCode>General</c:formatCode>
                <c:ptCount val="5"/>
                <c:pt idx="0">
                  <c:v>39</c:v>
                </c:pt>
                <c:pt idx="1">
                  <c:v>38</c:v>
                </c:pt>
                <c:pt idx="2">
                  <c:v>12</c:v>
                </c:pt>
                <c:pt idx="3">
                  <c:v>7</c:v>
                </c:pt>
                <c:pt idx="4">
                  <c:v>7</c:v>
                </c:pt>
              </c:numCache>
            </c:numRef>
          </c:val>
          <c:extLst>
            <c:ext xmlns:c16="http://schemas.microsoft.com/office/drawing/2014/chart" uri="{C3380CC4-5D6E-409C-BE32-E72D297353CC}">
              <c16:uniqueId val="{0000000A-4784-4DAA-833C-585C9C00DA67}"/>
            </c:ext>
          </c:extLst>
        </c:ser>
        <c:dLbls>
          <c:dLblPos val="bestFit"/>
          <c:showLegendKey val="0"/>
          <c:showVal val="1"/>
          <c:showCatName val="0"/>
          <c:showSerName val="0"/>
          <c:showPercent val="0"/>
          <c:showBubbleSize val="0"/>
          <c:showLeaderLines val="1"/>
        </c:dLbls>
      </c:pie3DChart>
      <c:spPr>
        <a:noFill/>
        <a:ln>
          <a:noFill/>
        </a:ln>
        <a:effectLst/>
      </c:spPr>
    </c:plotArea>
    <c:legend>
      <c:legendPos val="r"/>
      <c:legendEntry>
        <c:idx val="0"/>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i-FI"/>
          </a:p>
        </c:txPr>
      </c:legendEntry>
      <c:legendEntry>
        <c:idx val="1"/>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i-FI"/>
          </a:p>
        </c:txPr>
      </c:legendEntry>
      <c:legendEntry>
        <c:idx val="2"/>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i-FI"/>
          </a:p>
        </c:txPr>
      </c:legendEntry>
      <c:legendEntry>
        <c:idx val="3"/>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i-FI"/>
          </a:p>
        </c:txPr>
      </c:legendEntry>
      <c:legendEntry>
        <c:idx val="4"/>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i-FI"/>
          </a:p>
        </c:txPr>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outerShdw blurRad="50800" dist="38100" dir="2700000" algn="tl" rotWithShape="0">
        <a:prstClr val="black">
          <a:alpha val="40000"/>
        </a:prstClr>
      </a:outerShdw>
    </a:effectLst>
  </c:spPr>
  <c:txPr>
    <a:bodyPr/>
    <a:lstStyle/>
    <a:p>
      <a:pPr>
        <a:defRPr sz="1000"/>
      </a:pPr>
      <a:endParaRPr lang="fi-FI"/>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79734-CDB5-573C-D428-3CC88A338513}"/>
              </a:ext>
            </a:extLst>
          </p:cNvPr>
          <p:cNvSpPr>
            <a:spLocks noGrp="1"/>
          </p:cNvSpPr>
          <p:nvPr>
            <p:ph type="hdr" sz="quarter"/>
          </p:nvPr>
        </p:nvSpPr>
        <p:spPr>
          <a:xfrm>
            <a:off x="0" y="0"/>
            <a:ext cx="2971800" cy="498056"/>
          </a:xfrm>
          <a:prstGeom prst="rect">
            <a:avLst/>
          </a:prstGeom>
        </p:spPr>
        <p:txBody>
          <a:bodyPr vert="horz" lIns="91440" tIns="45720" rIns="91440" bIns="45720" rtlCol="0"/>
          <a:lstStyle>
            <a:lvl1pPr algn="l">
              <a:defRPr sz="1200"/>
            </a:lvl1pPr>
          </a:lstStyle>
          <a:p>
            <a:endParaRPr lang="en-GB" sz="800"/>
          </a:p>
        </p:txBody>
      </p:sp>
      <p:sp>
        <p:nvSpPr>
          <p:cNvPr id="3" name="Date Placeholder 2">
            <a:extLst>
              <a:ext uri="{FF2B5EF4-FFF2-40B4-BE49-F238E27FC236}">
                <a16:creationId xmlns:a16="http://schemas.microsoft.com/office/drawing/2014/main" id="{183500C2-40BC-A661-8A38-DF89B41E1006}"/>
              </a:ext>
            </a:extLst>
          </p:cNvPr>
          <p:cNvSpPr>
            <a:spLocks noGrp="1"/>
          </p:cNvSpPr>
          <p:nvPr>
            <p:ph type="dt" sz="quarter" idx="1"/>
          </p:nvPr>
        </p:nvSpPr>
        <p:spPr>
          <a:xfrm>
            <a:off x="3884613" y="0"/>
            <a:ext cx="2971800" cy="498056"/>
          </a:xfrm>
          <a:prstGeom prst="rect">
            <a:avLst/>
          </a:prstGeom>
        </p:spPr>
        <p:txBody>
          <a:bodyPr vert="horz" lIns="91440" tIns="45720" rIns="91440" bIns="45720" rtlCol="0"/>
          <a:lstStyle>
            <a:lvl1pPr algn="r">
              <a:defRPr sz="1200"/>
            </a:lvl1pPr>
          </a:lstStyle>
          <a:p>
            <a:fld id="{38F36E62-8F1D-4417-913A-6AD090FDE297}" type="datetimeFigureOut">
              <a:rPr lang="en-GB" sz="800" smtClean="0"/>
              <a:t>22/10/2025</a:t>
            </a:fld>
            <a:endParaRPr lang="en-GB" sz="800"/>
          </a:p>
        </p:txBody>
      </p:sp>
      <p:sp>
        <p:nvSpPr>
          <p:cNvPr id="4" name="Footer Placeholder 3">
            <a:extLst>
              <a:ext uri="{FF2B5EF4-FFF2-40B4-BE49-F238E27FC236}">
                <a16:creationId xmlns:a16="http://schemas.microsoft.com/office/drawing/2014/main" id="{B30BE54F-4013-7F9E-7C62-AC629F9E7E4A}"/>
              </a:ext>
            </a:extLst>
          </p:cNvPr>
          <p:cNvSpPr>
            <a:spLocks noGrp="1"/>
          </p:cNvSpPr>
          <p:nvPr>
            <p:ph type="ftr" sz="quarter" idx="2"/>
          </p:nvPr>
        </p:nvSpPr>
        <p:spPr>
          <a:xfrm>
            <a:off x="0" y="9428584"/>
            <a:ext cx="2971800" cy="498055"/>
          </a:xfrm>
          <a:prstGeom prst="rect">
            <a:avLst/>
          </a:prstGeom>
        </p:spPr>
        <p:txBody>
          <a:bodyPr vert="horz" lIns="91440" tIns="45720" rIns="91440" bIns="45720" rtlCol="0" anchor="b"/>
          <a:lstStyle>
            <a:lvl1pPr algn="l">
              <a:defRPr sz="1200"/>
            </a:lvl1pPr>
          </a:lstStyle>
          <a:p>
            <a:endParaRPr lang="en-GB" sz="800"/>
          </a:p>
        </p:txBody>
      </p:sp>
      <p:sp>
        <p:nvSpPr>
          <p:cNvPr id="5" name="Slide Number Placeholder 4">
            <a:extLst>
              <a:ext uri="{FF2B5EF4-FFF2-40B4-BE49-F238E27FC236}">
                <a16:creationId xmlns:a16="http://schemas.microsoft.com/office/drawing/2014/main" id="{0130D7B8-5A1D-A327-D823-7790AAC20DC4}"/>
              </a:ext>
            </a:extLst>
          </p:cNvPr>
          <p:cNvSpPr>
            <a:spLocks noGrp="1"/>
          </p:cNvSpPr>
          <p:nvPr>
            <p:ph type="sldNum" sz="quarter" idx="3"/>
          </p:nvPr>
        </p:nvSpPr>
        <p:spPr>
          <a:xfrm>
            <a:off x="3884613" y="9428584"/>
            <a:ext cx="2971800" cy="498055"/>
          </a:xfrm>
          <a:prstGeom prst="rect">
            <a:avLst/>
          </a:prstGeom>
        </p:spPr>
        <p:txBody>
          <a:bodyPr vert="horz" lIns="91440" tIns="45720" rIns="91440" bIns="45720" rtlCol="0" anchor="b"/>
          <a:lstStyle>
            <a:lvl1pPr algn="r">
              <a:defRPr sz="1200"/>
            </a:lvl1pPr>
          </a:lstStyle>
          <a:p>
            <a:fld id="{4A29E833-9FB1-469E-92AA-7EF8349E1A38}" type="slidenum">
              <a:rPr lang="en-GB" sz="800" smtClean="0"/>
              <a:t>‹#›</a:t>
            </a:fld>
            <a:endParaRPr lang="en-GB" sz="800"/>
          </a:p>
        </p:txBody>
      </p:sp>
    </p:spTree>
    <p:extLst>
      <p:ext uri="{BB962C8B-B14F-4D97-AF65-F5344CB8AC3E}">
        <p14:creationId xmlns:p14="http://schemas.microsoft.com/office/powerpoint/2010/main" val="1993169732"/>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7"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98056"/>
          </a:xfrm>
          <a:prstGeom prst="rect">
            <a:avLst/>
          </a:prstGeom>
        </p:spPr>
        <p:txBody>
          <a:bodyPr vert="horz" lIns="91440" tIns="45720" rIns="91440" bIns="45720" rtlCol="0"/>
          <a:lstStyle>
            <a:lvl1pPr algn="l">
              <a:defRPr sz="800"/>
            </a:lvl1pPr>
          </a:lstStyle>
          <a:p>
            <a:endParaRPr lang="en-GB"/>
          </a:p>
        </p:txBody>
      </p:sp>
      <p:sp>
        <p:nvSpPr>
          <p:cNvPr id="3" name="Date Placeholder 2"/>
          <p:cNvSpPr>
            <a:spLocks noGrp="1"/>
          </p:cNvSpPr>
          <p:nvPr>
            <p:ph type="dt" idx="1"/>
          </p:nvPr>
        </p:nvSpPr>
        <p:spPr>
          <a:xfrm>
            <a:off x="3884613" y="0"/>
            <a:ext cx="2971800" cy="498056"/>
          </a:xfrm>
          <a:prstGeom prst="rect">
            <a:avLst/>
          </a:prstGeom>
        </p:spPr>
        <p:txBody>
          <a:bodyPr vert="horz" lIns="91440" tIns="45720" rIns="91440" bIns="45720" rtlCol="0"/>
          <a:lstStyle>
            <a:lvl1pPr algn="r">
              <a:defRPr sz="800"/>
            </a:lvl1pPr>
          </a:lstStyle>
          <a:p>
            <a:fld id="{D11A81C9-F79B-40E5-9735-4BD03D998E3E}" type="datetimeFigureOut">
              <a:rPr lang="en-GB" smtClean="0"/>
              <a:pPr/>
              <a:t>22/10/2025</a:t>
            </a:fld>
            <a:endParaRPr lang="en-GB"/>
          </a:p>
        </p:txBody>
      </p:sp>
      <p:sp>
        <p:nvSpPr>
          <p:cNvPr id="4" name="Slide Image Placeholder 3"/>
          <p:cNvSpPr>
            <a:spLocks noGrp="1" noRot="1" noChangeAspect="1"/>
          </p:cNvSpPr>
          <p:nvPr>
            <p:ph type="sldImg" idx="2"/>
          </p:nvPr>
        </p:nvSpPr>
        <p:spPr>
          <a:xfrm>
            <a:off x="452438"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777194"/>
            <a:ext cx="548640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4"/>
            <a:ext cx="2971800" cy="498055"/>
          </a:xfrm>
          <a:prstGeom prst="rect">
            <a:avLst/>
          </a:prstGeom>
        </p:spPr>
        <p:txBody>
          <a:bodyPr vert="horz" lIns="91440" tIns="45720" rIns="91440" bIns="45720" rtlCol="0" anchor="b"/>
          <a:lstStyle>
            <a:lvl1pPr algn="l">
              <a:defRPr sz="800"/>
            </a:lvl1pPr>
          </a:lstStyle>
          <a:p>
            <a:endParaRPr lang="en-GB"/>
          </a:p>
        </p:txBody>
      </p:sp>
      <p:sp>
        <p:nvSpPr>
          <p:cNvPr id="7" name="Slide Number Placeholder 6"/>
          <p:cNvSpPr>
            <a:spLocks noGrp="1"/>
          </p:cNvSpPr>
          <p:nvPr>
            <p:ph type="sldNum" sz="quarter" idx="5"/>
          </p:nvPr>
        </p:nvSpPr>
        <p:spPr>
          <a:xfrm>
            <a:off x="3884613" y="9428584"/>
            <a:ext cx="2971800" cy="498055"/>
          </a:xfrm>
          <a:prstGeom prst="rect">
            <a:avLst/>
          </a:prstGeom>
        </p:spPr>
        <p:txBody>
          <a:bodyPr vert="horz" lIns="91440" tIns="45720" rIns="91440" bIns="45720" rtlCol="0" anchor="b"/>
          <a:lstStyle>
            <a:lvl1pPr algn="r">
              <a:defRPr sz="800"/>
            </a:lvl1pPr>
          </a:lstStyle>
          <a:p>
            <a:fld id="{109DE847-B208-472D-8BD8-FA5A510096FD}" type="slidenum">
              <a:rPr lang="en-GB" smtClean="0"/>
              <a:pPr/>
              <a:t>‹#›</a:t>
            </a:fld>
            <a:endParaRPr lang="en-GB"/>
          </a:p>
        </p:txBody>
      </p:sp>
    </p:spTree>
    <p:extLst>
      <p:ext uri="{BB962C8B-B14F-4D97-AF65-F5344CB8AC3E}">
        <p14:creationId xmlns:p14="http://schemas.microsoft.com/office/powerpoint/2010/main" val="32885916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7"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pPr marL="0" marR="0" lvl="0" indent="0" algn="r" defTabSz="914537" rtl="0" eaLnBrk="1" fontAlgn="auto" latinLnBrk="0" hangingPunct="0">
              <a:lnSpc>
                <a:spcPct val="100000"/>
              </a:lnSpc>
              <a:spcBef>
                <a:spcPts val="0"/>
              </a:spcBef>
              <a:spcAft>
                <a:spcPts val="0"/>
              </a:spcAft>
              <a:buClrTx/>
              <a:buSzTx/>
              <a:buFontTx/>
              <a:buNone/>
              <a:tabLst/>
              <a:defRPr/>
            </a:pPr>
            <a:fld id="{072E2692-A437-4823-8F3B-3447759F3776}" type="slidenum">
              <a:rPr kumimoji="0" lang="en-GB" sz="1200" b="0" i="0" u="none" strike="noStrike" kern="0" cap="none" spc="0" normalizeH="0" baseline="0" noProof="0" smtClean="0">
                <a:ln>
                  <a:noFill/>
                </a:ln>
                <a:solidFill>
                  <a:srgbClr val="424B5A"/>
                </a:solidFill>
                <a:effectLst/>
                <a:uLnTx/>
                <a:uFillTx/>
                <a:latin typeface="Cabin Regular"/>
                <a:sym typeface="Cabin Regular"/>
              </a:rPr>
              <a:pPr marL="0" marR="0" lvl="0" indent="0" algn="r" defTabSz="914537" rtl="0" eaLnBrk="1" fontAlgn="auto" latinLnBrk="0" hangingPunct="0">
                <a:lnSpc>
                  <a:spcPct val="100000"/>
                </a:lnSpc>
                <a:spcBef>
                  <a:spcPts val="0"/>
                </a:spcBef>
                <a:spcAft>
                  <a:spcPts val="0"/>
                </a:spcAft>
                <a:buClrTx/>
                <a:buSzTx/>
                <a:buFontTx/>
                <a:buNone/>
                <a:tabLst/>
                <a:defRPr/>
              </a:pPr>
              <a:t>3</a:t>
            </a:fld>
            <a:endParaRPr kumimoji="0" lang="en-GB" sz="1200" b="0" i="0" u="none" strike="noStrike" kern="0" cap="none" spc="0" normalizeH="0" baseline="0" noProof="0">
              <a:ln>
                <a:noFill/>
              </a:ln>
              <a:solidFill>
                <a:srgbClr val="424B5A"/>
              </a:solidFill>
              <a:effectLst/>
              <a:uLnTx/>
              <a:uFillTx/>
              <a:latin typeface="Cabin Regular"/>
              <a:sym typeface="Cabin Regular"/>
            </a:endParaRPr>
          </a:p>
        </p:txBody>
      </p:sp>
    </p:spTree>
    <p:extLst>
      <p:ext uri="{BB962C8B-B14F-4D97-AF65-F5344CB8AC3E}">
        <p14:creationId xmlns:p14="http://schemas.microsoft.com/office/powerpoint/2010/main" val="975102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587AFD-DC19-BDEB-A902-AE7021A629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6786DA-506D-4C19-7567-864480D588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6B9CDC-870D-611A-6B18-EAD330CACE84}"/>
              </a:ext>
            </a:extLst>
          </p:cNvPr>
          <p:cNvSpPr>
            <a:spLocks noGrp="1"/>
          </p:cNvSpPr>
          <p:nvPr>
            <p:ph type="body" idx="1"/>
          </p:nvPr>
        </p:nvSpPr>
        <p:spPr/>
        <p:txBody>
          <a:bodyPr/>
          <a:lstStyle/>
          <a:p>
            <a:pPr>
              <a:lnSpc>
                <a:spcPct val="107000"/>
              </a:lnSpc>
              <a:spcAft>
                <a:spcPts val="795"/>
              </a:spcAft>
            </a:pPr>
            <a:r>
              <a:rPr lang="en-US" sz="1800">
                <a:latin typeface="Calibri" panose="020F0502020204030204" pitchFamily="34" charset="0"/>
                <a:ea typeface="Calibri" panose="020F0502020204030204" pitchFamily="34" charset="0"/>
                <a:cs typeface="Times New Roman" panose="02020603050405020304" pitchFamily="18" charset="0"/>
              </a:rPr>
              <a:t>Let’s have a reminder of what </a:t>
            </a:r>
            <a:r>
              <a:rPr lang="en-US" sz="1800" err="1">
                <a:latin typeface="Calibri" panose="020F0502020204030204" pitchFamily="34" charset="0"/>
                <a:ea typeface="Calibri" panose="020F0502020204030204" pitchFamily="34" charset="0"/>
                <a:cs typeface="Times New Roman" panose="02020603050405020304" pitchFamily="18" charset="0"/>
              </a:rPr>
              <a:t>ExpandFibre</a:t>
            </a:r>
            <a:r>
              <a:rPr lang="en-US" sz="1800">
                <a:latin typeface="Calibri" panose="020F0502020204030204" pitchFamily="34" charset="0"/>
                <a:ea typeface="Calibri" panose="020F0502020204030204" pitchFamily="34" charset="0"/>
                <a:cs typeface="Times New Roman" panose="02020603050405020304" pitchFamily="18" charset="0"/>
              </a:rPr>
              <a:t> is about. </a:t>
            </a:r>
            <a:endParaRPr lang="en-FI" sz="180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795"/>
              </a:spcAft>
            </a:pPr>
            <a:r>
              <a:rPr lang="en-US" sz="1800" err="1">
                <a:latin typeface="Calibri" panose="020F0502020204030204" pitchFamily="34" charset="0"/>
                <a:ea typeface="Calibri" panose="020F0502020204030204" pitchFamily="34" charset="0"/>
                <a:cs typeface="Times New Roman" panose="02020603050405020304" pitchFamily="18" charset="0"/>
              </a:rPr>
              <a:t>ExpandFibre</a:t>
            </a:r>
            <a:r>
              <a:rPr lang="en-US" sz="1800">
                <a:latin typeface="Calibri" panose="020F0502020204030204" pitchFamily="34" charset="0"/>
                <a:ea typeface="Calibri" panose="020F0502020204030204" pitchFamily="34" charset="0"/>
                <a:cs typeface="Times New Roman" panose="02020603050405020304" pitchFamily="18" charset="0"/>
              </a:rPr>
              <a:t> is a R&amp;D collaboration and an Ecosystem launched by Fortum and </a:t>
            </a:r>
            <a:r>
              <a:rPr lang="en-US" sz="1800" err="1">
                <a:latin typeface="Calibri" panose="020F0502020204030204" pitchFamily="34" charset="0"/>
                <a:ea typeface="Calibri" panose="020F0502020204030204" pitchFamily="34" charset="0"/>
                <a:cs typeface="Times New Roman" panose="02020603050405020304" pitchFamily="18" charset="0"/>
              </a:rPr>
              <a:t>Metsä</a:t>
            </a:r>
            <a:r>
              <a:rPr lang="en-US" sz="1800">
                <a:latin typeface="Calibri" panose="020F0502020204030204" pitchFamily="34" charset="0"/>
                <a:ea typeface="Calibri" panose="020F0502020204030204" pitchFamily="34" charset="0"/>
                <a:cs typeface="Times New Roman" panose="02020603050405020304" pitchFamily="18" charset="0"/>
              </a:rPr>
              <a:t> Group in 2020 and co-funded by Business Finland. </a:t>
            </a:r>
            <a:endParaRPr lang="en-FI" sz="180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795"/>
              </a:spcAft>
            </a:pPr>
            <a:r>
              <a:rPr lang="en-US" sz="1800">
                <a:latin typeface="Calibri" panose="020F0502020204030204" pitchFamily="34" charset="0"/>
                <a:ea typeface="Calibri" panose="020F0502020204030204" pitchFamily="34" charset="0"/>
                <a:cs typeface="Times New Roman" panose="02020603050405020304" pitchFamily="18" charset="0"/>
              </a:rPr>
              <a:t>There are many </a:t>
            </a:r>
            <a:r>
              <a:rPr lang="en-US" sz="1800" err="1">
                <a:latin typeface="Calibri" panose="020F0502020204030204" pitchFamily="34" charset="0"/>
                <a:ea typeface="Calibri" panose="020F0502020204030204" pitchFamily="34" charset="0"/>
                <a:cs typeface="Times New Roman" panose="02020603050405020304" pitchFamily="18" charset="0"/>
              </a:rPr>
              <a:t>Veturi</a:t>
            </a:r>
            <a:r>
              <a:rPr lang="en-US" sz="1800">
                <a:latin typeface="Calibri" panose="020F0502020204030204" pitchFamily="34" charset="0"/>
                <a:ea typeface="Calibri" panose="020F0502020204030204" pitchFamily="34" charset="0"/>
                <a:cs typeface="Times New Roman" panose="02020603050405020304" pitchFamily="18" charset="0"/>
              </a:rPr>
              <a:t> companies in Finland, none of them have this two-company cooperation as we do, at least not in a similar way, still we have this complementary raw-materials representing the both </a:t>
            </a:r>
            <a:r>
              <a:rPr lang="en-US" sz="1800" err="1">
                <a:latin typeface="Calibri" panose="020F0502020204030204" pitchFamily="34" charset="0"/>
                <a:ea typeface="Calibri" panose="020F0502020204030204" pitchFamily="34" charset="0"/>
                <a:cs typeface="Times New Roman" panose="02020603050405020304" pitchFamily="18" charset="0"/>
              </a:rPr>
              <a:t>Veturi</a:t>
            </a:r>
            <a:r>
              <a:rPr lang="en-US" sz="1800">
                <a:latin typeface="Calibri" panose="020F0502020204030204" pitchFamily="34" charset="0"/>
                <a:ea typeface="Calibri" panose="020F0502020204030204" pitchFamily="34" charset="0"/>
                <a:cs typeface="Times New Roman" panose="02020603050405020304" pitchFamily="18" charset="0"/>
              </a:rPr>
              <a:t> companies. Fortum is working with straw, and </a:t>
            </a:r>
            <a:r>
              <a:rPr lang="en-US" sz="1800" err="1">
                <a:latin typeface="Calibri" panose="020F0502020204030204" pitchFamily="34" charset="0"/>
                <a:ea typeface="Calibri" panose="020F0502020204030204" pitchFamily="34" charset="0"/>
                <a:cs typeface="Times New Roman" panose="02020603050405020304" pitchFamily="18" charset="0"/>
              </a:rPr>
              <a:t>Metsä</a:t>
            </a:r>
            <a:r>
              <a:rPr lang="en-US" sz="1800">
                <a:latin typeface="Calibri" panose="020F0502020204030204" pitchFamily="34" charset="0"/>
                <a:ea typeface="Calibri" panose="020F0502020204030204" pitchFamily="34" charset="0"/>
                <a:cs typeface="Times New Roman" panose="02020603050405020304" pitchFamily="18" charset="0"/>
              </a:rPr>
              <a:t>, with wood. </a:t>
            </a:r>
            <a:endParaRPr lang="en-FI" sz="180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795"/>
              </a:spcAft>
            </a:pPr>
            <a:r>
              <a:rPr lang="en-US" sz="1800">
                <a:latin typeface="Calibri" panose="020F0502020204030204" pitchFamily="34" charset="0"/>
                <a:ea typeface="Calibri" panose="020F0502020204030204" pitchFamily="34" charset="0"/>
                <a:cs typeface="Times New Roman" panose="02020603050405020304" pitchFamily="18" charset="0"/>
              </a:rPr>
              <a:t>We have selected the seven themes as a basis for these </a:t>
            </a:r>
            <a:r>
              <a:rPr lang="en-US" sz="1800" err="1">
                <a:latin typeface="Calibri" panose="020F0502020204030204" pitchFamily="34" charset="0"/>
                <a:ea typeface="Calibri" panose="020F0502020204030204" pitchFamily="34" charset="0"/>
                <a:cs typeface="Times New Roman" panose="02020603050405020304" pitchFamily="18" charset="0"/>
              </a:rPr>
              <a:t>programmes</a:t>
            </a:r>
            <a:r>
              <a:rPr lang="en-US" sz="1800">
                <a:latin typeface="Calibri" panose="020F0502020204030204" pitchFamily="34" charset="0"/>
                <a:ea typeface="Calibri" panose="020F0502020204030204" pitchFamily="34" charset="0"/>
                <a:cs typeface="Times New Roman" panose="02020603050405020304" pitchFamily="18" charset="0"/>
              </a:rPr>
              <a:t> and the ecosystem, which we, in Fortum and </a:t>
            </a:r>
            <a:r>
              <a:rPr lang="en-US" sz="1800" err="1">
                <a:latin typeface="Calibri" panose="020F0502020204030204" pitchFamily="34" charset="0"/>
                <a:ea typeface="Calibri" panose="020F0502020204030204" pitchFamily="34" charset="0"/>
                <a:cs typeface="Times New Roman" panose="02020603050405020304" pitchFamily="18" charset="0"/>
              </a:rPr>
              <a:t>Metsä</a:t>
            </a:r>
            <a:r>
              <a:rPr lang="en-US" sz="1800">
                <a:latin typeface="Calibri" panose="020F0502020204030204" pitchFamily="34" charset="0"/>
                <a:ea typeface="Calibri" panose="020F0502020204030204" pitchFamily="34" charset="0"/>
                <a:cs typeface="Times New Roman" panose="02020603050405020304" pitchFamily="18" charset="0"/>
              </a:rPr>
              <a:t>, are interested in. </a:t>
            </a:r>
            <a:endParaRPr lang="en-FI" sz="1800">
              <a:latin typeface="Calibri" panose="020F0502020204030204" pitchFamily="34" charset="0"/>
              <a:ea typeface="Calibri" panose="020F0502020204030204" pitchFamily="34" charset="0"/>
              <a:cs typeface="Times New Roman" panose="02020603050405020304" pitchFamily="18" charset="0"/>
            </a:endParaRPr>
          </a:p>
          <a:p>
            <a:endParaRPr lang="en-GB"/>
          </a:p>
        </p:txBody>
      </p:sp>
      <p:sp>
        <p:nvSpPr>
          <p:cNvPr id="4" name="Slide Number Placeholder 3">
            <a:extLst>
              <a:ext uri="{FF2B5EF4-FFF2-40B4-BE49-F238E27FC236}">
                <a16:creationId xmlns:a16="http://schemas.microsoft.com/office/drawing/2014/main" id="{F2E9AD65-38E1-8808-B296-568D2105938F}"/>
              </a:ext>
            </a:extLst>
          </p:cNvPr>
          <p:cNvSpPr>
            <a:spLocks noGrp="1"/>
          </p:cNvSpPr>
          <p:nvPr>
            <p:ph type="sldNum" sz="quarter" idx="5"/>
          </p:nvPr>
        </p:nvSpPr>
        <p:spPr/>
        <p:txBody>
          <a:bodyPr/>
          <a:lstStyle/>
          <a:p>
            <a:pPr marL="0" marR="0" lvl="0" indent="0" algn="r" defTabSz="914537" rtl="0" eaLnBrk="1" fontAlgn="auto" latinLnBrk="0" hangingPunct="0">
              <a:lnSpc>
                <a:spcPct val="100000"/>
              </a:lnSpc>
              <a:spcBef>
                <a:spcPts val="0"/>
              </a:spcBef>
              <a:spcAft>
                <a:spcPts val="0"/>
              </a:spcAft>
              <a:buClrTx/>
              <a:buSzTx/>
              <a:buFontTx/>
              <a:buNone/>
              <a:tabLst/>
              <a:defRPr/>
            </a:pPr>
            <a:fld id="{072E2692-A437-4823-8F3B-3447759F3776}" type="slidenum">
              <a:rPr kumimoji="0" lang="en-GB" sz="1200" b="0" i="0" u="none" strike="noStrike" kern="0" cap="none" spc="0" normalizeH="0" baseline="0" noProof="0" smtClean="0">
                <a:ln>
                  <a:noFill/>
                </a:ln>
                <a:solidFill>
                  <a:srgbClr val="424B5A"/>
                </a:solidFill>
                <a:effectLst/>
                <a:uLnTx/>
                <a:uFillTx/>
                <a:latin typeface="Cabin Regular"/>
                <a:ea typeface="+mn-ea"/>
                <a:cs typeface="+mn-cs"/>
                <a:sym typeface="Cabin Regular"/>
              </a:rPr>
              <a:pPr marL="0" marR="0" lvl="0" indent="0" algn="r" defTabSz="914537" rtl="0" eaLnBrk="1" fontAlgn="auto" latinLnBrk="0" hangingPunct="0">
                <a:lnSpc>
                  <a:spcPct val="100000"/>
                </a:lnSpc>
                <a:spcBef>
                  <a:spcPts val="0"/>
                </a:spcBef>
                <a:spcAft>
                  <a:spcPts val="0"/>
                </a:spcAft>
                <a:buClrTx/>
                <a:buSzTx/>
                <a:buFontTx/>
                <a:buNone/>
                <a:tabLst/>
                <a:defRPr/>
              </a:pPr>
              <a:t>4</a:t>
            </a:fld>
            <a:endParaRPr kumimoji="0" lang="en-GB" sz="1200" b="0" i="0" u="none" strike="noStrike" kern="0" cap="none" spc="0" normalizeH="0" baseline="0" noProof="0">
              <a:ln>
                <a:noFill/>
              </a:ln>
              <a:solidFill>
                <a:srgbClr val="424B5A"/>
              </a:solidFill>
              <a:effectLst/>
              <a:uLnTx/>
              <a:uFillTx/>
              <a:latin typeface="Cabin Regular"/>
              <a:ea typeface="+mn-ea"/>
              <a:cs typeface="+mn-cs"/>
              <a:sym typeface="Cabin Regular"/>
            </a:endParaRPr>
          </a:p>
        </p:txBody>
      </p:sp>
    </p:spTree>
    <p:extLst>
      <p:ext uri="{BB962C8B-B14F-4D97-AF65-F5344CB8AC3E}">
        <p14:creationId xmlns:p14="http://schemas.microsoft.com/office/powerpoint/2010/main" val="31121226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Opening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noFill/>
              </a:defRPr>
            </a:lvl1pPr>
          </a:lstStyle>
          <a:p>
            <a:fld id="{DD5909D5-EEA6-4963-85CC-40F43E120BCE}" type="datetime1">
              <a:rPr lang="en-GB" smtClean="0"/>
              <a:t>22/10/2025</a:t>
            </a:fld>
            <a:endParaRPr lang="fi-FI"/>
          </a:p>
        </p:txBody>
      </p:sp>
      <p:sp>
        <p:nvSpPr>
          <p:cNvPr id="5" name="Footer Placeholder 4"/>
          <p:cNvSpPr>
            <a:spLocks noGrp="1"/>
          </p:cNvSpPr>
          <p:nvPr>
            <p:ph type="ftr" sz="quarter" idx="11"/>
          </p:nvPr>
        </p:nvSpPr>
        <p:spPr/>
        <p:txBody>
          <a:bodyPr/>
          <a:lstStyle>
            <a:lvl1pPr>
              <a:defRPr>
                <a:noFill/>
              </a:defRPr>
            </a:lvl1pPr>
          </a:lstStyle>
          <a:p>
            <a:r>
              <a:rPr lang="fi-FI"/>
              <a:t>Presentation name / Author</a:t>
            </a:r>
          </a:p>
        </p:txBody>
      </p:sp>
      <p:sp>
        <p:nvSpPr>
          <p:cNvPr id="6" name="Slide Number Placeholder 5"/>
          <p:cNvSpPr>
            <a:spLocks noGrp="1"/>
          </p:cNvSpPr>
          <p:nvPr>
            <p:ph type="sldNum" sz="quarter" idx="12"/>
          </p:nvPr>
        </p:nvSpPr>
        <p:spPr/>
        <p:txBody>
          <a:bodyPr/>
          <a:lstStyle>
            <a:lvl1pPr>
              <a:defRPr>
                <a:noFill/>
              </a:defRPr>
            </a:lvl1pPr>
          </a:lstStyle>
          <a:p>
            <a:fld id="{49A25110-65A2-4B67-BF3F-8D6D3162EF46}" type="slidenum">
              <a:rPr lang="fi-FI" smtClean="0"/>
              <a:pPr/>
              <a:t>‹#›</a:t>
            </a:fld>
            <a:endParaRPr lang="fi-FI"/>
          </a:p>
        </p:txBody>
      </p:sp>
      <p:sp>
        <p:nvSpPr>
          <p:cNvPr id="10" name="Freeform 6"/>
          <p:cNvSpPr>
            <a:spLocks noChangeAspect="1"/>
          </p:cNvSpPr>
          <p:nvPr/>
        </p:nvSpPr>
        <p:spPr bwMode="auto">
          <a:xfrm>
            <a:off x="4462509" y="1629563"/>
            <a:ext cx="3266982" cy="3456000"/>
          </a:xfrm>
          <a:custGeom>
            <a:avLst/>
            <a:gdLst>
              <a:gd name="T0" fmla="*/ 978 w 1158"/>
              <a:gd name="T1" fmla="*/ 608 h 1225"/>
              <a:gd name="T2" fmla="*/ 974 w 1158"/>
              <a:gd name="T3" fmla="*/ 610 h 1225"/>
              <a:gd name="T4" fmla="*/ 968 w 1158"/>
              <a:gd name="T5" fmla="*/ 608 h 1225"/>
              <a:gd name="T6" fmla="*/ 966 w 1158"/>
              <a:gd name="T7" fmla="*/ 134 h 1225"/>
              <a:gd name="T8" fmla="*/ 963 w 1158"/>
              <a:gd name="T9" fmla="*/ 128 h 1225"/>
              <a:gd name="T10" fmla="*/ 956 w 1158"/>
              <a:gd name="T11" fmla="*/ 128 h 1225"/>
              <a:gd name="T12" fmla="*/ 953 w 1158"/>
              <a:gd name="T13" fmla="*/ 132 h 1225"/>
              <a:gd name="T14" fmla="*/ 784 w 1158"/>
              <a:gd name="T15" fmla="*/ 603 h 1225"/>
              <a:gd name="T16" fmla="*/ 779 w 1158"/>
              <a:gd name="T17" fmla="*/ 607 h 1225"/>
              <a:gd name="T18" fmla="*/ 773 w 1158"/>
              <a:gd name="T19" fmla="*/ 605 h 1225"/>
              <a:gd name="T20" fmla="*/ 771 w 1158"/>
              <a:gd name="T21" fmla="*/ 466 h 1225"/>
              <a:gd name="T22" fmla="*/ 769 w 1158"/>
              <a:gd name="T23" fmla="*/ 461 h 1225"/>
              <a:gd name="T24" fmla="*/ 764 w 1158"/>
              <a:gd name="T25" fmla="*/ 459 h 1225"/>
              <a:gd name="T26" fmla="*/ 584 w 1158"/>
              <a:gd name="T27" fmla="*/ 614 h 1225"/>
              <a:gd name="T28" fmla="*/ 579 w 1158"/>
              <a:gd name="T29" fmla="*/ 616 h 1225"/>
              <a:gd name="T30" fmla="*/ 396 w 1158"/>
              <a:gd name="T31" fmla="*/ 461 h 1225"/>
              <a:gd name="T32" fmla="*/ 390 w 1158"/>
              <a:gd name="T33" fmla="*/ 460 h 1225"/>
              <a:gd name="T34" fmla="*/ 386 w 1158"/>
              <a:gd name="T35" fmla="*/ 464 h 1225"/>
              <a:gd name="T36" fmla="*/ 386 w 1158"/>
              <a:gd name="T37" fmla="*/ 603 h 1225"/>
              <a:gd name="T38" fmla="*/ 381 w 1158"/>
              <a:gd name="T39" fmla="*/ 607 h 1225"/>
              <a:gd name="T40" fmla="*/ 375 w 1158"/>
              <a:gd name="T41" fmla="*/ 605 h 1225"/>
              <a:gd name="T42" fmla="*/ 292 w 1158"/>
              <a:gd name="T43" fmla="*/ 378 h 1225"/>
              <a:gd name="T44" fmla="*/ 203 w 1158"/>
              <a:gd name="T45" fmla="*/ 130 h 1225"/>
              <a:gd name="T46" fmla="*/ 197 w 1158"/>
              <a:gd name="T47" fmla="*/ 128 h 1225"/>
              <a:gd name="T48" fmla="*/ 192 w 1158"/>
              <a:gd name="T49" fmla="*/ 132 h 1225"/>
              <a:gd name="T50" fmla="*/ 191 w 1158"/>
              <a:gd name="T51" fmla="*/ 606 h 1225"/>
              <a:gd name="T52" fmla="*/ 186 w 1158"/>
              <a:gd name="T53" fmla="*/ 610 h 1225"/>
              <a:gd name="T54" fmla="*/ 181 w 1158"/>
              <a:gd name="T55" fmla="*/ 609 h 1225"/>
              <a:gd name="T56" fmla="*/ 13 w 1158"/>
              <a:gd name="T57" fmla="*/ 5 h 1225"/>
              <a:gd name="T58" fmla="*/ 10 w 1158"/>
              <a:gd name="T59" fmla="*/ 1 h 1225"/>
              <a:gd name="T60" fmla="*/ 4 w 1158"/>
              <a:gd name="T61" fmla="*/ 1 h 1225"/>
              <a:gd name="T62" fmla="*/ 0 w 1158"/>
              <a:gd name="T63" fmla="*/ 7 h 1225"/>
              <a:gd name="T64" fmla="*/ 1 w 1158"/>
              <a:gd name="T65" fmla="*/ 552 h 1225"/>
              <a:gd name="T66" fmla="*/ 147 w 1158"/>
              <a:gd name="T67" fmla="*/ 644 h 1225"/>
              <a:gd name="T68" fmla="*/ 389 w 1158"/>
              <a:gd name="T69" fmla="*/ 646 h 1225"/>
              <a:gd name="T70" fmla="*/ 397 w 1158"/>
              <a:gd name="T71" fmla="*/ 649 h 1225"/>
              <a:gd name="T72" fmla="*/ 500 w 1158"/>
              <a:gd name="T73" fmla="*/ 909 h 1225"/>
              <a:gd name="T74" fmla="*/ 501 w 1158"/>
              <a:gd name="T75" fmla="*/ 917 h 1225"/>
              <a:gd name="T76" fmla="*/ 447 w 1158"/>
              <a:gd name="T77" fmla="*/ 1030 h 1225"/>
              <a:gd name="T78" fmla="*/ 519 w 1158"/>
              <a:gd name="T79" fmla="*/ 1218 h 1225"/>
              <a:gd name="T80" fmla="*/ 526 w 1158"/>
              <a:gd name="T81" fmla="*/ 1224 h 1225"/>
              <a:gd name="T82" fmla="*/ 629 w 1158"/>
              <a:gd name="T83" fmla="*/ 1225 h 1225"/>
              <a:gd name="T84" fmla="*/ 637 w 1158"/>
              <a:gd name="T85" fmla="*/ 1221 h 1225"/>
              <a:gd name="T86" fmla="*/ 710 w 1158"/>
              <a:gd name="T87" fmla="*/ 1036 h 1225"/>
              <a:gd name="T88" fmla="*/ 710 w 1158"/>
              <a:gd name="T89" fmla="*/ 1030 h 1225"/>
              <a:gd name="T90" fmla="*/ 657 w 1158"/>
              <a:gd name="T91" fmla="*/ 917 h 1225"/>
              <a:gd name="T92" fmla="*/ 758 w 1158"/>
              <a:gd name="T93" fmla="*/ 652 h 1225"/>
              <a:gd name="T94" fmla="*/ 765 w 1158"/>
              <a:gd name="T95" fmla="*/ 646 h 1225"/>
              <a:gd name="T96" fmla="*/ 1009 w 1158"/>
              <a:gd name="T97" fmla="*/ 645 h 1225"/>
              <a:gd name="T98" fmla="*/ 1155 w 1158"/>
              <a:gd name="T99" fmla="*/ 554 h 1225"/>
              <a:gd name="T100" fmla="*/ 1158 w 1158"/>
              <a:gd name="T101" fmla="*/ 549 h 1225"/>
              <a:gd name="T102" fmla="*/ 1158 w 1158"/>
              <a:gd name="T103" fmla="*/ 4 h 1225"/>
              <a:gd name="T104" fmla="*/ 1152 w 1158"/>
              <a:gd name="T105" fmla="*/ 0 h 1225"/>
              <a:gd name="T106" fmla="*/ 1146 w 1158"/>
              <a:gd name="T107" fmla="*/ 3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8" h="1225">
                <a:moveTo>
                  <a:pt x="1145" y="5"/>
                </a:moveTo>
                <a:lnTo>
                  <a:pt x="979" y="605"/>
                </a:lnTo>
                <a:lnTo>
                  <a:pt x="978" y="608"/>
                </a:lnTo>
                <a:lnTo>
                  <a:pt x="977" y="608"/>
                </a:lnTo>
                <a:lnTo>
                  <a:pt x="976" y="609"/>
                </a:lnTo>
                <a:lnTo>
                  <a:pt x="974" y="610"/>
                </a:lnTo>
                <a:lnTo>
                  <a:pt x="972" y="610"/>
                </a:lnTo>
                <a:lnTo>
                  <a:pt x="970" y="609"/>
                </a:lnTo>
                <a:lnTo>
                  <a:pt x="968" y="608"/>
                </a:lnTo>
                <a:lnTo>
                  <a:pt x="967" y="606"/>
                </a:lnTo>
                <a:lnTo>
                  <a:pt x="966" y="603"/>
                </a:lnTo>
                <a:lnTo>
                  <a:pt x="966" y="134"/>
                </a:lnTo>
                <a:lnTo>
                  <a:pt x="966" y="132"/>
                </a:lnTo>
                <a:lnTo>
                  <a:pt x="964" y="130"/>
                </a:lnTo>
                <a:lnTo>
                  <a:pt x="963" y="128"/>
                </a:lnTo>
                <a:lnTo>
                  <a:pt x="961" y="128"/>
                </a:lnTo>
                <a:lnTo>
                  <a:pt x="958" y="128"/>
                </a:lnTo>
                <a:lnTo>
                  <a:pt x="956" y="128"/>
                </a:lnTo>
                <a:lnTo>
                  <a:pt x="955" y="129"/>
                </a:lnTo>
                <a:lnTo>
                  <a:pt x="955" y="130"/>
                </a:lnTo>
                <a:lnTo>
                  <a:pt x="953" y="132"/>
                </a:lnTo>
                <a:lnTo>
                  <a:pt x="916" y="240"/>
                </a:lnTo>
                <a:lnTo>
                  <a:pt x="865" y="378"/>
                </a:lnTo>
                <a:lnTo>
                  <a:pt x="784" y="603"/>
                </a:lnTo>
                <a:lnTo>
                  <a:pt x="782" y="605"/>
                </a:lnTo>
                <a:lnTo>
                  <a:pt x="781" y="606"/>
                </a:lnTo>
                <a:lnTo>
                  <a:pt x="779" y="607"/>
                </a:lnTo>
                <a:lnTo>
                  <a:pt x="776" y="607"/>
                </a:lnTo>
                <a:lnTo>
                  <a:pt x="774" y="606"/>
                </a:lnTo>
                <a:lnTo>
                  <a:pt x="773" y="605"/>
                </a:lnTo>
                <a:lnTo>
                  <a:pt x="772" y="603"/>
                </a:lnTo>
                <a:lnTo>
                  <a:pt x="771" y="600"/>
                </a:lnTo>
                <a:lnTo>
                  <a:pt x="771" y="466"/>
                </a:lnTo>
                <a:lnTo>
                  <a:pt x="771" y="464"/>
                </a:lnTo>
                <a:lnTo>
                  <a:pt x="770" y="462"/>
                </a:lnTo>
                <a:lnTo>
                  <a:pt x="769" y="461"/>
                </a:lnTo>
                <a:lnTo>
                  <a:pt x="767" y="460"/>
                </a:lnTo>
                <a:lnTo>
                  <a:pt x="766" y="459"/>
                </a:lnTo>
                <a:lnTo>
                  <a:pt x="764" y="459"/>
                </a:lnTo>
                <a:lnTo>
                  <a:pt x="762" y="460"/>
                </a:lnTo>
                <a:lnTo>
                  <a:pt x="761" y="461"/>
                </a:lnTo>
                <a:lnTo>
                  <a:pt x="584" y="614"/>
                </a:lnTo>
                <a:lnTo>
                  <a:pt x="583" y="615"/>
                </a:lnTo>
                <a:lnTo>
                  <a:pt x="581" y="615"/>
                </a:lnTo>
                <a:lnTo>
                  <a:pt x="579" y="616"/>
                </a:lnTo>
                <a:lnTo>
                  <a:pt x="576" y="615"/>
                </a:lnTo>
                <a:lnTo>
                  <a:pt x="573" y="614"/>
                </a:lnTo>
                <a:lnTo>
                  <a:pt x="396" y="461"/>
                </a:lnTo>
                <a:lnTo>
                  <a:pt x="393" y="459"/>
                </a:lnTo>
                <a:lnTo>
                  <a:pt x="391" y="460"/>
                </a:lnTo>
                <a:lnTo>
                  <a:pt x="390" y="460"/>
                </a:lnTo>
                <a:lnTo>
                  <a:pt x="388" y="461"/>
                </a:lnTo>
                <a:lnTo>
                  <a:pt x="387" y="462"/>
                </a:lnTo>
                <a:lnTo>
                  <a:pt x="386" y="464"/>
                </a:lnTo>
                <a:lnTo>
                  <a:pt x="386" y="466"/>
                </a:lnTo>
                <a:lnTo>
                  <a:pt x="386" y="601"/>
                </a:lnTo>
                <a:lnTo>
                  <a:pt x="386" y="603"/>
                </a:lnTo>
                <a:lnTo>
                  <a:pt x="384" y="605"/>
                </a:lnTo>
                <a:lnTo>
                  <a:pt x="383" y="606"/>
                </a:lnTo>
                <a:lnTo>
                  <a:pt x="381" y="607"/>
                </a:lnTo>
                <a:lnTo>
                  <a:pt x="379" y="607"/>
                </a:lnTo>
                <a:lnTo>
                  <a:pt x="377" y="606"/>
                </a:lnTo>
                <a:lnTo>
                  <a:pt x="375" y="605"/>
                </a:lnTo>
                <a:lnTo>
                  <a:pt x="374" y="603"/>
                </a:lnTo>
                <a:lnTo>
                  <a:pt x="340" y="511"/>
                </a:lnTo>
                <a:lnTo>
                  <a:pt x="292" y="378"/>
                </a:lnTo>
                <a:lnTo>
                  <a:pt x="242" y="240"/>
                </a:lnTo>
                <a:lnTo>
                  <a:pt x="205" y="132"/>
                </a:lnTo>
                <a:lnTo>
                  <a:pt x="203" y="130"/>
                </a:lnTo>
                <a:lnTo>
                  <a:pt x="202" y="128"/>
                </a:lnTo>
                <a:lnTo>
                  <a:pt x="200" y="128"/>
                </a:lnTo>
                <a:lnTo>
                  <a:pt x="197" y="128"/>
                </a:lnTo>
                <a:lnTo>
                  <a:pt x="195" y="128"/>
                </a:lnTo>
                <a:lnTo>
                  <a:pt x="194" y="130"/>
                </a:lnTo>
                <a:lnTo>
                  <a:pt x="192" y="132"/>
                </a:lnTo>
                <a:lnTo>
                  <a:pt x="192" y="134"/>
                </a:lnTo>
                <a:lnTo>
                  <a:pt x="192" y="604"/>
                </a:lnTo>
                <a:lnTo>
                  <a:pt x="191" y="606"/>
                </a:lnTo>
                <a:lnTo>
                  <a:pt x="190" y="608"/>
                </a:lnTo>
                <a:lnTo>
                  <a:pt x="188" y="609"/>
                </a:lnTo>
                <a:lnTo>
                  <a:pt x="186" y="610"/>
                </a:lnTo>
                <a:lnTo>
                  <a:pt x="184" y="610"/>
                </a:lnTo>
                <a:lnTo>
                  <a:pt x="182" y="609"/>
                </a:lnTo>
                <a:lnTo>
                  <a:pt x="181" y="609"/>
                </a:lnTo>
                <a:lnTo>
                  <a:pt x="180" y="608"/>
                </a:lnTo>
                <a:lnTo>
                  <a:pt x="179" y="605"/>
                </a:lnTo>
                <a:lnTo>
                  <a:pt x="13" y="5"/>
                </a:lnTo>
                <a:lnTo>
                  <a:pt x="12" y="3"/>
                </a:lnTo>
                <a:lnTo>
                  <a:pt x="11" y="2"/>
                </a:lnTo>
                <a:lnTo>
                  <a:pt x="10" y="1"/>
                </a:lnTo>
                <a:lnTo>
                  <a:pt x="8" y="1"/>
                </a:lnTo>
                <a:lnTo>
                  <a:pt x="6" y="0"/>
                </a:lnTo>
                <a:lnTo>
                  <a:pt x="4" y="1"/>
                </a:lnTo>
                <a:lnTo>
                  <a:pt x="2" y="3"/>
                </a:lnTo>
                <a:lnTo>
                  <a:pt x="1" y="4"/>
                </a:lnTo>
                <a:lnTo>
                  <a:pt x="0" y="7"/>
                </a:lnTo>
                <a:lnTo>
                  <a:pt x="0" y="546"/>
                </a:lnTo>
                <a:lnTo>
                  <a:pt x="0" y="549"/>
                </a:lnTo>
                <a:lnTo>
                  <a:pt x="1" y="552"/>
                </a:lnTo>
                <a:lnTo>
                  <a:pt x="3" y="554"/>
                </a:lnTo>
                <a:lnTo>
                  <a:pt x="5" y="555"/>
                </a:lnTo>
                <a:lnTo>
                  <a:pt x="147" y="644"/>
                </a:lnTo>
                <a:lnTo>
                  <a:pt x="150" y="645"/>
                </a:lnTo>
                <a:lnTo>
                  <a:pt x="153" y="646"/>
                </a:lnTo>
                <a:lnTo>
                  <a:pt x="389" y="646"/>
                </a:lnTo>
                <a:lnTo>
                  <a:pt x="392" y="646"/>
                </a:lnTo>
                <a:lnTo>
                  <a:pt x="395" y="647"/>
                </a:lnTo>
                <a:lnTo>
                  <a:pt x="397" y="649"/>
                </a:lnTo>
                <a:lnTo>
                  <a:pt x="398" y="651"/>
                </a:lnTo>
                <a:lnTo>
                  <a:pt x="399" y="652"/>
                </a:lnTo>
                <a:lnTo>
                  <a:pt x="500" y="909"/>
                </a:lnTo>
                <a:lnTo>
                  <a:pt x="501" y="912"/>
                </a:lnTo>
                <a:lnTo>
                  <a:pt x="501" y="914"/>
                </a:lnTo>
                <a:lnTo>
                  <a:pt x="501" y="917"/>
                </a:lnTo>
                <a:lnTo>
                  <a:pt x="500" y="920"/>
                </a:lnTo>
                <a:lnTo>
                  <a:pt x="448" y="1028"/>
                </a:lnTo>
                <a:lnTo>
                  <a:pt x="447" y="1030"/>
                </a:lnTo>
                <a:lnTo>
                  <a:pt x="447" y="1032"/>
                </a:lnTo>
                <a:lnTo>
                  <a:pt x="447" y="1036"/>
                </a:lnTo>
                <a:lnTo>
                  <a:pt x="519" y="1218"/>
                </a:lnTo>
                <a:lnTo>
                  <a:pt x="520" y="1221"/>
                </a:lnTo>
                <a:lnTo>
                  <a:pt x="523" y="1223"/>
                </a:lnTo>
                <a:lnTo>
                  <a:pt x="526" y="1224"/>
                </a:lnTo>
                <a:lnTo>
                  <a:pt x="529" y="1225"/>
                </a:lnTo>
                <a:lnTo>
                  <a:pt x="579" y="1225"/>
                </a:lnTo>
                <a:lnTo>
                  <a:pt x="629" y="1225"/>
                </a:lnTo>
                <a:lnTo>
                  <a:pt x="632" y="1224"/>
                </a:lnTo>
                <a:lnTo>
                  <a:pt x="635" y="1223"/>
                </a:lnTo>
                <a:lnTo>
                  <a:pt x="637" y="1221"/>
                </a:lnTo>
                <a:lnTo>
                  <a:pt x="638" y="1219"/>
                </a:lnTo>
                <a:lnTo>
                  <a:pt x="638" y="1218"/>
                </a:lnTo>
                <a:lnTo>
                  <a:pt x="710" y="1036"/>
                </a:lnTo>
                <a:lnTo>
                  <a:pt x="711" y="1034"/>
                </a:lnTo>
                <a:lnTo>
                  <a:pt x="711" y="1032"/>
                </a:lnTo>
                <a:lnTo>
                  <a:pt x="710" y="1030"/>
                </a:lnTo>
                <a:lnTo>
                  <a:pt x="710" y="1028"/>
                </a:lnTo>
                <a:lnTo>
                  <a:pt x="657" y="920"/>
                </a:lnTo>
                <a:lnTo>
                  <a:pt x="657" y="917"/>
                </a:lnTo>
                <a:lnTo>
                  <a:pt x="656" y="914"/>
                </a:lnTo>
                <a:lnTo>
                  <a:pt x="657" y="909"/>
                </a:lnTo>
                <a:lnTo>
                  <a:pt x="758" y="652"/>
                </a:lnTo>
                <a:lnTo>
                  <a:pt x="760" y="650"/>
                </a:lnTo>
                <a:lnTo>
                  <a:pt x="762" y="647"/>
                </a:lnTo>
                <a:lnTo>
                  <a:pt x="765" y="646"/>
                </a:lnTo>
                <a:lnTo>
                  <a:pt x="768" y="646"/>
                </a:lnTo>
                <a:lnTo>
                  <a:pt x="1006" y="646"/>
                </a:lnTo>
                <a:lnTo>
                  <a:pt x="1009" y="645"/>
                </a:lnTo>
                <a:lnTo>
                  <a:pt x="1011" y="644"/>
                </a:lnTo>
                <a:lnTo>
                  <a:pt x="1153" y="555"/>
                </a:lnTo>
                <a:lnTo>
                  <a:pt x="1155" y="554"/>
                </a:lnTo>
                <a:lnTo>
                  <a:pt x="1156" y="553"/>
                </a:lnTo>
                <a:lnTo>
                  <a:pt x="1157" y="552"/>
                </a:lnTo>
                <a:lnTo>
                  <a:pt x="1158" y="549"/>
                </a:lnTo>
                <a:lnTo>
                  <a:pt x="1158" y="546"/>
                </a:lnTo>
                <a:lnTo>
                  <a:pt x="1158" y="7"/>
                </a:lnTo>
                <a:lnTo>
                  <a:pt x="1158" y="4"/>
                </a:lnTo>
                <a:lnTo>
                  <a:pt x="1156" y="3"/>
                </a:lnTo>
                <a:lnTo>
                  <a:pt x="1154" y="1"/>
                </a:lnTo>
                <a:lnTo>
                  <a:pt x="1152" y="0"/>
                </a:lnTo>
                <a:lnTo>
                  <a:pt x="1150" y="1"/>
                </a:lnTo>
                <a:lnTo>
                  <a:pt x="1148" y="1"/>
                </a:lnTo>
                <a:lnTo>
                  <a:pt x="1146" y="3"/>
                </a:lnTo>
                <a:lnTo>
                  <a:pt x="1145" y="4"/>
                </a:lnTo>
                <a:lnTo>
                  <a:pt x="1145" y="5"/>
                </a:lnTo>
                <a:close/>
              </a:path>
            </a:pathLst>
          </a:custGeom>
          <a:solidFill>
            <a:srgbClr val="62A700"/>
          </a:solidFill>
          <a:ln>
            <a:noFill/>
          </a:ln>
        </p:spPr>
        <p:txBody>
          <a:bodyPr vert="horz" wrap="square" lIns="91440" tIns="45720" rIns="91440" bIns="45720" numCol="1" anchor="t" anchorCtr="0" compatLnSpc="1">
            <a:prstTxWarp prst="textNoShape">
              <a:avLst/>
            </a:prstTxWarp>
          </a:bodyPr>
          <a:lstStyle/>
          <a:p>
            <a:endParaRPr lang="fi-FI"/>
          </a:p>
        </p:txBody>
      </p:sp>
    </p:spTree>
    <p:extLst>
      <p:ext uri="{BB962C8B-B14F-4D97-AF65-F5344CB8AC3E}">
        <p14:creationId xmlns:p14="http://schemas.microsoft.com/office/powerpoint/2010/main" val="562719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Section header / ilta">
    <p:bg>
      <p:bgPr>
        <a:solidFill>
          <a:srgbClr val="73808D"/>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noFill/>
              </a:defRPr>
            </a:lvl1pPr>
          </a:lstStyle>
          <a:p>
            <a:fld id="{0EFE15CB-DF76-4428-AA1A-F64EDAEF0077}" type="datetime1">
              <a:rPr lang="en-GB" smtClean="0"/>
              <a:t>22/10/2025</a:t>
            </a:fld>
            <a:endParaRPr lang="fi-FI"/>
          </a:p>
        </p:txBody>
      </p:sp>
      <p:sp>
        <p:nvSpPr>
          <p:cNvPr id="5" name="Footer Placeholder 4"/>
          <p:cNvSpPr>
            <a:spLocks noGrp="1"/>
          </p:cNvSpPr>
          <p:nvPr>
            <p:ph type="ftr" sz="quarter" idx="11"/>
          </p:nvPr>
        </p:nvSpPr>
        <p:spPr/>
        <p:txBody>
          <a:bodyPr/>
          <a:lstStyle>
            <a:lvl1pPr>
              <a:defRPr>
                <a:noFill/>
              </a:defRPr>
            </a:lvl1pPr>
          </a:lstStyle>
          <a:p>
            <a:r>
              <a:rPr lang="fi-FI"/>
              <a:t>Presentation name / Author</a:t>
            </a:r>
          </a:p>
        </p:txBody>
      </p:sp>
      <p:sp>
        <p:nvSpPr>
          <p:cNvPr id="6" name="Slide Number Placeholder 5"/>
          <p:cNvSpPr>
            <a:spLocks noGrp="1"/>
          </p:cNvSpPr>
          <p:nvPr>
            <p:ph type="sldNum" sz="quarter" idx="12"/>
          </p:nvPr>
        </p:nvSpPr>
        <p:spPr/>
        <p:txBody>
          <a:bodyPr/>
          <a:lstStyle>
            <a:lvl1pPr>
              <a:defRPr>
                <a:noFill/>
              </a:defRPr>
            </a:lvl1pPr>
          </a:lstStyle>
          <a:p>
            <a:fld id="{49A25110-65A2-4B67-BF3F-8D6D3162EF46}" type="slidenum">
              <a:rPr lang="fi-FI" smtClean="0"/>
              <a:pPr/>
              <a:t>‹#›</a:t>
            </a:fld>
            <a:endParaRPr lang="fi-FI"/>
          </a:p>
        </p:txBody>
      </p:sp>
      <p:sp>
        <p:nvSpPr>
          <p:cNvPr id="10" name="Title 1"/>
          <p:cNvSpPr>
            <a:spLocks noGrp="1"/>
          </p:cNvSpPr>
          <p:nvPr>
            <p:ph type="title"/>
          </p:nvPr>
        </p:nvSpPr>
        <p:spPr>
          <a:xfrm>
            <a:off x="766762" y="3035936"/>
            <a:ext cx="10658475" cy="643253"/>
          </a:xfrm>
        </p:spPr>
        <p:txBody>
          <a:bodyPr anchor="ctr" anchorCtr="0">
            <a:spAutoFit/>
          </a:bodyPr>
          <a:lstStyle>
            <a:lvl1pPr algn="l">
              <a:lnSpc>
                <a:spcPct val="95000"/>
              </a:lnSpc>
              <a:defRPr sz="4400" b="0" cap="none" spc="0" baseline="0">
                <a:solidFill>
                  <a:schemeClr val="bg1"/>
                </a:solidFill>
              </a:defRPr>
            </a:lvl1pPr>
          </a:lstStyle>
          <a:p>
            <a:r>
              <a:rPr lang="en-US"/>
              <a:t>Click to edit Master title style</a:t>
            </a:r>
            <a:endParaRPr lang="fi-FI" dirty="0"/>
          </a:p>
        </p:txBody>
      </p:sp>
      <p:grpSp>
        <p:nvGrpSpPr>
          <p:cNvPr id="11" name="Group 10"/>
          <p:cNvGrpSpPr>
            <a:grpSpLocks noChangeAspect="1"/>
          </p:cNvGrpSpPr>
          <p:nvPr/>
        </p:nvGrpSpPr>
        <p:grpSpPr>
          <a:xfrm>
            <a:off x="335360" y="6093296"/>
            <a:ext cx="1243838" cy="432000"/>
            <a:chOff x="3279775" y="2451101"/>
            <a:chExt cx="5640388" cy="1958974"/>
          </a:xfrm>
          <a:solidFill>
            <a:schemeClr val="bg1"/>
          </a:solidFill>
        </p:grpSpPr>
        <p:sp>
          <p:nvSpPr>
            <p:cNvPr id="12" name="Freeform 6"/>
            <p:cNvSpPr>
              <a:spLocks/>
            </p:cNvSpPr>
            <p:nvPr/>
          </p:nvSpPr>
          <p:spPr bwMode="auto">
            <a:xfrm>
              <a:off x="3279775" y="2451101"/>
              <a:ext cx="1838325" cy="1944687"/>
            </a:xfrm>
            <a:custGeom>
              <a:avLst/>
              <a:gdLst>
                <a:gd name="T0" fmla="*/ 978 w 1158"/>
                <a:gd name="T1" fmla="*/ 608 h 1225"/>
                <a:gd name="T2" fmla="*/ 974 w 1158"/>
                <a:gd name="T3" fmla="*/ 610 h 1225"/>
                <a:gd name="T4" fmla="*/ 968 w 1158"/>
                <a:gd name="T5" fmla="*/ 608 h 1225"/>
                <a:gd name="T6" fmla="*/ 966 w 1158"/>
                <a:gd name="T7" fmla="*/ 134 h 1225"/>
                <a:gd name="T8" fmla="*/ 963 w 1158"/>
                <a:gd name="T9" fmla="*/ 128 h 1225"/>
                <a:gd name="T10" fmla="*/ 956 w 1158"/>
                <a:gd name="T11" fmla="*/ 128 h 1225"/>
                <a:gd name="T12" fmla="*/ 953 w 1158"/>
                <a:gd name="T13" fmla="*/ 132 h 1225"/>
                <a:gd name="T14" fmla="*/ 784 w 1158"/>
                <a:gd name="T15" fmla="*/ 603 h 1225"/>
                <a:gd name="T16" fmla="*/ 779 w 1158"/>
                <a:gd name="T17" fmla="*/ 607 h 1225"/>
                <a:gd name="T18" fmla="*/ 773 w 1158"/>
                <a:gd name="T19" fmla="*/ 605 h 1225"/>
                <a:gd name="T20" fmla="*/ 771 w 1158"/>
                <a:gd name="T21" fmla="*/ 466 h 1225"/>
                <a:gd name="T22" fmla="*/ 769 w 1158"/>
                <a:gd name="T23" fmla="*/ 461 h 1225"/>
                <a:gd name="T24" fmla="*/ 764 w 1158"/>
                <a:gd name="T25" fmla="*/ 459 h 1225"/>
                <a:gd name="T26" fmla="*/ 584 w 1158"/>
                <a:gd name="T27" fmla="*/ 614 h 1225"/>
                <a:gd name="T28" fmla="*/ 579 w 1158"/>
                <a:gd name="T29" fmla="*/ 616 h 1225"/>
                <a:gd name="T30" fmla="*/ 396 w 1158"/>
                <a:gd name="T31" fmla="*/ 461 h 1225"/>
                <a:gd name="T32" fmla="*/ 390 w 1158"/>
                <a:gd name="T33" fmla="*/ 460 h 1225"/>
                <a:gd name="T34" fmla="*/ 386 w 1158"/>
                <a:gd name="T35" fmla="*/ 464 h 1225"/>
                <a:gd name="T36" fmla="*/ 386 w 1158"/>
                <a:gd name="T37" fmla="*/ 603 h 1225"/>
                <a:gd name="T38" fmla="*/ 381 w 1158"/>
                <a:gd name="T39" fmla="*/ 607 h 1225"/>
                <a:gd name="T40" fmla="*/ 375 w 1158"/>
                <a:gd name="T41" fmla="*/ 605 h 1225"/>
                <a:gd name="T42" fmla="*/ 292 w 1158"/>
                <a:gd name="T43" fmla="*/ 378 h 1225"/>
                <a:gd name="T44" fmla="*/ 203 w 1158"/>
                <a:gd name="T45" fmla="*/ 130 h 1225"/>
                <a:gd name="T46" fmla="*/ 197 w 1158"/>
                <a:gd name="T47" fmla="*/ 128 h 1225"/>
                <a:gd name="T48" fmla="*/ 192 w 1158"/>
                <a:gd name="T49" fmla="*/ 132 h 1225"/>
                <a:gd name="T50" fmla="*/ 191 w 1158"/>
                <a:gd name="T51" fmla="*/ 606 h 1225"/>
                <a:gd name="T52" fmla="*/ 186 w 1158"/>
                <a:gd name="T53" fmla="*/ 610 h 1225"/>
                <a:gd name="T54" fmla="*/ 181 w 1158"/>
                <a:gd name="T55" fmla="*/ 609 h 1225"/>
                <a:gd name="T56" fmla="*/ 13 w 1158"/>
                <a:gd name="T57" fmla="*/ 5 h 1225"/>
                <a:gd name="T58" fmla="*/ 10 w 1158"/>
                <a:gd name="T59" fmla="*/ 1 h 1225"/>
                <a:gd name="T60" fmla="*/ 4 w 1158"/>
                <a:gd name="T61" fmla="*/ 1 h 1225"/>
                <a:gd name="T62" fmla="*/ 0 w 1158"/>
                <a:gd name="T63" fmla="*/ 7 h 1225"/>
                <a:gd name="T64" fmla="*/ 1 w 1158"/>
                <a:gd name="T65" fmla="*/ 552 h 1225"/>
                <a:gd name="T66" fmla="*/ 147 w 1158"/>
                <a:gd name="T67" fmla="*/ 644 h 1225"/>
                <a:gd name="T68" fmla="*/ 389 w 1158"/>
                <a:gd name="T69" fmla="*/ 646 h 1225"/>
                <a:gd name="T70" fmla="*/ 397 w 1158"/>
                <a:gd name="T71" fmla="*/ 649 h 1225"/>
                <a:gd name="T72" fmla="*/ 500 w 1158"/>
                <a:gd name="T73" fmla="*/ 909 h 1225"/>
                <a:gd name="T74" fmla="*/ 501 w 1158"/>
                <a:gd name="T75" fmla="*/ 917 h 1225"/>
                <a:gd name="T76" fmla="*/ 447 w 1158"/>
                <a:gd name="T77" fmla="*/ 1030 h 1225"/>
                <a:gd name="T78" fmla="*/ 519 w 1158"/>
                <a:gd name="T79" fmla="*/ 1218 h 1225"/>
                <a:gd name="T80" fmla="*/ 526 w 1158"/>
                <a:gd name="T81" fmla="*/ 1224 h 1225"/>
                <a:gd name="T82" fmla="*/ 629 w 1158"/>
                <a:gd name="T83" fmla="*/ 1225 h 1225"/>
                <a:gd name="T84" fmla="*/ 637 w 1158"/>
                <a:gd name="T85" fmla="*/ 1221 h 1225"/>
                <a:gd name="T86" fmla="*/ 710 w 1158"/>
                <a:gd name="T87" fmla="*/ 1036 h 1225"/>
                <a:gd name="T88" fmla="*/ 710 w 1158"/>
                <a:gd name="T89" fmla="*/ 1030 h 1225"/>
                <a:gd name="T90" fmla="*/ 657 w 1158"/>
                <a:gd name="T91" fmla="*/ 917 h 1225"/>
                <a:gd name="T92" fmla="*/ 758 w 1158"/>
                <a:gd name="T93" fmla="*/ 652 h 1225"/>
                <a:gd name="T94" fmla="*/ 765 w 1158"/>
                <a:gd name="T95" fmla="*/ 646 h 1225"/>
                <a:gd name="T96" fmla="*/ 1009 w 1158"/>
                <a:gd name="T97" fmla="*/ 645 h 1225"/>
                <a:gd name="T98" fmla="*/ 1155 w 1158"/>
                <a:gd name="T99" fmla="*/ 554 h 1225"/>
                <a:gd name="T100" fmla="*/ 1158 w 1158"/>
                <a:gd name="T101" fmla="*/ 549 h 1225"/>
                <a:gd name="T102" fmla="*/ 1158 w 1158"/>
                <a:gd name="T103" fmla="*/ 4 h 1225"/>
                <a:gd name="T104" fmla="*/ 1152 w 1158"/>
                <a:gd name="T105" fmla="*/ 0 h 1225"/>
                <a:gd name="T106" fmla="*/ 1146 w 1158"/>
                <a:gd name="T107" fmla="*/ 3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8" h="1225">
                  <a:moveTo>
                    <a:pt x="1145" y="5"/>
                  </a:moveTo>
                  <a:lnTo>
                    <a:pt x="979" y="605"/>
                  </a:lnTo>
                  <a:lnTo>
                    <a:pt x="978" y="608"/>
                  </a:lnTo>
                  <a:lnTo>
                    <a:pt x="977" y="608"/>
                  </a:lnTo>
                  <a:lnTo>
                    <a:pt x="976" y="609"/>
                  </a:lnTo>
                  <a:lnTo>
                    <a:pt x="974" y="610"/>
                  </a:lnTo>
                  <a:lnTo>
                    <a:pt x="972" y="610"/>
                  </a:lnTo>
                  <a:lnTo>
                    <a:pt x="970" y="609"/>
                  </a:lnTo>
                  <a:lnTo>
                    <a:pt x="968" y="608"/>
                  </a:lnTo>
                  <a:lnTo>
                    <a:pt x="967" y="606"/>
                  </a:lnTo>
                  <a:lnTo>
                    <a:pt x="966" y="603"/>
                  </a:lnTo>
                  <a:lnTo>
                    <a:pt x="966" y="134"/>
                  </a:lnTo>
                  <a:lnTo>
                    <a:pt x="966" y="132"/>
                  </a:lnTo>
                  <a:lnTo>
                    <a:pt x="964" y="130"/>
                  </a:lnTo>
                  <a:lnTo>
                    <a:pt x="963" y="128"/>
                  </a:lnTo>
                  <a:lnTo>
                    <a:pt x="961" y="128"/>
                  </a:lnTo>
                  <a:lnTo>
                    <a:pt x="958" y="128"/>
                  </a:lnTo>
                  <a:lnTo>
                    <a:pt x="956" y="128"/>
                  </a:lnTo>
                  <a:lnTo>
                    <a:pt x="955" y="129"/>
                  </a:lnTo>
                  <a:lnTo>
                    <a:pt x="955" y="130"/>
                  </a:lnTo>
                  <a:lnTo>
                    <a:pt x="953" y="132"/>
                  </a:lnTo>
                  <a:lnTo>
                    <a:pt x="916" y="240"/>
                  </a:lnTo>
                  <a:lnTo>
                    <a:pt x="865" y="378"/>
                  </a:lnTo>
                  <a:lnTo>
                    <a:pt x="784" y="603"/>
                  </a:lnTo>
                  <a:lnTo>
                    <a:pt x="782" y="605"/>
                  </a:lnTo>
                  <a:lnTo>
                    <a:pt x="781" y="606"/>
                  </a:lnTo>
                  <a:lnTo>
                    <a:pt x="779" y="607"/>
                  </a:lnTo>
                  <a:lnTo>
                    <a:pt x="776" y="607"/>
                  </a:lnTo>
                  <a:lnTo>
                    <a:pt x="774" y="606"/>
                  </a:lnTo>
                  <a:lnTo>
                    <a:pt x="773" y="605"/>
                  </a:lnTo>
                  <a:lnTo>
                    <a:pt x="772" y="603"/>
                  </a:lnTo>
                  <a:lnTo>
                    <a:pt x="771" y="600"/>
                  </a:lnTo>
                  <a:lnTo>
                    <a:pt x="771" y="466"/>
                  </a:lnTo>
                  <a:lnTo>
                    <a:pt x="771" y="464"/>
                  </a:lnTo>
                  <a:lnTo>
                    <a:pt x="770" y="462"/>
                  </a:lnTo>
                  <a:lnTo>
                    <a:pt x="769" y="461"/>
                  </a:lnTo>
                  <a:lnTo>
                    <a:pt x="767" y="460"/>
                  </a:lnTo>
                  <a:lnTo>
                    <a:pt x="766" y="459"/>
                  </a:lnTo>
                  <a:lnTo>
                    <a:pt x="764" y="459"/>
                  </a:lnTo>
                  <a:lnTo>
                    <a:pt x="762" y="460"/>
                  </a:lnTo>
                  <a:lnTo>
                    <a:pt x="761" y="461"/>
                  </a:lnTo>
                  <a:lnTo>
                    <a:pt x="584" y="614"/>
                  </a:lnTo>
                  <a:lnTo>
                    <a:pt x="583" y="615"/>
                  </a:lnTo>
                  <a:lnTo>
                    <a:pt x="581" y="615"/>
                  </a:lnTo>
                  <a:lnTo>
                    <a:pt x="579" y="616"/>
                  </a:lnTo>
                  <a:lnTo>
                    <a:pt x="576" y="615"/>
                  </a:lnTo>
                  <a:lnTo>
                    <a:pt x="573" y="614"/>
                  </a:lnTo>
                  <a:lnTo>
                    <a:pt x="396" y="461"/>
                  </a:lnTo>
                  <a:lnTo>
                    <a:pt x="393" y="459"/>
                  </a:lnTo>
                  <a:lnTo>
                    <a:pt x="391" y="460"/>
                  </a:lnTo>
                  <a:lnTo>
                    <a:pt x="390" y="460"/>
                  </a:lnTo>
                  <a:lnTo>
                    <a:pt x="388" y="461"/>
                  </a:lnTo>
                  <a:lnTo>
                    <a:pt x="387" y="462"/>
                  </a:lnTo>
                  <a:lnTo>
                    <a:pt x="386" y="464"/>
                  </a:lnTo>
                  <a:lnTo>
                    <a:pt x="386" y="466"/>
                  </a:lnTo>
                  <a:lnTo>
                    <a:pt x="386" y="601"/>
                  </a:lnTo>
                  <a:lnTo>
                    <a:pt x="386" y="603"/>
                  </a:lnTo>
                  <a:lnTo>
                    <a:pt x="384" y="605"/>
                  </a:lnTo>
                  <a:lnTo>
                    <a:pt x="383" y="606"/>
                  </a:lnTo>
                  <a:lnTo>
                    <a:pt x="381" y="607"/>
                  </a:lnTo>
                  <a:lnTo>
                    <a:pt x="379" y="607"/>
                  </a:lnTo>
                  <a:lnTo>
                    <a:pt x="377" y="606"/>
                  </a:lnTo>
                  <a:lnTo>
                    <a:pt x="375" y="605"/>
                  </a:lnTo>
                  <a:lnTo>
                    <a:pt x="374" y="603"/>
                  </a:lnTo>
                  <a:lnTo>
                    <a:pt x="340" y="511"/>
                  </a:lnTo>
                  <a:lnTo>
                    <a:pt x="292" y="378"/>
                  </a:lnTo>
                  <a:lnTo>
                    <a:pt x="242" y="240"/>
                  </a:lnTo>
                  <a:lnTo>
                    <a:pt x="205" y="132"/>
                  </a:lnTo>
                  <a:lnTo>
                    <a:pt x="203" y="130"/>
                  </a:lnTo>
                  <a:lnTo>
                    <a:pt x="202" y="128"/>
                  </a:lnTo>
                  <a:lnTo>
                    <a:pt x="200" y="128"/>
                  </a:lnTo>
                  <a:lnTo>
                    <a:pt x="197" y="128"/>
                  </a:lnTo>
                  <a:lnTo>
                    <a:pt x="195" y="128"/>
                  </a:lnTo>
                  <a:lnTo>
                    <a:pt x="194" y="130"/>
                  </a:lnTo>
                  <a:lnTo>
                    <a:pt x="192" y="132"/>
                  </a:lnTo>
                  <a:lnTo>
                    <a:pt x="192" y="134"/>
                  </a:lnTo>
                  <a:lnTo>
                    <a:pt x="192" y="604"/>
                  </a:lnTo>
                  <a:lnTo>
                    <a:pt x="191" y="606"/>
                  </a:lnTo>
                  <a:lnTo>
                    <a:pt x="190" y="608"/>
                  </a:lnTo>
                  <a:lnTo>
                    <a:pt x="188" y="609"/>
                  </a:lnTo>
                  <a:lnTo>
                    <a:pt x="186" y="610"/>
                  </a:lnTo>
                  <a:lnTo>
                    <a:pt x="184" y="610"/>
                  </a:lnTo>
                  <a:lnTo>
                    <a:pt x="182" y="609"/>
                  </a:lnTo>
                  <a:lnTo>
                    <a:pt x="181" y="609"/>
                  </a:lnTo>
                  <a:lnTo>
                    <a:pt x="180" y="608"/>
                  </a:lnTo>
                  <a:lnTo>
                    <a:pt x="179" y="605"/>
                  </a:lnTo>
                  <a:lnTo>
                    <a:pt x="13" y="5"/>
                  </a:lnTo>
                  <a:lnTo>
                    <a:pt x="12" y="3"/>
                  </a:lnTo>
                  <a:lnTo>
                    <a:pt x="11" y="2"/>
                  </a:lnTo>
                  <a:lnTo>
                    <a:pt x="10" y="1"/>
                  </a:lnTo>
                  <a:lnTo>
                    <a:pt x="8" y="1"/>
                  </a:lnTo>
                  <a:lnTo>
                    <a:pt x="6" y="0"/>
                  </a:lnTo>
                  <a:lnTo>
                    <a:pt x="4" y="1"/>
                  </a:lnTo>
                  <a:lnTo>
                    <a:pt x="2" y="3"/>
                  </a:lnTo>
                  <a:lnTo>
                    <a:pt x="1" y="4"/>
                  </a:lnTo>
                  <a:lnTo>
                    <a:pt x="0" y="7"/>
                  </a:lnTo>
                  <a:lnTo>
                    <a:pt x="0" y="546"/>
                  </a:lnTo>
                  <a:lnTo>
                    <a:pt x="0" y="549"/>
                  </a:lnTo>
                  <a:lnTo>
                    <a:pt x="1" y="552"/>
                  </a:lnTo>
                  <a:lnTo>
                    <a:pt x="3" y="554"/>
                  </a:lnTo>
                  <a:lnTo>
                    <a:pt x="5" y="555"/>
                  </a:lnTo>
                  <a:lnTo>
                    <a:pt x="147" y="644"/>
                  </a:lnTo>
                  <a:lnTo>
                    <a:pt x="150" y="645"/>
                  </a:lnTo>
                  <a:lnTo>
                    <a:pt x="153" y="646"/>
                  </a:lnTo>
                  <a:lnTo>
                    <a:pt x="389" y="646"/>
                  </a:lnTo>
                  <a:lnTo>
                    <a:pt x="392" y="646"/>
                  </a:lnTo>
                  <a:lnTo>
                    <a:pt x="395" y="647"/>
                  </a:lnTo>
                  <a:lnTo>
                    <a:pt x="397" y="649"/>
                  </a:lnTo>
                  <a:lnTo>
                    <a:pt x="398" y="651"/>
                  </a:lnTo>
                  <a:lnTo>
                    <a:pt x="399" y="652"/>
                  </a:lnTo>
                  <a:lnTo>
                    <a:pt x="500" y="909"/>
                  </a:lnTo>
                  <a:lnTo>
                    <a:pt x="501" y="912"/>
                  </a:lnTo>
                  <a:lnTo>
                    <a:pt x="501" y="914"/>
                  </a:lnTo>
                  <a:lnTo>
                    <a:pt x="501" y="917"/>
                  </a:lnTo>
                  <a:lnTo>
                    <a:pt x="500" y="920"/>
                  </a:lnTo>
                  <a:lnTo>
                    <a:pt x="448" y="1028"/>
                  </a:lnTo>
                  <a:lnTo>
                    <a:pt x="447" y="1030"/>
                  </a:lnTo>
                  <a:lnTo>
                    <a:pt x="447" y="1032"/>
                  </a:lnTo>
                  <a:lnTo>
                    <a:pt x="447" y="1036"/>
                  </a:lnTo>
                  <a:lnTo>
                    <a:pt x="519" y="1218"/>
                  </a:lnTo>
                  <a:lnTo>
                    <a:pt x="520" y="1221"/>
                  </a:lnTo>
                  <a:lnTo>
                    <a:pt x="523" y="1223"/>
                  </a:lnTo>
                  <a:lnTo>
                    <a:pt x="526" y="1224"/>
                  </a:lnTo>
                  <a:lnTo>
                    <a:pt x="529" y="1225"/>
                  </a:lnTo>
                  <a:lnTo>
                    <a:pt x="579" y="1225"/>
                  </a:lnTo>
                  <a:lnTo>
                    <a:pt x="629" y="1225"/>
                  </a:lnTo>
                  <a:lnTo>
                    <a:pt x="632" y="1224"/>
                  </a:lnTo>
                  <a:lnTo>
                    <a:pt x="635" y="1223"/>
                  </a:lnTo>
                  <a:lnTo>
                    <a:pt x="637" y="1221"/>
                  </a:lnTo>
                  <a:lnTo>
                    <a:pt x="638" y="1219"/>
                  </a:lnTo>
                  <a:lnTo>
                    <a:pt x="638" y="1218"/>
                  </a:lnTo>
                  <a:lnTo>
                    <a:pt x="710" y="1036"/>
                  </a:lnTo>
                  <a:lnTo>
                    <a:pt x="711" y="1034"/>
                  </a:lnTo>
                  <a:lnTo>
                    <a:pt x="711" y="1032"/>
                  </a:lnTo>
                  <a:lnTo>
                    <a:pt x="710" y="1030"/>
                  </a:lnTo>
                  <a:lnTo>
                    <a:pt x="710" y="1028"/>
                  </a:lnTo>
                  <a:lnTo>
                    <a:pt x="657" y="920"/>
                  </a:lnTo>
                  <a:lnTo>
                    <a:pt x="657" y="917"/>
                  </a:lnTo>
                  <a:lnTo>
                    <a:pt x="656" y="914"/>
                  </a:lnTo>
                  <a:lnTo>
                    <a:pt x="657" y="909"/>
                  </a:lnTo>
                  <a:lnTo>
                    <a:pt x="758" y="652"/>
                  </a:lnTo>
                  <a:lnTo>
                    <a:pt x="760" y="650"/>
                  </a:lnTo>
                  <a:lnTo>
                    <a:pt x="762" y="647"/>
                  </a:lnTo>
                  <a:lnTo>
                    <a:pt x="765" y="646"/>
                  </a:lnTo>
                  <a:lnTo>
                    <a:pt x="768" y="646"/>
                  </a:lnTo>
                  <a:lnTo>
                    <a:pt x="1006" y="646"/>
                  </a:lnTo>
                  <a:lnTo>
                    <a:pt x="1009" y="645"/>
                  </a:lnTo>
                  <a:lnTo>
                    <a:pt x="1011" y="644"/>
                  </a:lnTo>
                  <a:lnTo>
                    <a:pt x="1153" y="555"/>
                  </a:lnTo>
                  <a:lnTo>
                    <a:pt x="1155" y="554"/>
                  </a:lnTo>
                  <a:lnTo>
                    <a:pt x="1156" y="553"/>
                  </a:lnTo>
                  <a:lnTo>
                    <a:pt x="1157" y="552"/>
                  </a:lnTo>
                  <a:lnTo>
                    <a:pt x="1158" y="549"/>
                  </a:lnTo>
                  <a:lnTo>
                    <a:pt x="1158" y="546"/>
                  </a:lnTo>
                  <a:lnTo>
                    <a:pt x="1158" y="7"/>
                  </a:lnTo>
                  <a:lnTo>
                    <a:pt x="1158" y="4"/>
                  </a:lnTo>
                  <a:lnTo>
                    <a:pt x="1156" y="3"/>
                  </a:lnTo>
                  <a:lnTo>
                    <a:pt x="1154" y="1"/>
                  </a:lnTo>
                  <a:lnTo>
                    <a:pt x="1152" y="0"/>
                  </a:lnTo>
                  <a:lnTo>
                    <a:pt x="1150" y="1"/>
                  </a:lnTo>
                  <a:lnTo>
                    <a:pt x="1148" y="1"/>
                  </a:lnTo>
                  <a:lnTo>
                    <a:pt x="1146" y="3"/>
                  </a:lnTo>
                  <a:lnTo>
                    <a:pt x="1145" y="4"/>
                  </a:lnTo>
                  <a:lnTo>
                    <a:pt x="11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3" name="Freeform 7"/>
            <p:cNvSpPr>
              <a:spLocks noEditPoints="1"/>
            </p:cNvSpPr>
            <p:nvPr/>
          </p:nvSpPr>
          <p:spPr bwMode="auto">
            <a:xfrm>
              <a:off x="5386388" y="3476625"/>
              <a:ext cx="3533775" cy="933450"/>
            </a:xfrm>
            <a:custGeom>
              <a:avLst/>
              <a:gdLst>
                <a:gd name="T0" fmla="*/ 1976 w 2226"/>
                <a:gd name="T1" fmla="*/ 407 h 588"/>
                <a:gd name="T2" fmla="*/ 1967 w 2226"/>
                <a:gd name="T3" fmla="*/ 463 h 588"/>
                <a:gd name="T4" fmla="*/ 2059 w 2226"/>
                <a:gd name="T5" fmla="*/ 452 h 588"/>
                <a:gd name="T6" fmla="*/ 2077 w 2226"/>
                <a:gd name="T7" fmla="*/ 579 h 588"/>
                <a:gd name="T8" fmla="*/ 2048 w 2226"/>
                <a:gd name="T9" fmla="*/ 537 h 588"/>
                <a:gd name="T10" fmla="*/ 1914 w 2226"/>
                <a:gd name="T11" fmla="*/ 585 h 588"/>
                <a:gd name="T12" fmla="*/ 1811 w 2226"/>
                <a:gd name="T13" fmla="*/ 508 h 588"/>
                <a:gd name="T14" fmla="*/ 1836 w 2226"/>
                <a:gd name="T15" fmla="*/ 383 h 588"/>
                <a:gd name="T16" fmla="*/ 2013 w 2226"/>
                <a:gd name="T17" fmla="*/ 311 h 588"/>
                <a:gd name="T18" fmla="*/ 2045 w 2226"/>
                <a:gd name="T19" fmla="*/ 271 h 588"/>
                <a:gd name="T20" fmla="*/ 1907 w 2226"/>
                <a:gd name="T21" fmla="*/ 300 h 588"/>
                <a:gd name="T22" fmla="*/ 1866 w 2226"/>
                <a:gd name="T23" fmla="*/ 195 h 588"/>
                <a:gd name="T24" fmla="*/ 2086 w 2226"/>
                <a:gd name="T25" fmla="*/ 154 h 588"/>
                <a:gd name="T26" fmla="*/ 2190 w 2226"/>
                <a:gd name="T27" fmla="*/ 214 h 588"/>
                <a:gd name="T28" fmla="*/ 2217 w 2226"/>
                <a:gd name="T29" fmla="*/ 512 h 588"/>
                <a:gd name="T30" fmla="*/ 1994 w 2226"/>
                <a:gd name="T31" fmla="*/ 3 h 588"/>
                <a:gd name="T32" fmla="*/ 1869 w 2226"/>
                <a:gd name="T33" fmla="*/ 7 h 588"/>
                <a:gd name="T34" fmla="*/ 2172 w 2226"/>
                <a:gd name="T35" fmla="*/ 123 h 588"/>
                <a:gd name="T36" fmla="*/ 1190 w 2226"/>
                <a:gd name="T37" fmla="*/ 576 h 588"/>
                <a:gd name="T38" fmla="*/ 1121 w 2226"/>
                <a:gd name="T39" fmla="*/ 502 h 588"/>
                <a:gd name="T40" fmla="*/ 1059 w 2226"/>
                <a:gd name="T41" fmla="*/ 264 h 588"/>
                <a:gd name="T42" fmla="*/ 1170 w 2226"/>
                <a:gd name="T43" fmla="*/ 25 h 588"/>
                <a:gd name="T44" fmla="*/ 1274 w 2226"/>
                <a:gd name="T45" fmla="*/ 156 h 588"/>
                <a:gd name="T46" fmla="*/ 1374 w 2226"/>
                <a:gd name="T47" fmla="*/ 271 h 588"/>
                <a:gd name="T48" fmla="*/ 1291 w 2226"/>
                <a:gd name="T49" fmla="*/ 469 h 588"/>
                <a:gd name="T50" fmla="*/ 1370 w 2226"/>
                <a:gd name="T51" fmla="*/ 564 h 588"/>
                <a:gd name="T52" fmla="*/ 1 w 2226"/>
                <a:gd name="T53" fmla="*/ 3 h 588"/>
                <a:gd name="T54" fmla="*/ 312 w 2226"/>
                <a:gd name="T55" fmla="*/ 389 h 588"/>
                <a:gd name="T56" fmla="*/ 615 w 2226"/>
                <a:gd name="T57" fmla="*/ 572 h 588"/>
                <a:gd name="T58" fmla="*/ 463 w 2226"/>
                <a:gd name="T59" fmla="*/ 222 h 588"/>
                <a:gd name="T60" fmla="*/ 365 w 2226"/>
                <a:gd name="T61" fmla="*/ 579 h 588"/>
                <a:gd name="T62" fmla="*/ 146 w 2226"/>
                <a:gd name="T63" fmla="*/ 223 h 588"/>
                <a:gd name="T64" fmla="*/ 1 w 2226"/>
                <a:gd name="T65" fmla="*/ 576 h 588"/>
                <a:gd name="T66" fmla="*/ 795 w 2226"/>
                <a:gd name="T67" fmla="*/ 421 h 588"/>
                <a:gd name="T68" fmla="*/ 861 w 2226"/>
                <a:gd name="T69" fmla="*/ 482 h 588"/>
                <a:gd name="T70" fmla="*/ 999 w 2226"/>
                <a:gd name="T71" fmla="*/ 448 h 588"/>
                <a:gd name="T72" fmla="*/ 974 w 2226"/>
                <a:gd name="T73" fmla="*/ 574 h 588"/>
                <a:gd name="T74" fmla="*/ 772 w 2226"/>
                <a:gd name="T75" fmla="*/ 575 h 588"/>
                <a:gd name="T76" fmla="*/ 659 w 2226"/>
                <a:gd name="T77" fmla="*/ 476 h 588"/>
                <a:gd name="T78" fmla="*/ 649 w 2226"/>
                <a:gd name="T79" fmla="*/ 300 h 588"/>
                <a:gd name="T80" fmla="*/ 753 w 2226"/>
                <a:gd name="T81" fmla="*/ 177 h 588"/>
                <a:gd name="T82" fmla="*/ 901 w 2226"/>
                <a:gd name="T83" fmla="*/ 155 h 588"/>
                <a:gd name="T84" fmla="*/ 1027 w 2226"/>
                <a:gd name="T85" fmla="*/ 233 h 588"/>
                <a:gd name="T86" fmla="*/ 921 w 2226"/>
                <a:gd name="T87" fmla="*/ 325 h 588"/>
                <a:gd name="T88" fmla="*/ 895 w 2226"/>
                <a:gd name="T89" fmla="*/ 267 h 588"/>
                <a:gd name="T90" fmla="*/ 818 w 2226"/>
                <a:gd name="T91" fmla="*/ 277 h 588"/>
                <a:gd name="T92" fmla="*/ 1595 w 2226"/>
                <a:gd name="T93" fmla="*/ 588 h 588"/>
                <a:gd name="T94" fmla="*/ 1393 w 2226"/>
                <a:gd name="T95" fmla="*/ 532 h 588"/>
                <a:gd name="T96" fmla="*/ 1483 w 2226"/>
                <a:gd name="T97" fmla="*/ 465 h 588"/>
                <a:gd name="T98" fmla="*/ 1638 w 2226"/>
                <a:gd name="T99" fmla="*/ 480 h 588"/>
                <a:gd name="T100" fmla="*/ 1609 w 2226"/>
                <a:gd name="T101" fmla="*/ 434 h 588"/>
                <a:gd name="T102" fmla="*/ 1433 w 2226"/>
                <a:gd name="T103" fmla="*/ 371 h 588"/>
                <a:gd name="T104" fmla="*/ 1410 w 2226"/>
                <a:gd name="T105" fmla="*/ 261 h 588"/>
                <a:gd name="T106" fmla="*/ 1497 w 2226"/>
                <a:gd name="T107" fmla="*/ 166 h 588"/>
                <a:gd name="T108" fmla="*/ 1713 w 2226"/>
                <a:gd name="T109" fmla="*/ 174 h 588"/>
                <a:gd name="T110" fmla="*/ 1716 w 2226"/>
                <a:gd name="T111" fmla="*/ 292 h 588"/>
                <a:gd name="T112" fmla="*/ 1568 w 2226"/>
                <a:gd name="T113" fmla="*/ 256 h 588"/>
                <a:gd name="T114" fmla="*/ 1563 w 2226"/>
                <a:gd name="T115" fmla="*/ 299 h 588"/>
                <a:gd name="T116" fmla="*/ 1752 w 2226"/>
                <a:gd name="T117" fmla="*/ 356 h 588"/>
                <a:gd name="T118" fmla="*/ 1787 w 2226"/>
                <a:gd name="T119" fmla="*/ 458 h 588"/>
                <a:gd name="T120" fmla="*/ 1721 w 2226"/>
                <a:gd name="T121" fmla="*/ 55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26" h="588">
                  <a:moveTo>
                    <a:pt x="2065" y="439"/>
                  </a:moveTo>
                  <a:lnTo>
                    <a:pt x="2065" y="391"/>
                  </a:lnTo>
                  <a:lnTo>
                    <a:pt x="2064" y="389"/>
                  </a:lnTo>
                  <a:lnTo>
                    <a:pt x="2063" y="388"/>
                  </a:lnTo>
                  <a:lnTo>
                    <a:pt x="2061" y="387"/>
                  </a:lnTo>
                  <a:lnTo>
                    <a:pt x="2060" y="387"/>
                  </a:lnTo>
                  <a:lnTo>
                    <a:pt x="2047" y="388"/>
                  </a:lnTo>
                  <a:lnTo>
                    <a:pt x="2035" y="389"/>
                  </a:lnTo>
                  <a:lnTo>
                    <a:pt x="2024" y="390"/>
                  </a:lnTo>
                  <a:lnTo>
                    <a:pt x="2014" y="392"/>
                  </a:lnTo>
                  <a:lnTo>
                    <a:pt x="2004" y="395"/>
                  </a:lnTo>
                  <a:lnTo>
                    <a:pt x="1996" y="397"/>
                  </a:lnTo>
                  <a:lnTo>
                    <a:pt x="1988" y="400"/>
                  </a:lnTo>
                  <a:lnTo>
                    <a:pt x="1981" y="403"/>
                  </a:lnTo>
                  <a:lnTo>
                    <a:pt x="1976" y="407"/>
                  </a:lnTo>
                  <a:lnTo>
                    <a:pt x="1971" y="411"/>
                  </a:lnTo>
                  <a:lnTo>
                    <a:pt x="1966" y="415"/>
                  </a:lnTo>
                  <a:lnTo>
                    <a:pt x="1963" y="420"/>
                  </a:lnTo>
                  <a:lnTo>
                    <a:pt x="1960" y="425"/>
                  </a:lnTo>
                  <a:lnTo>
                    <a:pt x="1958" y="430"/>
                  </a:lnTo>
                  <a:lnTo>
                    <a:pt x="1957" y="435"/>
                  </a:lnTo>
                  <a:lnTo>
                    <a:pt x="1957" y="441"/>
                  </a:lnTo>
                  <a:lnTo>
                    <a:pt x="1957" y="445"/>
                  </a:lnTo>
                  <a:lnTo>
                    <a:pt x="1958" y="448"/>
                  </a:lnTo>
                  <a:lnTo>
                    <a:pt x="1958" y="451"/>
                  </a:lnTo>
                  <a:lnTo>
                    <a:pt x="1959" y="454"/>
                  </a:lnTo>
                  <a:lnTo>
                    <a:pt x="1961" y="457"/>
                  </a:lnTo>
                  <a:lnTo>
                    <a:pt x="1963" y="459"/>
                  </a:lnTo>
                  <a:lnTo>
                    <a:pt x="1965" y="461"/>
                  </a:lnTo>
                  <a:lnTo>
                    <a:pt x="1967" y="463"/>
                  </a:lnTo>
                  <a:lnTo>
                    <a:pt x="1972" y="467"/>
                  </a:lnTo>
                  <a:lnTo>
                    <a:pt x="1975" y="468"/>
                  </a:lnTo>
                  <a:lnTo>
                    <a:pt x="1978" y="469"/>
                  </a:lnTo>
                  <a:lnTo>
                    <a:pt x="1984" y="470"/>
                  </a:lnTo>
                  <a:lnTo>
                    <a:pt x="1991" y="471"/>
                  </a:lnTo>
                  <a:lnTo>
                    <a:pt x="2005" y="470"/>
                  </a:lnTo>
                  <a:lnTo>
                    <a:pt x="2011" y="470"/>
                  </a:lnTo>
                  <a:lnTo>
                    <a:pt x="2017" y="469"/>
                  </a:lnTo>
                  <a:lnTo>
                    <a:pt x="2023" y="468"/>
                  </a:lnTo>
                  <a:lnTo>
                    <a:pt x="2028" y="467"/>
                  </a:lnTo>
                  <a:lnTo>
                    <a:pt x="2037" y="464"/>
                  </a:lnTo>
                  <a:lnTo>
                    <a:pt x="2045" y="461"/>
                  </a:lnTo>
                  <a:lnTo>
                    <a:pt x="2051" y="458"/>
                  </a:lnTo>
                  <a:lnTo>
                    <a:pt x="2056" y="454"/>
                  </a:lnTo>
                  <a:lnTo>
                    <a:pt x="2059" y="452"/>
                  </a:lnTo>
                  <a:lnTo>
                    <a:pt x="2061" y="450"/>
                  </a:lnTo>
                  <a:lnTo>
                    <a:pt x="2063" y="447"/>
                  </a:lnTo>
                  <a:lnTo>
                    <a:pt x="2064" y="443"/>
                  </a:lnTo>
                  <a:lnTo>
                    <a:pt x="2065" y="440"/>
                  </a:lnTo>
                  <a:lnTo>
                    <a:pt x="2065" y="439"/>
                  </a:lnTo>
                  <a:close/>
                  <a:moveTo>
                    <a:pt x="2225" y="572"/>
                  </a:moveTo>
                  <a:lnTo>
                    <a:pt x="2226" y="575"/>
                  </a:lnTo>
                  <a:lnTo>
                    <a:pt x="2225" y="577"/>
                  </a:lnTo>
                  <a:lnTo>
                    <a:pt x="2225" y="578"/>
                  </a:lnTo>
                  <a:lnTo>
                    <a:pt x="2224" y="579"/>
                  </a:lnTo>
                  <a:lnTo>
                    <a:pt x="2221" y="579"/>
                  </a:lnTo>
                  <a:lnTo>
                    <a:pt x="2220" y="579"/>
                  </a:lnTo>
                  <a:lnTo>
                    <a:pt x="2081" y="579"/>
                  </a:lnTo>
                  <a:lnTo>
                    <a:pt x="2079" y="579"/>
                  </a:lnTo>
                  <a:lnTo>
                    <a:pt x="2077" y="579"/>
                  </a:lnTo>
                  <a:lnTo>
                    <a:pt x="2074" y="577"/>
                  </a:lnTo>
                  <a:lnTo>
                    <a:pt x="2073" y="574"/>
                  </a:lnTo>
                  <a:lnTo>
                    <a:pt x="2072" y="572"/>
                  </a:lnTo>
                  <a:lnTo>
                    <a:pt x="2069" y="560"/>
                  </a:lnTo>
                  <a:lnTo>
                    <a:pt x="2067" y="548"/>
                  </a:lnTo>
                  <a:lnTo>
                    <a:pt x="2065" y="537"/>
                  </a:lnTo>
                  <a:lnTo>
                    <a:pt x="2065" y="526"/>
                  </a:lnTo>
                  <a:lnTo>
                    <a:pt x="2064" y="524"/>
                  </a:lnTo>
                  <a:lnTo>
                    <a:pt x="2064" y="522"/>
                  </a:lnTo>
                  <a:lnTo>
                    <a:pt x="2063" y="522"/>
                  </a:lnTo>
                  <a:lnTo>
                    <a:pt x="2062" y="522"/>
                  </a:lnTo>
                  <a:lnTo>
                    <a:pt x="2061" y="523"/>
                  </a:lnTo>
                  <a:lnTo>
                    <a:pt x="2060" y="524"/>
                  </a:lnTo>
                  <a:lnTo>
                    <a:pt x="2054" y="531"/>
                  </a:lnTo>
                  <a:lnTo>
                    <a:pt x="2048" y="537"/>
                  </a:lnTo>
                  <a:lnTo>
                    <a:pt x="2042" y="544"/>
                  </a:lnTo>
                  <a:lnTo>
                    <a:pt x="2035" y="549"/>
                  </a:lnTo>
                  <a:lnTo>
                    <a:pt x="2028" y="555"/>
                  </a:lnTo>
                  <a:lnTo>
                    <a:pt x="2021" y="560"/>
                  </a:lnTo>
                  <a:lnTo>
                    <a:pt x="2013" y="564"/>
                  </a:lnTo>
                  <a:lnTo>
                    <a:pt x="2005" y="569"/>
                  </a:lnTo>
                  <a:lnTo>
                    <a:pt x="1996" y="573"/>
                  </a:lnTo>
                  <a:lnTo>
                    <a:pt x="1987" y="576"/>
                  </a:lnTo>
                  <a:lnTo>
                    <a:pt x="1978" y="579"/>
                  </a:lnTo>
                  <a:lnTo>
                    <a:pt x="1968" y="581"/>
                  </a:lnTo>
                  <a:lnTo>
                    <a:pt x="1958" y="583"/>
                  </a:lnTo>
                  <a:lnTo>
                    <a:pt x="1948" y="584"/>
                  </a:lnTo>
                  <a:lnTo>
                    <a:pt x="1937" y="585"/>
                  </a:lnTo>
                  <a:lnTo>
                    <a:pt x="1925" y="586"/>
                  </a:lnTo>
                  <a:lnTo>
                    <a:pt x="1914" y="585"/>
                  </a:lnTo>
                  <a:lnTo>
                    <a:pt x="1903" y="584"/>
                  </a:lnTo>
                  <a:lnTo>
                    <a:pt x="1892" y="582"/>
                  </a:lnTo>
                  <a:lnTo>
                    <a:pt x="1881" y="579"/>
                  </a:lnTo>
                  <a:lnTo>
                    <a:pt x="1871" y="574"/>
                  </a:lnTo>
                  <a:lnTo>
                    <a:pt x="1861" y="570"/>
                  </a:lnTo>
                  <a:lnTo>
                    <a:pt x="1856" y="567"/>
                  </a:lnTo>
                  <a:lnTo>
                    <a:pt x="1851" y="564"/>
                  </a:lnTo>
                  <a:lnTo>
                    <a:pt x="1843" y="557"/>
                  </a:lnTo>
                  <a:lnTo>
                    <a:pt x="1835" y="549"/>
                  </a:lnTo>
                  <a:lnTo>
                    <a:pt x="1827" y="540"/>
                  </a:lnTo>
                  <a:lnTo>
                    <a:pt x="1824" y="536"/>
                  </a:lnTo>
                  <a:lnTo>
                    <a:pt x="1821" y="531"/>
                  </a:lnTo>
                  <a:lnTo>
                    <a:pt x="1816" y="520"/>
                  </a:lnTo>
                  <a:lnTo>
                    <a:pt x="1813" y="514"/>
                  </a:lnTo>
                  <a:lnTo>
                    <a:pt x="1811" y="508"/>
                  </a:lnTo>
                  <a:lnTo>
                    <a:pt x="1808" y="495"/>
                  </a:lnTo>
                  <a:lnTo>
                    <a:pt x="1806" y="481"/>
                  </a:lnTo>
                  <a:lnTo>
                    <a:pt x="1806" y="474"/>
                  </a:lnTo>
                  <a:lnTo>
                    <a:pt x="1805" y="466"/>
                  </a:lnTo>
                  <a:lnTo>
                    <a:pt x="1806" y="458"/>
                  </a:lnTo>
                  <a:lnTo>
                    <a:pt x="1806" y="449"/>
                  </a:lnTo>
                  <a:lnTo>
                    <a:pt x="1808" y="441"/>
                  </a:lnTo>
                  <a:lnTo>
                    <a:pt x="1809" y="433"/>
                  </a:lnTo>
                  <a:lnTo>
                    <a:pt x="1812" y="425"/>
                  </a:lnTo>
                  <a:lnTo>
                    <a:pt x="1814" y="418"/>
                  </a:lnTo>
                  <a:lnTo>
                    <a:pt x="1818" y="410"/>
                  </a:lnTo>
                  <a:lnTo>
                    <a:pt x="1822" y="403"/>
                  </a:lnTo>
                  <a:lnTo>
                    <a:pt x="1826" y="396"/>
                  </a:lnTo>
                  <a:lnTo>
                    <a:pt x="1831" y="390"/>
                  </a:lnTo>
                  <a:lnTo>
                    <a:pt x="1836" y="383"/>
                  </a:lnTo>
                  <a:lnTo>
                    <a:pt x="1842" y="377"/>
                  </a:lnTo>
                  <a:lnTo>
                    <a:pt x="1848" y="371"/>
                  </a:lnTo>
                  <a:lnTo>
                    <a:pt x="1855" y="365"/>
                  </a:lnTo>
                  <a:lnTo>
                    <a:pt x="1862" y="360"/>
                  </a:lnTo>
                  <a:lnTo>
                    <a:pt x="1869" y="355"/>
                  </a:lnTo>
                  <a:lnTo>
                    <a:pt x="1886" y="345"/>
                  </a:lnTo>
                  <a:lnTo>
                    <a:pt x="1895" y="341"/>
                  </a:lnTo>
                  <a:lnTo>
                    <a:pt x="1905" y="337"/>
                  </a:lnTo>
                  <a:lnTo>
                    <a:pt x="1915" y="333"/>
                  </a:lnTo>
                  <a:lnTo>
                    <a:pt x="1926" y="329"/>
                  </a:lnTo>
                  <a:lnTo>
                    <a:pt x="1948" y="323"/>
                  </a:lnTo>
                  <a:lnTo>
                    <a:pt x="1960" y="320"/>
                  </a:lnTo>
                  <a:lnTo>
                    <a:pt x="1973" y="317"/>
                  </a:lnTo>
                  <a:lnTo>
                    <a:pt x="1999" y="313"/>
                  </a:lnTo>
                  <a:lnTo>
                    <a:pt x="2013" y="311"/>
                  </a:lnTo>
                  <a:lnTo>
                    <a:pt x="2027" y="310"/>
                  </a:lnTo>
                  <a:lnTo>
                    <a:pt x="2057" y="308"/>
                  </a:lnTo>
                  <a:lnTo>
                    <a:pt x="2061" y="307"/>
                  </a:lnTo>
                  <a:lnTo>
                    <a:pt x="2064" y="306"/>
                  </a:lnTo>
                  <a:lnTo>
                    <a:pt x="2065" y="305"/>
                  </a:lnTo>
                  <a:lnTo>
                    <a:pt x="2065" y="302"/>
                  </a:lnTo>
                  <a:lnTo>
                    <a:pt x="2064" y="295"/>
                  </a:lnTo>
                  <a:lnTo>
                    <a:pt x="2063" y="291"/>
                  </a:lnTo>
                  <a:lnTo>
                    <a:pt x="2063" y="288"/>
                  </a:lnTo>
                  <a:lnTo>
                    <a:pt x="2061" y="285"/>
                  </a:lnTo>
                  <a:lnTo>
                    <a:pt x="2060" y="282"/>
                  </a:lnTo>
                  <a:lnTo>
                    <a:pt x="2055" y="277"/>
                  </a:lnTo>
                  <a:lnTo>
                    <a:pt x="2052" y="275"/>
                  </a:lnTo>
                  <a:lnTo>
                    <a:pt x="2049" y="273"/>
                  </a:lnTo>
                  <a:lnTo>
                    <a:pt x="2045" y="271"/>
                  </a:lnTo>
                  <a:lnTo>
                    <a:pt x="2041" y="269"/>
                  </a:lnTo>
                  <a:lnTo>
                    <a:pt x="2031" y="267"/>
                  </a:lnTo>
                  <a:lnTo>
                    <a:pt x="2025" y="267"/>
                  </a:lnTo>
                  <a:lnTo>
                    <a:pt x="2018" y="267"/>
                  </a:lnTo>
                  <a:lnTo>
                    <a:pt x="2009" y="267"/>
                  </a:lnTo>
                  <a:lnTo>
                    <a:pt x="2000" y="268"/>
                  </a:lnTo>
                  <a:lnTo>
                    <a:pt x="1992" y="269"/>
                  </a:lnTo>
                  <a:lnTo>
                    <a:pt x="1983" y="270"/>
                  </a:lnTo>
                  <a:lnTo>
                    <a:pt x="1974" y="272"/>
                  </a:lnTo>
                  <a:lnTo>
                    <a:pt x="1966" y="274"/>
                  </a:lnTo>
                  <a:lnTo>
                    <a:pt x="1958" y="277"/>
                  </a:lnTo>
                  <a:lnTo>
                    <a:pt x="1950" y="280"/>
                  </a:lnTo>
                  <a:lnTo>
                    <a:pt x="1934" y="286"/>
                  </a:lnTo>
                  <a:lnTo>
                    <a:pt x="1920" y="293"/>
                  </a:lnTo>
                  <a:lnTo>
                    <a:pt x="1907" y="300"/>
                  </a:lnTo>
                  <a:lnTo>
                    <a:pt x="1895" y="308"/>
                  </a:lnTo>
                  <a:lnTo>
                    <a:pt x="1893" y="309"/>
                  </a:lnTo>
                  <a:lnTo>
                    <a:pt x="1891" y="309"/>
                  </a:lnTo>
                  <a:lnTo>
                    <a:pt x="1889" y="309"/>
                  </a:lnTo>
                  <a:lnTo>
                    <a:pt x="1888" y="309"/>
                  </a:lnTo>
                  <a:lnTo>
                    <a:pt x="1886" y="307"/>
                  </a:lnTo>
                  <a:lnTo>
                    <a:pt x="1885" y="306"/>
                  </a:lnTo>
                  <a:lnTo>
                    <a:pt x="1830" y="230"/>
                  </a:lnTo>
                  <a:lnTo>
                    <a:pt x="1828" y="227"/>
                  </a:lnTo>
                  <a:lnTo>
                    <a:pt x="1828" y="225"/>
                  </a:lnTo>
                  <a:lnTo>
                    <a:pt x="1829" y="224"/>
                  </a:lnTo>
                  <a:lnTo>
                    <a:pt x="1830" y="221"/>
                  </a:lnTo>
                  <a:lnTo>
                    <a:pt x="1831" y="220"/>
                  </a:lnTo>
                  <a:lnTo>
                    <a:pt x="1847" y="207"/>
                  </a:lnTo>
                  <a:lnTo>
                    <a:pt x="1866" y="195"/>
                  </a:lnTo>
                  <a:lnTo>
                    <a:pt x="1876" y="189"/>
                  </a:lnTo>
                  <a:lnTo>
                    <a:pt x="1887" y="184"/>
                  </a:lnTo>
                  <a:lnTo>
                    <a:pt x="1899" y="178"/>
                  </a:lnTo>
                  <a:lnTo>
                    <a:pt x="1912" y="173"/>
                  </a:lnTo>
                  <a:lnTo>
                    <a:pt x="1925" y="169"/>
                  </a:lnTo>
                  <a:lnTo>
                    <a:pt x="1939" y="165"/>
                  </a:lnTo>
                  <a:lnTo>
                    <a:pt x="1954" y="161"/>
                  </a:lnTo>
                  <a:lnTo>
                    <a:pt x="1970" y="158"/>
                  </a:lnTo>
                  <a:lnTo>
                    <a:pt x="1987" y="155"/>
                  </a:lnTo>
                  <a:lnTo>
                    <a:pt x="2005" y="153"/>
                  </a:lnTo>
                  <a:lnTo>
                    <a:pt x="2023" y="152"/>
                  </a:lnTo>
                  <a:lnTo>
                    <a:pt x="2043" y="152"/>
                  </a:lnTo>
                  <a:lnTo>
                    <a:pt x="2054" y="152"/>
                  </a:lnTo>
                  <a:lnTo>
                    <a:pt x="2065" y="152"/>
                  </a:lnTo>
                  <a:lnTo>
                    <a:pt x="2086" y="154"/>
                  </a:lnTo>
                  <a:lnTo>
                    <a:pt x="2096" y="156"/>
                  </a:lnTo>
                  <a:lnTo>
                    <a:pt x="2105" y="158"/>
                  </a:lnTo>
                  <a:lnTo>
                    <a:pt x="2114" y="160"/>
                  </a:lnTo>
                  <a:lnTo>
                    <a:pt x="2122" y="163"/>
                  </a:lnTo>
                  <a:lnTo>
                    <a:pt x="2130" y="166"/>
                  </a:lnTo>
                  <a:lnTo>
                    <a:pt x="2138" y="169"/>
                  </a:lnTo>
                  <a:lnTo>
                    <a:pt x="2145" y="172"/>
                  </a:lnTo>
                  <a:lnTo>
                    <a:pt x="2152" y="176"/>
                  </a:lnTo>
                  <a:lnTo>
                    <a:pt x="2159" y="181"/>
                  </a:lnTo>
                  <a:lnTo>
                    <a:pt x="2165" y="185"/>
                  </a:lnTo>
                  <a:lnTo>
                    <a:pt x="2170" y="190"/>
                  </a:lnTo>
                  <a:lnTo>
                    <a:pt x="2176" y="196"/>
                  </a:lnTo>
                  <a:lnTo>
                    <a:pt x="2181" y="201"/>
                  </a:lnTo>
                  <a:lnTo>
                    <a:pt x="2186" y="207"/>
                  </a:lnTo>
                  <a:lnTo>
                    <a:pt x="2190" y="214"/>
                  </a:lnTo>
                  <a:lnTo>
                    <a:pt x="2194" y="220"/>
                  </a:lnTo>
                  <a:lnTo>
                    <a:pt x="2197" y="227"/>
                  </a:lnTo>
                  <a:lnTo>
                    <a:pt x="2201" y="235"/>
                  </a:lnTo>
                  <a:lnTo>
                    <a:pt x="2204" y="242"/>
                  </a:lnTo>
                  <a:lnTo>
                    <a:pt x="2206" y="251"/>
                  </a:lnTo>
                  <a:lnTo>
                    <a:pt x="2209" y="259"/>
                  </a:lnTo>
                  <a:lnTo>
                    <a:pt x="2211" y="268"/>
                  </a:lnTo>
                  <a:lnTo>
                    <a:pt x="2212" y="277"/>
                  </a:lnTo>
                  <a:lnTo>
                    <a:pt x="2214" y="287"/>
                  </a:lnTo>
                  <a:lnTo>
                    <a:pt x="2215" y="296"/>
                  </a:lnTo>
                  <a:lnTo>
                    <a:pt x="2215" y="307"/>
                  </a:lnTo>
                  <a:lnTo>
                    <a:pt x="2216" y="317"/>
                  </a:lnTo>
                  <a:lnTo>
                    <a:pt x="2216" y="328"/>
                  </a:lnTo>
                  <a:lnTo>
                    <a:pt x="2216" y="478"/>
                  </a:lnTo>
                  <a:lnTo>
                    <a:pt x="2217" y="512"/>
                  </a:lnTo>
                  <a:lnTo>
                    <a:pt x="2218" y="539"/>
                  </a:lnTo>
                  <a:lnTo>
                    <a:pt x="2220" y="549"/>
                  </a:lnTo>
                  <a:lnTo>
                    <a:pt x="2221" y="559"/>
                  </a:lnTo>
                  <a:lnTo>
                    <a:pt x="2223" y="566"/>
                  </a:lnTo>
                  <a:lnTo>
                    <a:pt x="2225" y="572"/>
                  </a:lnTo>
                  <a:close/>
                  <a:moveTo>
                    <a:pt x="1869" y="7"/>
                  </a:moveTo>
                  <a:lnTo>
                    <a:pt x="1869" y="5"/>
                  </a:lnTo>
                  <a:lnTo>
                    <a:pt x="1870" y="3"/>
                  </a:lnTo>
                  <a:lnTo>
                    <a:pt x="1873" y="0"/>
                  </a:lnTo>
                  <a:lnTo>
                    <a:pt x="1875" y="0"/>
                  </a:lnTo>
                  <a:lnTo>
                    <a:pt x="1877" y="0"/>
                  </a:lnTo>
                  <a:lnTo>
                    <a:pt x="1987" y="0"/>
                  </a:lnTo>
                  <a:lnTo>
                    <a:pt x="1989" y="0"/>
                  </a:lnTo>
                  <a:lnTo>
                    <a:pt x="1991" y="1"/>
                  </a:lnTo>
                  <a:lnTo>
                    <a:pt x="1994" y="3"/>
                  </a:lnTo>
                  <a:lnTo>
                    <a:pt x="1994" y="6"/>
                  </a:lnTo>
                  <a:lnTo>
                    <a:pt x="1995" y="7"/>
                  </a:lnTo>
                  <a:lnTo>
                    <a:pt x="1995" y="121"/>
                  </a:lnTo>
                  <a:lnTo>
                    <a:pt x="1994" y="123"/>
                  </a:lnTo>
                  <a:lnTo>
                    <a:pt x="1993" y="125"/>
                  </a:lnTo>
                  <a:lnTo>
                    <a:pt x="1991" y="128"/>
                  </a:lnTo>
                  <a:lnTo>
                    <a:pt x="1988" y="128"/>
                  </a:lnTo>
                  <a:lnTo>
                    <a:pt x="1987" y="129"/>
                  </a:lnTo>
                  <a:lnTo>
                    <a:pt x="1877" y="129"/>
                  </a:lnTo>
                  <a:lnTo>
                    <a:pt x="1874" y="128"/>
                  </a:lnTo>
                  <a:lnTo>
                    <a:pt x="1872" y="127"/>
                  </a:lnTo>
                  <a:lnTo>
                    <a:pt x="1870" y="125"/>
                  </a:lnTo>
                  <a:lnTo>
                    <a:pt x="1869" y="122"/>
                  </a:lnTo>
                  <a:lnTo>
                    <a:pt x="1869" y="121"/>
                  </a:lnTo>
                  <a:lnTo>
                    <a:pt x="1869" y="7"/>
                  </a:lnTo>
                  <a:close/>
                  <a:moveTo>
                    <a:pt x="2047" y="121"/>
                  </a:moveTo>
                  <a:lnTo>
                    <a:pt x="2047" y="7"/>
                  </a:lnTo>
                  <a:lnTo>
                    <a:pt x="2047" y="5"/>
                  </a:lnTo>
                  <a:lnTo>
                    <a:pt x="2048" y="3"/>
                  </a:lnTo>
                  <a:lnTo>
                    <a:pt x="2051" y="0"/>
                  </a:lnTo>
                  <a:lnTo>
                    <a:pt x="2053" y="0"/>
                  </a:lnTo>
                  <a:lnTo>
                    <a:pt x="2054" y="0"/>
                  </a:lnTo>
                  <a:lnTo>
                    <a:pt x="2165" y="0"/>
                  </a:lnTo>
                  <a:lnTo>
                    <a:pt x="2167" y="0"/>
                  </a:lnTo>
                  <a:lnTo>
                    <a:pt x="2169" y="1"/>
                  </a:lnTo>
                  <a:lnTo>
                    <a:pt x="2171" y="3"/>
                  </a:lnTo>
                  <a:lnTo>
                    <a:pt x="2172" y="6"/>
                  </a:lnTo>
                  <a:lnTo>
                    <a:pt x="2172" y="7"/>
                  </a:lnTo>
                  <a:lnTo>
                    <a:pt x="2172" y="121"/>
                  </a:lnTo>
                  <a:lnTo>
                    <a:pt x="2172" y="123"/>
                  </a:lnTo>
                  <a:lnTo>
                    <a:pt x="2171" y="125"/>
                  </a:lnTo>
                  <a:lnTo>
                    <a:pt x="2169" y="127"/>
                  </a:lnTo>
                  <a:lnTo>
                    <a:pt x="2166" y="128"/>
                  </a:lnTo>
                  <a:lnTo>
                    <a:pt x="2165" y="128"/>
                  </a:lnTo>
                  <a:lnTo>
                    <a:pt x="2054" y="128"/>
                  </a:lnTo>
                  <a:lnTo>
                    <a:pt x="2052" y="128"/>
                  </a:lnTo>
                  <a:lnTo>
                    <a:pt x="2050" y="127"/>
                  </a:lnTo>
                  <a:lnTo>
                    <a:pt x="2048" y="125"/>
                  </a:lnTo>
                  <a:lnTo>
                    <a:pt x="2047" y="122"/>
                  </a:lnTo>
                  <a:lnTo>
                    <a:pt x="2047" y="121"/>
                  </a:lnTo>
                  <a:close/>
                  <a:moveTo>
                    <a:pt x="1274" y="585"/>
                  </a:moveTo>
                  <a:lnTo>
                    <a:pt x="1249" y="584"/>
                  </a:lnTo>
                  <a:lnTo>
                    <a:pt x="1226" y="583"/>
                  </a:lnTo>
                  <a:lnTo>
                    <a:pt x="1207" y="580"/>
                  </a:lnTo>
                  <a:lnTo>
                    <a:pt x="1190" y="576"/>
                  </a:lnTo>
                  <a:lnTo>
                    <a:pt x="1175" y="571"/>
                  </a:lnTo>
                  <a:lnTo>
                    <a:pt x="1168" y="568"/>
                  </a:lnTo>
                  <a:lnTo>
                    <a:pt x="1162" y="565"/>
                  </a:lnTo>
                  <a:lnTo>
                    <a:pt x="1156" y="561"/>
                  </a:lnTo>
                  <a:lnTo>
                    <a:pt x="1151" y="558"/>
                  </a:lnTo>
                  <a:lnTo>
                    <a:pt x="1149" y="556"/>
                  </a:lnTo>
                  <a:lnTo>
                    <a:pt x="1147" y="554"/>
                  </a:lnTo>
                  <a:lnTo>
                    <a:pt x="1143" y="550"/>
                  </a:lnTo>
                  <a:lnTo>
                    <a:pt x="1139" y="545"/>
                  </a:lnTo>
                  <a:lnTo>
                    <a:pt x="1135" y="541"/>
                  </a:lnTo>
                  <a:lnTo>
                    <a:pt x="1130" y="531"/>
                  </a:lnTo>
                  <a:lnTo>
                    <a:pt x="1127" y="525"/>
                  </a:lnTo>
                  <a:lnTo>
                    <a:pt x="1125" y="520"/>
                  </a:lnTo>
                  <a:lnTo>
                    <a:pt x="1122" y="508"/>
                  </a:lnTo>
                  <a:lnTo>
                    <a:pt x="1121" y="502"/>
                  </a:lnTo>
                  <a:lnTo>
                    <a:pt x="1120" y="496"/>
                  </a:lnTo>
                  <a:lnTo>
                    <a:pt x="1119" y="482"/>
                  </a:lnTo>
                  <a:lnTo>
                    <a:pt x="1118" y="468"/>
                  </a:lnTo>
                  <a:lnTo>
                    <a:pt x="1118" y="453"/>
                  </a:lnTo>
                  <a:lnTo>
                    <a:pt x="1118" y="278"/>
                  </a:lnTo>
                  <a:lnTo>
                    <a:pt x="1117" y="276"/>
                  </a:lnTo>
                  <a:lnTo>
                    <a:pt x="1117" y="274"/>
                  </a:lnTo>
                  <a:lnTo>
                    <a:pt x="1114" y="272"/>
                  </a:lnTo>
                  <a:lnTo>
                    <a:pt x="1111" y="271"/>
                  </a:lnTo>
                  <a:lnTo>
                    <a:pt x="1110" y="271"/>
                  </a:lnTo>
                  <a:lnTo>
                    <a:pt x="1067" y="271"/>
                  </a:lnTo>
                  <a:lnTo>
                    <a:pt x="1064" y="270"/>
                  </a:lnTo>
                  <a:lnTo>
                    <a:pt x="1062" y="269"/>
                  </a:lnTo>
                  <a:lnTo>
                    <a:pt x="1060" y="267"/>
                  </a:lnTo>
                  <a:lnTo>
                    <a:pt x="1059" y="264"/>
                  </a:lnTo>
                  <a:lnTo>
                    <a:pt x="1059" y="263"/>
                  </a:lnTo>
                  <a:lnTo>
                    <a:pt x="1059" y="167"/>
                  </a:lnTo>
                  <a:lnTo>
                    <a:pt x="1059" y="164"/>
                  </a:lnTo>
                  <a:lnTo>
                    <a:pt x="1060" y="162"/>
                  </a:lnTo>
                  <a:lnTo>
                    <a:pt x="1063" y="160"/>
                  </a:lnTo>
                  <a:lnTo>
                    <a:pt x="1065" y="159"/>
                  </a:lnTo>
                  <a:lnTo>
                    <a:pt x="1067" y="159"/>
                  </a:lnTo>
                  <a:lnTo>
                    <a:pt x="1110" y="159"/>
                  </a:lnTo>
                  <a:lnTo>
                    <a:pt x="1113" y="159"/>
                  </a:lnTo>
                  <a:lnTo>
                    <a:pt x="1115" y="158"/>
                  </a:lnTo>
                  <a:lnTo>
                    <a:pt x="1117" y="157"/>
                  </a:lnTo>
                  <a:lnTo>
                    <a:pt x="1118" y="156"/>
                  </a:lnTo>
                  <a:lnTo>
                    <a:pt x="1120" y="153"/>
                  </a:lnTo>
                  <a:lnTo>
                    <a:pt x="1121" y="152"/>
                  </a:lnTo>
                  <a:lnTo>
                    <a:pt x="1170" y="25"/>
                  </a:lnTo>
                  <a:lnTo>
                    <a:pt x="1171" y="23"/>
                  </a:lnTo>
                  <a:lnTo>
                    <a:pt x="1173" y="21"/>
                  </a:lnTo>
                  <a:lnTo>
                    <a:pt x="1175" y="20"/>
                  </a:lnTo>
                  <a:lnTo>
                    <a:pt x="1176" y="19"/>
                  </a:lnTo>
                  <a:lnTo>
                    <a:pt x="1179" y="18"/>
                  </a:lnTo>
                  <a:lnTo>
                    <a:pt x="1180" y="18"/>
                  </a:lnTo>
                  <a:lnTo>
                    <a:pt x="1265" y="18"/>
                  </a:lnTo>
                  <a:lnTo>
                    <a:pt x="1268" y="19"/>
                  </a:lnTo>
                  <a:lnTo>
                    <a:pt x="1270" y="19"/>
                  </a:lnTo>
                  <a:lnTo>
                    <a:pt x="1272" y="22"/>
                  </a:lnTo>
                  <a:lnTo>
                    <a:pt x="1273" y="25"/>
                  </a:lnTo>
                  <a:lnTo>
                    <a:pt x="1273" y="26"/>
                  </a:lnTo>
                  <a:lnTo>
                    <a:pt x="1273" y="152"/>
                  </a:lnTo>
                  <a:lnTo>
                    <a:pt x="1273" y="154"/>
                  </a:lnTo>
                  <a:lnTo>
                    <a:pt x="1274" y="156"/>
                  </a:lnTo>
                  <a:lnTo>
                    <a:pt x="1277" y="158"/>
                  </a:lnTo>
                  <a:lnTo>
                    <a:pt x="1279" y="159"/>
                  </a:lnTo>
                  <a:lnTo>
                    <a:pt x="1281" y="159"/>
                  </a:lnTo>
                  <a:lnTo>
                    <a:pt x="1374" y="159"/>
                  </a:lnTo>
                  <a:lnTo>
                    <a:pt x="1376" y="160"/>
                  </a:lnTo>
                  <a:lnTo>
                    <a:pt x="1378" y="161"/>
                  </a:lnTo>
                  <a:lnTo>
                    <a:pt x="1381" y="163"/>
                  </a:lnTo>
                  <a:lnTo>
                    <a:pt x="1381" y="166"/>
                  </a:lnTo>
                  <a:lnTo>
                    <a:pt x="1381" y="167"/>
                  </a:lnTo>
                  <a:lnTo>
                    <a:pt x="1381" y="263"/>
                  </a:lnTo>
                  <a:lnTo>
                    <a:pt x="1381" y="266"/>
                  </a:lnTo>
                  <a:lnTo>
                    <a:pt x="1380" y="268"/>
                  </a:lnTo>
                  <a:lnTo>
                    <a:pt x="1378" y="270"/>
                  </a:lnTo>
                  <a:lnTo>
                    <a:pt x="1375" y="271"/>
                  </a:lnTo>
                  <a:lnTo>
                    <a:pt x="1374" y="271"/>
                  </a:lnTo>
                  <a:lnTo>
                    <a:pt x="1281" y="271"/>
                  </a:lnTo>
                  <a:lnTo>
                    <a:pt x="1278" y="271"/>
                  </a:lnTo>
                  <a:lnTo>
                    <a:pt x="1276" y="272"/>
                  </a:lnTo>
                  <a:lnTo>
                    <a:pt x="1274" y="275"/>
                  </a:lnTo>
                  <a:lnTo>
                    <a:pt x="1273" y="277"/>
                  </a:lnTo>
                  <a:lnTo>
                    <a:pt x="1273" y="278"/>
                  </a:lnTo>
                  <a:lnTo>
                    <a:pt x="1273" y="419"/>
                  </a:lnTo>
                  <a:lnTo>
                    <a:pt x="1274" y="434"/>
                  </a:lnTo>
                  <a:lnTo>
                    <a:pt x="1275" y="446"/>
                  </a:lnTo>
                  <a:lnTo>
                    <a:pt x="1277" y="452"/>
                  </a:lnTo>
                  <a:lnTo>
                    <a:pt x="1279" y="456"/>
                  </a:lnTo>
                  <a:lnTo>
                    <a:pt x="1281" y="460"/>
                  </a:lnTo>
                  <a:lnTo>
                    <a:pt x="1284" y="463"/>
                  </a:lnTo>
                  <a:lnTo>
                    <a:pt x="1287" y="466"/>
                  </a:lnTo>
                  <a:lnTo>
                    <a:pt x="1291" y="469"/>
                  </a:lnTo>
                  <a:lnTo>
                    <a:pt x="1296" y="471"/>
                  </a:lnTo>
                  <a:lnTo>
                    <a:pt x="1301" y="472"/>
                  </a:lnTo>
                  <a:lnTo>
                    <a:pt x="1307" y="473"/>
                  </a:lnTo>
                  <a:lnTo>
                    <a:pt x="1313" y="474"/>
                  </a:lnTo>
                  <a:lnTo>
                    <a:pt x="1320" y="474"/>
                  </a:lnTo>
                  <a:lnTo>
                    <a:pt x="1328" y="475"/>
                  </a:lnTo>
                  <a:lnTo>
                    <a:pt x="1340" y="474"/>
                  </a:lnTo>
                  <a:lnTo>
                    <a:pt x="1351" y="473"/>
                  </a:lnTo>
                  <a:lnTo>
                    <a:pt x="1361" y="472"/>
                  </a:lnTo>
                  <a:lnTo>
                    <a:pt x="1366" y="471"/>
                  </a:lnTo>
                  <a:lnTo>
                    <a:pt x="1367" y="471"/>
                  </a:lnTo>
                  <a:lnTo>
                    <a:pt x="1368" y="471"/>
                  </a:lnTo>
                  <a:lnTo>
                    <a:pt x="1369" y="474"/>
                  </a:lnTo>
                  <a:lnTo>
                    <a:pt x="1370" y="477"/>
                  </a:lnTo>
                  <a:lnTo>
                    <a:pt x="1370" y="564"/>
                  </a:lnTo>
                  <a:lnTo>
                    <a:pt x="1369" y="569"/>
                  </a:lnTo>
                  <a:lnTo>
                    <a:pt x="1369" y="572"/>
                  </a:lnTo>
                  <a:lnTo>
                    <a:pt x="1368" y="575"/>
                  </a:lnTo>
                  <a:lnTo>
                    <a:pt x="1366" y="577"/>
                  </a:lnTo>
                  <a:lnTo>
                    <a:pt x="1364" y="578"/>
                  </a:lnTo>
                  <a:lnTo>
                    <a:pt x="1362" y="579"/>
                  </a:lnTo>
                  <a:lnTo>
                    <a:pt x="1358" y="580"/>
                  </a:lnTo>
                  <a:lnTo>
                    <a:pt x="1340" y="582"/>
                  </a:lnTo>
                  <a:lnTo>
                    <a:pt x="1317" y="583"/>
                  </a:lnTo>
                  <a:lnTo>
                    <a:pt x="1294" y="584"/>
                  </a:lnTo>
                  <a:lnTo>
                    <a:pt x="1274" y="585"/>
                  </a:lnTo>
                  <a:close/>
                  <a:moveTo>
                    <a:pt x="0" y="572"/>
                  </a:moveTo>
                  <a:lnTo>
                    <a:pt x="0" y="7"/>
                  </a:lnTo>
                  <a:lnTo>
                    <a:pt x="0" y="5"/>
                  </a:lnTo>
                  <a:lnTo>
                    <a:pt x="1" y="3"/>
                  </a:lnTo>
                  <a:lnTo>
                    <a:pt x="4" y="1"/>
                  </a:lnTo>
                  <a:lnTo>
                    <a:pt x="6" y="0"/>
                  </a:lnTo>
                  <a:lnTo>
                    <a:pt x="7" y="0"/>
                  </a:lnTo>
                  <a:lnTo>
                    <a:pt x="200" y="0"/>
                  </a:lnTo>
                  <a:lnTo>
                    <a:pt x="202" y="0"/>
                  </a:lnTo>
                  <a:lnTo>
                    <a:pt x="204" y="1"/>
                  </a:lnTo>
                  <a:lnTo>
                    <a:pt x="206" y="2"/>
                  </a:lnTo>
                  <a:lnTo>
                    <a:pt x="207" y="3"/>
                  </a:lnTo>
                  <a:lnTo>
                    <a:pt x="209" y="6"/>
                  </a:lnTo>
                  <a:lnTo>
                    <a:pt x="209" y="7"/>
                  </a:lnTo>
                  <a:lnTo>
                    <a:pt x="307" y="386"/>
                  </a:lnTo>
                  <a:lnTo>
                    <a:pt x="307" y="387"/>
                  </a:lnTo>
                  <a:lnTo>
                    <a:pt x="308" y="388"/>
                  </a:lnTo>
                  <a:lnTo>
                    <a:pt x="310" y="389"/>
                  </a:lnTo>
                  <a:lnTo>
                    <a:pt x="312" y="389"/>
                  </a:lnTo>
                  <a:lnTo>
                    <a:pt x="313" y="387"/>
                  </a:lnTo>
                  <a:lnTo>
                    <a:pt x="313" y="386"/>
                  </a:lnTo>
                  <a:lnTo>
                    <a:pt x="401" y="7"/>
                  </a:lnTo>
                  <a:lnTo>
                    <a:pt x="402" y="5"/>
                  </a:lnTo>
                  <a:lnTo>
                    <a:pt x="403" y="3"/>
                  </a:lnTo>
                  <a:lnTo>
                    <a:pt x="406" y="1"/>
                  </a:lnTo>
                  <a:lnTo>
                    <a:pt x="409" y="0"/>
                  </a:lnTo>
                  <a:lnTo>
                    <a:pt x="410" y="0"/>
                  </a:lnTo>
                  <a:lnTo>
                    <a:pt x="607" y="0"/>
                  </a:lnTo>
                  <a:lnTo>
                    <a:pt x="610" y="0"/>
                  </a:lnTo>
                  <a:lnTo>
                    <a:pt x="611" y="1"/>
                  </a:lnTo>
                  <a:lnTo>
                    <a:pt x="614" y="4"/>
                  </a:lnTo>
                  <a:lnTo>
                    <a:pt x="615" y="6"/>
                  </a:lnTo>
                  <a:lnTo>
                    <a:pt x="615" y="7"/>
                  </a:lnTo>
                  <a:lnTo>
                    <a:pt x="615" y="572"/>
                  </a:lnTo>
                  <a:lnTo>
                    <a:pt x="614" y="575"/>
                  </a:lnTo>
                  <a:lnTo>
                    <a:pt x="613" y="576"/>
                  </a:lnTo>
                  <a:lnTo>
                    <a:pt x="611" y="579"/>
                  </a:lnTo>
                  <a:lnTo>
                    <a:pt x="608" y="579"/>
                  </a:lnTo>
                  <a:lnTo>
                    <a:pt x="607" y="580"/>
                  </a:lnTo>
                  <a:lnTo>
                    <a:pt x="473" y="580"/>
                  </a:lnTo>
                  <a:lnTo>
                    <a:pt x="470" y="579"/>
                  </a:lnTo>
                  <a:lnTo>
                    <a:pt x="468" y="578"/>
                  </a:lnTo>
                  <a:lnTo>
                    <a:pt x="466" y="576"/>
                  </a:lnTo>
                  <a:lnTo>
                    <a:pt x="465" y="573"/>
                  </a:lnTo>
                  <a:lnTo>
                    <a:pt x="465" y="572"/>
                  </a:lnTo>
                  <a:lnTo>
                    <a:pt x="465" y="226"/>
                  </a:lnTo>
                  <a:lnTo>
                    <a:pt x="465" y="224"/>
                  </a:lnTo>
                  <a:lnTo>
                    <a:pt x="464" y="223"/>
                  </a:lnTo>
                  <a:lnTo>
                    <a:pt x="463" y="222"/>
                  </a:lnTo>
                  <a:lnTo>
                    <a:pt x="462" y="222"/>
                  </a:lnTo>
                  <a:lnTo>
                    <a:pt x="461" y="222"/>
                  </a:lnTo>
                  <a:lnTo>
                    <a:pt x="460" y="223"/>
                  </a:lnTo>
                  <a:lnTo>
                    <a:pt x="458" y="226"/>
                  </a:lnTo>
                  <a:lnTo>
                    <a:pt x="452" y="264"/>
                  </a:lnTo>
                  <a:lnTo>
                    <a:pt x="446" y="298"/>
                  </a:lnTo>
                  <a:lnTo>
                    <a:pt x="443" y="314"/>
                  </a:lnTo>
                  <a:lnTo>
                    <a:pt x="440" y="330"/>
                  </a:lnTo>
                  <a:lnTo>
                    <a:pt x="436" y="346"/>
                  </a:lnTo>
                  <a:lnTo>
                    <a:pt x="432" y="362"/>
                  </a:lnTo>
                  <a:lnTo>
                    <a:pt x="373" y="572"/>
                  </a:lnTo>
                  <a:lnTo>
                    <a:pt x="372" y="575"/>
                  </a:lnTo>
                  <a:lnTo>
                    <a:pt x="371" y="577"/>
                  </a:lnTo>
                  <a:lnTo>
                    <a:pt x="368" y="579"/>
                  </a:lnTo>
                  <a:lnTo>
                    <a:pt x="365" y="579"/>
                  </a:lnTo>
                  <a:lnTo>
                    <a:pt x="364" y="580"/>
                  </a:lnTo>
                  <a:lnTo>
                    <a:pt x="241" y="580"/>
                  </a:lnTo>
                  <a:lnTo>
                    <a:pt x="238" y="579"/>
                  </a:lnTo>
                  <a:lnTo>
                    <a:pt x="236" y="578"/>
                  </a:lnTo>
                  <a:lnTo>
                    <a:pt x="234" y="577"/>
                  </a:lnTo>
                  <a:lnTo>
                    <a:pt x="233" y="576"/>
                  </a:lnTo>
                  <a:lnTo>
                    <a:pt x="232" y="573"/>
                  </a:lnTo>
                  <a:lnTo>
                    <a:pt x="231" y="572"/>
                  </a:lnTo>
                  <a:lnTo>
                    <a:pt x="174" y="362"/>
                  </a:lnTo>
                  <a:lnTo>
                    <a:pt x="169" y="345"/>
                  </a:lnTo>
                  <a:lnTo>
                    <a:pt x="165" y="330"/>
                  </a:lnTo>
                  <a:lnTo>
                    <a:pt x="159" y="301"/>
                  </a:lnTo>
                  <a:lnTo>
                    <a:pt x="153" y="268"/>
                  </a:lnTo>
                  <a:lnTo>
                    <a:pt x="146" y="224"/>
                  </a:lnTo>
                  <a:lnTo>
                    <a:pt x="146" y="223"/>
                  </a:lnTo>
                  <a:lnTo>
                    <a:pt x="145" y="222"/>
                  </a:lnTo>
                  <a:lnTo>
                    <a:pt x="142" y="221"/>
                  </a:lnTo>
                  <a:lnTo>
                    <a:pt x="140" y="222"/>
                  </a:lnTo>
                  <a:lnTo>
                    <a:pt x="140" y="223"/>
                  </a:lnTo>
                  <a:lnTo>
                    <a:pt x="139" y="224"/>
                  </a:lnTo>
                  <a:lnTo>
                    <a:pt x="139" y="572"/>
                  </a:lnTo>
                  <a:lnTo>
                    <a:pt x="139" y="575"/>
                  </a:lnTo>
                  <a:lnTo>
                    <a:pt x="138" y="576"/>
                  </a:lnTo>
                  <a:lnTo>
                    <a:pt x="136" y="579"/>
                  </a:lnTo>
                  <a:lnTo>
                    <a:pt x="133" y="579"/>
                  </a:lnTo>
                  <a:lnTo>
                    <a:pt x="132" y="580"/>
                  </a:lnTo>
                  <a:lnTo>
                    <a:pt x="8" y="580"/>
                  </a:lnTo>
                  <a:lnTo>
                    <a:pt x="5" y="579"/>
                  </a:lnTo>
                  <a:lnTo>
                    <a:pt x="3" y="578"/>
                  </a:lnTo>
                  <a:lnTo>
                    <a:pt x="1" y="576"/>
                  </a:lnTo>
                  <a:lnTo>
                    <a:pt x="0" y="573"/>
                  </a:lnTo>
                  <a:lnTo>
                    <a:pt x="0" y="572"/>
                  </a:lnTo>
                  <a:close/>
                  <a:moveTo>
                    <a:pt x="1063" y="408"/>
                  </a:moveTo>
                  <a:lnTo>
                    <a:pt x="1062" y="410"/>
                  </a:lnTo>
                  <a:lnTo>
                    <a:pt x="1062" y="412"/>
                  </a:lnTo>
                  <a:lnTo>
                    <a:pt x="1061" y="413"/>
                  </a:lnTo>
                  <a:lnTo>
                    <a:pt x="1060" y="414"/>
                  </a:lnTo>
                  <a:lnTo>
                    <a:pt x="1058" y="414"/>
                  </a:lnTo>
                  <a:lnTo>
                    <a:pt x="1057" y="414"/>
                  </a:lnTo>
                  <a:lnTo>
                    <a:pt x="801" y="414"/>
                  </a:lnTo>
                  <a:lnTo>
                    <a:pt x="799" y="415"/>
                  </a:lnTo>
                  <a:lnTo>
                    <a:pt x="797" y="415"/>
                  </a:lnTo>
                  <a:lnTo>
                    <a:pt x="796" y="417"/>
                  </a:lnTo>
                  <a:lnTo>
                    <a:pt x="795" y="418"/>
                  </a:lnTo>
                  <a:lnTo>
                    <a:pt x="795" y="421"/>
                  </a:lnTo>
                  <a:lnTo>
                    <a:pt x="795" y="422"/>
                  </a:lnTo>
                  <a:lnTo>
                    <a:pt x="796" y="430"/>
                  </a:lnTo>
                  <a:lnTo>
                    <a:pt x="799" y="438"/>
                  </a:lnTo>
                  <a:lnTo>
                    <a:pt x="801" y="445"/>
                  </a:lnTo>
                  <a:lnTo>
                    <a:pt x="804" y="451"/>
                  </a:lnTo>
                  <a:lnTo>
                    <a:pt x="808" y="457"/>
                  </a:lnTo>
                  <a:lnTo>
                    <a:pt x="812" y="462"/>
                  </a:lnTo>
                  <a:lnTo>
                    <a:pt x="817" y="466"/>
                  </a:lnTo>
                  <a:lnTo>
                    <a:pt x="822" y="470"/>
                  </a:lnTo>
                  <a:lnTo>
                    <a:pt x="827" y="473"/>
                  </a:lnTo>
                  <a:lnTo>
                    <a:pt x="833" y="476"/>
                  </a:lnTo>
                  <a:lnTo>
                    <a:pt x="840" y="478"/>
                  </a:lnTo>
                  <a:lnTo>
                    <a:pt x="846" y="480"/>
                  </a:lnTo>
                  <a:lnTo>
                    <a:pt x="854" y="481"/>
                  </a:lnTo>
                  <a:lnTo>
                    <a:pt x="861" y="482"/>
                  </a:lnTo>
                  <a:lnTo>
                    <a:pt x="878" y="482"/>
                  </a:lnTo>
                  <a:lnTo>
                    <a:pt x="886" y="482"/>
                  </a:lnTo>
                  <a:lnTo>
                    <a:pt x="894" y="481"/>
                  </a:lnTo>
                  <a:lnTo>
                    <a:pt x="903" y="480"/>
                  </a:lnTo>
                  <a:lnTo>
                    <a:pt x="911" y="479"/>
                  </a:lnTo>
                  <a:lnTo>
                    <a:pt x="928" y="475"/>
                  </a:lnTo>
                  <a:lnTo>
                    <a:pt x="943" y="470"/>
                  </a:lnTo>
                  <a:lnTo>
                    <a:pt x="958" y="464"/>
                  </a:lnTo>
                  <a:lnTo>
                    <a:pt x="971" y="459"/>
                  </a:lnTo>
                  <a:lnTo>
                    <a:pt x="983" y="453"/>
                  </a:lnTo>
                  <a:lnTo>
                    <a:pt x="992" y="448"/>
                  </a:lnTo>
                  <a:lnTo>
                    <a:pt x="994" y="447"/>
                  </a:lnTo>
                  <a:lnTo>
                    <a:pt x="996" y="447"/>
                  </a:lnTo>
                  <a:lnTo>
                    <a:pt x="998" y="447"/>
                  </a:lnTo>
                  <a:lnTo>
                    <a:pt x="999" y="448"/>
                  </a:lnTo>
                  <a:lnTo>
                    <a:pt x="1002" y="450"/>
                  </a:lnTo>
                  <a:lnTo>
                    <a:pt x="1050" y="531"/>
                  </a:lnTo>
                  <a:lnTo>
                    <a:pt x="1052" y="535"/>
                  </a:lnTo>
                  <a:lnTo>
                    <a:pt x="1052" y="537"/>
                  </a:lnTo>
                  <a:lnTo>
                    <a:pt x="1051" y="538"/>
                  </a:lnTo>
                  <a:lnTo>
                    <a:pt x="1051" y="540"/>
                  </a:lnTo>
                  <a:lnTo>
                    <a:pt x="1050" y="540"/>
                  </a:lnTo>
                  <a:lnTo>
                    <a:pt x="1048" y="542"/>
                  </a:lnTo>
                  <a:lnTo>
                    <a:pt x="1038" y="547"/>
                  </a:lnTo>
                  <a:lnTo>
                    <a:pt x="1028" y="553"/>
                  </a:lnTo>
                  <a:lnTo>
                    <a:pt x="1018" y="558"/>
                  </a:lnTo>
                  <a:lnTo>
                    <a:pt x="1007" y="562"/>
                  </a:lnTo>
                  <a:lnTo>
                    <a:pt x="996" y="567"/>
                  </a:lnTo>
                  <a:lnTo>
                    <a:pt x="985" y="570"/>
                  </a:lnTo>
                  <a:lnTo>
                    <a:pt x="974" y="574"/>
                  </a:lnTo>
                  <a:lnTo>
                    <a:pt x="963" y="577"/>
                  </a:lnTo>
                  <a:lnTo>
                    <a:pt x="951" y="580"/>
                  </a:lnTo>
                  <a:lnTo>
                    <a:pt x="939" y="582"/>
                  </a:lnTo>
                  <a:lnTo>
                    <a:pt x="927" y="584"/>
                  </a:lnTo>
                  <a:lnTo>
                    <a:pt x="915" y="585"/>
                  </a:lnTo>
                  <a:lnTo>
                    <a:pt x="903" y="587"/>
                  </a:lnTo>
                  <a:lnTo>
                    <a:pt x="891" y="587"/>
                  </a:lnTo>
                  <a:lnTo>
                    <a:pt x="866" y="588"/>
                  </a:lnTo>
                  <a:lnTo>
                    <a:pt x="844" y="588"/>
                  </a:lnTo>
                  <a:lnTo>
                    <a:pt x="823" y="586"/>
                  </a:lnTo>
                  <a:lnTo>
                    <a:pt x="813" y="584"/>
                  </a:lnTo>
                  <a:lnTo>
                    <a:pt x="802" y="583"/>
                  </a:lnTo>
                  <a:lnTo>
                    <a:pt x="792" y="580"/>
                  </a:lnTo>
                  <a:lnTo>
                    <a:pt x="782" y="578"/>
                  </a:lnTo>
                  <a:lnTo>
                    <a:pt x="772" y="575"/>
                  </a:lnTo>
                  <a:lnTo>
                    <a:pt x="762" y="572"/>
                  </a:lnTo>
                  <a:lnTo>
                    <a:pt x="753" y="568"/>
                  </a:lnTo>
                  <a:lnTo>
                    <a:pt x="744" y="564"/>
                  </a:lnTo>
                  <a:lnTo>
                    <a:pt x="735" y="559"/>
                  </a:lnTo>
                  <a:lnTo>
                    <a:pt x="726" y="554"/>
                  </a:lnTo>
                  <a:lnTo>
                    <a:pt x="718" y="549"/>
                  </a:lnTo>
                  <a:lnTo>
                    <a:pt x="710" y="543"/>
                  </a:lnTo>
                  <a:lnTo>
                    <a:pt x="702" y="537"/>
                  </a:lnTo>
                  <a:lnTo>
                    <a:pt x="694" y="530"/>
                  </a:lnTo>
                  <a:lnTo>
                    <a:pt x="687" y="522"/>
                  </a:lnTo>
                  <a:lnTo>
                    <a:pt x="681" y="514"/>
                  </a:lnTo>
                  <a:lnTo>
                    <a:pt x="675" y="505"/>
                  </a:lnTo>
                  <a:lnTo>
                    <a:pt x="669" y="496"/>
                  </a:lnTo>
                  <a:lnTo>
                    <a:pt x="664" y="486"/>
                  </a:lnTo>
                  <a:lnTo>
                    <a:pt x="659" y="476"/>
                  </a:lnTo>
                  <a:lnTo>
                    <a:pt x="654" y="465"/>
                  </a:lnTo>
                  <a:lnTo>
                    <a:pt x="652" y="459"/>
                  </a:lnTo>
                  <a:lnTo>
                    <a:pt x="651" y="454"/>
                  </a:lnTo>
                  <a:lnTo>
                    <a:pt x="647" y="441"/>
                  </a:lnTo>
                  <a:lnTo>
                    <a:pt x="645" y="429"/>
                  </a:lnTo>
                  <a:lnTo>
                    <a:pt x="642" y="415"/>
                  </a:lnTo>
                  <a:lnTo>
                    <a:pt x="642" y="408"/>
                  </a:lnTo>
                  <a:lnTo>
                    <a:pt x="641" y="401"/>
                  </a:lnTo>
                  <a:lnTo>
                    <a:pt x="640" y="386"/>
                  </a:lnTo>
                  <a:lnTo>
                    <a:pt x="640" y="370"/>
                  </a:lnTo>
                  <a:lnTo>
                    <a:pt x="640" y="355"/>
                  </a:lnTo>
                  <a:lnTo>
                    <a:pt x="641" y="340"/>
                  </a:lnTo>
                  <a:lnTo>
                    <a:pt x="643" y="326"/>
                  </a:lnTo>
                  <a:lnTo>
                    <a:pt x="646" y="313"/>
                  </a:lnTo>
                  <a:lnTo>
                    <a:pt x="649" y="300"/>
                  </a:lnTo>
                  <a:lnTo>
                    <a:pt x="653" y="288"/>
                  </a:lnTo>
                  <a:lnTo>
                    <a:pt x="657" y="276"/>
                  </a:lnTo>
                  <a:lnTo>
                    <a:pt x="662" y="265"/>
                  </a:lnTo>
                  <a:lnTo>
                    <a:pt x="668" y="255"/>
                  </a:lnTo>
                  <a:lnTo>
                    <a:pt x="674" y="245"/>
                  </a:lnTo>
                  <a:lnTo>
                    <a:pt x="680" y="236"/>
                  </a:lnTo>
                  <a:lnTo>
                    <a:pt x="687" y="227"/>
                  </a:lnTo>
                  <a:lnTo>
                    <a:pt x="694" y="219"/>
                  </a:lnTo>
                  <a:lnTo>
                    <a:pt x="702" y="212"/>
                  </a:lnTo>
                  <a:lnTo>
                    <a:pt x="710" y="204"/>
                  </a:lnTo>
                  <a:lnTo>
                    <a:pt x="718" y="198"/>
                  </a:lnTo>
                  <a:lnTo>
                    <a:pt x="727" y="192"/>
                  </a:lnTo>
                  <a:lnTo>
                    <a:pt x="735" y="186"/>
                  </a:lnTo>
                  <a:lnTo>
                    <a:pt x="744" y="181"/>
                  </a:lnTo>
                  <a:lnTo>
                    <a:pt x="753" y="177"/>
                  </a:lnTo>
                  <a:lnTo>
                    <a:pt x="762" y="172"/>
                  </a:lnTo>
                  <a:lnTo>
                    <a:pt x="771" y="169"/>
                  </a:lnTo>
                  <a:lnTo>
                    <a:pt x="781" y="165"/>
                  </a:lnTo>
                  <a:lnTo>
                    <a:pt x="790" y="162"/>
                  </a:lnTo>
                  <a:lnTo>
                    <a:pt x="799" y="160"/>
                  </a:lnTo>
                  <a:lnTo>
                    <a:pt x="808" y="158"/>
                  </a:lnTo>
                  <a:lnTo>
                    <a:pt x="817" y="156"/>
                  </a:lnTo>
                  <a:lnTo>
                    <a:pt x="826" y="154"/>
                  </a:lnTo>
                  <a:lnTo>
                    <a:pt x="844" y="152"/>
                  </a:lnTo>
                  <a:lnTo>
                    <a:pt x="852" y="152"/>
                  </a:lnTo>
                  <a:lnTo>
                    <a:pt x="860" y="152"/>
                  </a:lnTo>
                  <a:lnTo>
                    <a:pt x="868" y="152"/>
                  </a:lnTo>
                  <a:lnTo>
                    <a:pt x="876" y="152"/>
                  </a:lnTo>
                  <a:lnTo>
                    <a:pt x="893" y="153"/>
                  </a:lnTo>
                  <a:lnTo>
                    <a:pt x="901" y="155"/>
                  </a:lnTo>
                  <a:lnTo>
                    <a:pt x="910" y="156"/>
                  </a:lnTo>
                  <a:lnTo>
                    <a:pt x="927" y="160"/>
                  </a:lnTo>
                  <a:lnTo>
                    <a:pt x="936" y="162"/>
                  </a:lnTo>
                  <a:lnTo>
                    <a:pt x="944" y="165"/>
                  </a:lnTo>
                  <a:lnTo>
                    <a:pt x="953" y="168"/>
                  </a:lnTo>
                  <a:lnTo>
                    <a:pt x="961" y="172"/>
                  </a:lnTo>
                  <a:lnTo>
                    <a:pt x="969" y="177"/>
                  </a:lnTo>
                  <a:lnTo>
                    <a:pt x="977" y="181"/>
                  </a:lnTo>
                  <a:lnTo>
                    <a:pt x="985" y="187"/>
                  </a:lnTo>
                  <a:lnTo>
                    <a:pt x="993" y="193"/>
                  </a:lnTo>
                  <a:lnTo>
                    <a:pt x="1000" y="199"/>
                  </a:lnTo>
                  <a:lnTo>
                    <a:pt x="1007" y="207"/>
                  </a:lnTo>
                  <a:lnTo>
                    <a:pt x="1014" y="215"/>
                  </a:lnTo>
                  <a:lnTo>
                    <a:pt x="1021" y="223"/>
                  </a:lnTo>
                  <a:lnTo>
                    <a:pt x="1027" y="233"/>
                  </a:lnTo>
                  <a:lnTo>
                    <a:pt x="1032" y="243"/>
                  </a:lnTo>
                  <a:lnTo>
                    <a:pt x="1035" y="248"/>
                  </a:lnTo>
                  <a:lnTo>
                    <a:pt x="1038" y="253"/>
                  </a:lnTo>
                  <a:lnTo>
                    <a:pt x="1043" y="265"/>
                  </a:lnTo>
                  <a:lnTo>
                    <a:pt x="1047" y="278"/>
                  </a:lnTo>
                  <a:lnTo>
                    <a:pt x="1051" y="291"/>
                  </a:lnTo>
                  <a:lnTo>
                    <a:pt x="1054" y="305"/>
                  </a:lnTo>
                  <a:lnTo>
                    <a:pt x="1057" y="320"/>
                  </a:lnTo>
                  <a:lnTo>
                    <a:pt x="1060" y="336"/>
                  </a:lnTo>
                  <a:lnTo>
                    <a:pt x="1061" y="354"/>
                  </a:lnTo>
                  <a:lnTo>
                    <a:pt x="1062" y="372"/>
                  </a:lnTo>
                  <a:lnTo>
                    <a:pt x="1063" y="391"/>
                  </a:lnTo>
                  <a:lnTo>
                    <a:pt x="1063" y="408"/>
                  </a:lnTo>
                  <a:close/>
                  <a:moveTo>
                    <a:pt x="918" y="326"/>
                  </a:moveTo>
                  <a:lnTo>
                    <a:pt x="921" y="325"/>
                  </a:lnTo>
                  <a:lnTo>
                    <a:pt x="922" y="325"/>
                  </a:lnTo>
                  <a:lnTo>
                    <a:pt x="923" y="323"/>
                  </a:lnTo>
                  <a:lnTo>
                    <a:pt x="924" y="322"/>
                  </a:lnTo>
                  <a:lnTo>
                    <a:pt x="925" y="319"/>
                  </a:lnTo>
                  <a:lnTo>
                    <a:pt x="924" y="318"/>
                  </a:lnTo>
                  <a:lnTo>
                    <a:pt x="923" y="311"/>
                  </a:lnTo>
                  <a:lnTo>
                    <a:pt x="922" y="304"/>
                  </a:lnTo>
                  <a:lnTo>
                    <a:pt x="920" y="297"/>
                  </a:lnTo>
                  <a:lnTo>
                    <a:pt x="917" y="291"/>
                  </a:lnTo>
                  <a:lnTo>
                    <a:pt x="915" y="286"/>
                  </a:lnTo>
                  <a:lnTo>
                    <a:pt x="911" y="281"/>
                  </a:lnTo>
                  <a:lnTo>
                    <a:pt x="908" y="277"/>
                  </a:lnTo>
                  <a:lnTo>
                    <a:pt x="904" y="273"/>
                  </a:lnTo>
                  <a:lnTo>
                    <a:pt x="900" y="270"/>
                  </a:lnTo>
                  <a:lnTo>
                    <a:pt x="895" y="267"/>
                  </a:lnTo>
                  <a:lnTo>
                    <a:pt x="890" y="265"/>
                  </a:lnTo>
                  <a:lnTo>
                    <a:pt x="885" y="263"/>
                  </a:lnTo>
                  <a:lnTo>
                    <a:pt x="879" y="262"/>
                  </a:lnTo>
                  <a:lnTo>
                    <a:pt x="873" y="261"/>
                  </a:lnTo>
                  <a:lnTo>
                    <a:pt x="866" y="260"/>
                  </a:lnTo>
                  <a:lnTo>
                    <a:pt x="860" y="260"/>
                  </a:lnTo>
                  <a:lnTo>
                    <a:pt x="854" y="260"/>
                  </a:lnTo>
                  <a:lnTo>
                    <a:pt x="849" y="261"/>
                  </a:lnTo>
                  <a:lnTo>
                    <a:pt x="844" y="262"/>
                  </a:lnTo>
                  <a:lnTo>
                    <a:pt x="839" y="263"/>
                  </a:lnTo>
                  <a:lnTo>
                    <a:pt x="834" y="265"/>
                  </a:lnTo>
                  <a:lnTo>
                    <a:pt x="830" y="267"/>
                  </a:lnTo>
                  <a:lnTo>
                    <a:pt x="826" y="270"/>
                  </a:lnTo>
                  <a:lnTo>
                    <a:pt x="821" y="273"/>
                  </a:lnTo>
                  <a:lnTo>
                    <a:pt x="818" y="277"/>
                  </a:lnTo>
                  <a:lnTo>
                    <a:pt x="814" y="281"/>
                  </a:lnTo>
                  <a:lnTo>
                    <a:pt x="810" y="286"/>
                  </a:lnTo>
                  <a:lnTo>
                    <a:pt x="807" y="291"/>
                  </a:lnTo>
                  <a:lnTo>
                    <a:pt x="804" y="297"/>
                  </a:lnTo>
                  <a:lnTo>
                    <a:pt x="802" y="304"/>
                  </a:lnTo>
                  <a:lnTo>
                    <a:pt x="799" y="311"/>
                  </a:lnTo>
                  <a:lnTo>
                    <a:pt x="797" y="318"/>
                  </a:lnTo>
                  <a:lnTo>
                    <a:pt x="797" y="321"/>
                  </a:lnTo>
                  <a:lnTo>
                    <a:pt x="797" y="323"/>
                  </a:lnTo>
                  <a:lnTo>
                    <a:pt x="798" y="324"/>
                  </a:lnTo>
                  <a:lnTo>
                    <a:pt x="799" y="325"/>
                  </a:lnTo>
                  <a:lnTo>
                    <a:pt x="800" y="326"/>
                  </a:lnTo>
                  <a:lnTo>
                    <a:pt x="802" y="326"/>
                  </a:lnTo>
                  <a:lnTo>
                    <a:pt x="918" y="326"/>
                  </a:lnTo>
                  <a:close/>
                  <a:moveTo>
                    <a:pt x="1595" y="588"/>
                  </a:moveTo>
                  <a:lnTo>
                    <a:pt x="1577" y="588"/>
                  </a:lnTo>
                  <a:lnTo>
                    <a:pt x="1560" y="587"/>
                  </a:lnTo>
                  <a:lnTo>
                    <a:pt x="1543" y="585"/>
                  </a:lnTo>
                  <a:lnTo>
                    <a:pt x="1528" y="584"/>
                  </a:lnTo>
                  <a:lnTo>
                    <a:pt x="1513" y="581"/>
                  </a:lnTo>
                  <a:lnTo>
                    <a:pt x="1499" y="578"/>
                  </a:lnTo>
                  <a:lnTo>
                    <a:pt x="1485" y="575"/>
                  </a:lnTo>
                  <a:lnTo>
                    <a:pt x="1472" y="571"/>
                  </a:lnTo>
                  <a:lnTo>
                    <a:pt x="1460" y="567"/>
                  </a:lnTo>
                  <a:lnTo>
                    <a:pt x="1449" y="563"/>
                  </a:lnTo>
                  <a:lnTo>
                    <a:pt x="1438" y="558"/>
                  </a:lnTo>
                  <a:lnTo>
                    <a:pt x="1427" y="553"/>
                  </a:lnTo>
                  <a:lnTo>
                    <a:pt x="1418" y="548"/>
                  </a:lnTo>
                  <a:lnTo>
                    <a:pt x="1409" y="543"/>
                  </a:lnTo>
                  <a:lnTo>
                    <a:pt x="1393" y="532"/>
                  </a:lnTo>
                  <a:lnTo>
                    <a:pt x="1391" y="531"/>
                  </a:lnTo>
                  <a:lnTo>
                    <a:pt x="1390" y="529"/>
                  </a:lnTo>
                  <a:lnTo>
                    <a:pt x="1389" y="527"/>
                  </a:lnTo>
                  <a:lnTo>
                    <a:pt x="1389" y="525"/>
                  </a:lnTo>
                  <a:lnTo>
                    <a:pt x="1390" y="523"/>
                  </a:lnTo>
                  <a:lnTo>
                    <a:pt x="1391" y="522"/>
                  </a:lnTo>
                  <a:lnTo>
                    <a:pt x="1440" y="446"/>
                  </a:lnTo>
                  <a:lnTo>
                    <a:pt x="1442" y="444"/>
                  </a:lnTo>
                  <a:lnTo>
                    <a:pt x="1443" y="444"/>
                  </a:lnTo>
                  <a:lnTo>
                    <a:pt x="1444" y="443"/>
                  </a:lnTo>
                  <a:lnTo>
                    <a:pt x="1446" y="443"/>
                  </a:lnTo>
                  <a:lnTo>
                    <a:pt x="1448" y="444"/>
                  </a:lnTo>
                  <a:lnTo>
                    <a:pt x="1450" y="445"/>
                  </a:lnTo>
                  <a:lnTo>
                    <a:pt x="1465" y="456"/>
                  </a:lnTo>
                  <a:lnTo>
                    <a:pt x="1483" y="465"/>
                  </a:lnTo>
                  <a:lnTo>
                    <a:pt x="1501" y="473"/>
                  </a:lnTo>
                  <a:lnTo>
                    <a:pt x="1510" y="476"/>
                  </a:lnTo>
                  <a:lnTo>
                    <a:pt x="1520" y="479"/>
                  </a:lnTo>
                  <a:lnTo>
                    <a:pt x="1529" y="482"/>
                  </a:lnTo>
                  <a:lnTo>
                    <a:pt x="1539" y="485"/>
                  </a:lnTo>
                  <a:lnTo>
                    <a:pt x="1558" y="489"/>
                  </a:lnTo>
                  <a:lnTo>
                    <a:pt x="1576" y="491"/>
                  </a:lnTo>
                  <a:lnTo>
                    <a:pt x="1594" y="492"/>
                  </a:lnTo>
                  <a:lnTo>
                    <a:pt x="1604" y="491"/>
                  </a:lnTo>
                  <a:lnTo>
                    <a:pt x="1613" y="490"/>
                  </a:lnTo>
                  <a:lnTo>
                    <a:pt x="1622" y="488"/>
                  </a:lnTo>
                  <a:lnTo>
                    <a:pt x="1629" y="486"/>
                  </a:lnTo>
                  <a:lnTo>
                    <a:pt x="1632" y="484"/>
                  </a:lnTo>
                  <a:lnTo>
                    <a:pt x="1635" y="482"/>
                  </a:lnTo>
                  <a:lnTo>
                    <a:pt x="1638" y="480"/>
                  </a:lnTo>
                  <a:lnTo>
                    <a:pt x="1640" y="477"/>
                  </a:lnTo>
                  <a:lnTo>
                    <a:pt x="1642" y="474"/>
                  </a:lnTo>
                  <a:lnTo>
                    <a:pt x="1643" y="471"/>
                  </a:lnTo>
                  <a:lnTo>
                    <a:pt x="1644" y="468"/>
                  </a:lnTo>
                  <a:lnTo>
                    <a:pt x="1644" y="464"/>
                  </a:lnTo>
                  <a:lnTo>
                    <a:pt x="1644" y="461"/>
                  </a:lnTo>
                  <a:lnTo>
                    <a:pt x="1643" y="457"/>
                  </a:lnTo>
                  <a:lnTo>
                    <a:pt x="1642" y="454"/>
                  </a:lnTo>
                  <a:lnTo>
                    <a:pt x="1641" y="451"/>
                  </a:lnTo>
                  <a:lnTo>
                    <a:pt x="1640" y="449"/>
                  </a:lnTo>
                  <a:lnTo>
                    <a:pt x="1638" y="448"/>
                  </a:lnTo>
                  <a:lnTo>
                    <a:pt x="1636" y="445"/>
                  </a:lnTo>
                  <a:lnTo>
                    <a:pt x="1629" y="441"/>
                  </a:lnTo>
                  <a:lnTo>
                    <a:pt x="1620" y="437"/>
                  </a:lnTo>
                  <a:lnTo>
                    <a:pt x="1609" y="434"/>
                  </a:lnTo>
                  <a:lnTo>
                    <a:pt x="1595" y="432"/>
                  </a:lnTo>
                  <a:lnTo>
                    <a:pt x="1579" y="429"/>
                  </a:lnTo>
                  <a:lnTo>
                    <a:pt x="1551" y="425"/>
                  </a:lnTo>
                  <a:lnTo>
                    <a:pt x="1537" y="422"/>
                  </a:lnTo>
                  <a:lnTo>
                    <a:pt x="1522" y="419"/>
                  </a:lnTo>
                  <a:lnTo>
                    <a:pt x="1508" y="415"/>
                  </a:lnTo>
                  <a:lnTo>
                    <a:pt x="1493" y="411"/>
                  </a:lnTo>
                  <a:lnTo>
                    <a:pt x="1480" y="405"/>
                  </a:lnTo>
                  <a:lnTo>
                    <a:pt x="1466" y="398"/>
                  </a:lnTo>
                  <a:lnTo>
                    <a:pt x="1460" y="395"/>
                  </a:lnTo>
                  <a:lnTo>
                    <a:pt x="1454" y="391"/>
                  </a:lnTo>
                  <a:lnTo>
                    <a:pt x="1448" y="386"/>
                  </a:lnTo>
                  <a:lnTo>
                    <a:pt x="1443" y="382"/>
                  </a:lnTo>
                  <a:lnTo>
                    <a:pt x="1438" y="377"/>
                  </a:lnTo>
                  <a:lnTo>
                    <a:pt x="1433" y="371"/>
                  </a:lnTo>
                  <a:lnTo>
                    <a:pt x="1428" y="366"/>
                  </a:lnTo>
                  <a:lnTo>
                    <a:pt x="1424" y="359"/>
                  </a:lnTo>
                  <a:lnTo>
                    <a:pt x="1420" y="353"/>
                  </a:lnTo>
                  <a:lnTo>
                    <a:pt x="1417" y="346"/>
                  </a:lnTo>
                  <a:lnTo>
                    <a:pt x="1414" y="338"/>
                  </a:lnTo>
                  <a:lnTo>
                    <a:pt x="1411" y="330"/>
                  </a:lnTo>
                  <a:lnTo>
                    <a:pt x="1410" y="322"/>
                  </a:lnTo>
                  <a:lnTo>
                    <a:pt x="1408" y="313"/>
                  </a:lnTo>
                  <a:lnTo>
                    <a:pt x="1408" y="308"/>
                  </a:lnTo>
                  <a:lnTo>
                    <a:pt x="1407" y="304"/>
                  </a:lnTo>
                  <a:lnTo>
                    <a:pt x="1407" y="294"/>
                  </a:lnTo>
                  <a:lnTo>
                    <a:pt x="1407" y="285"/>
                  </a:lnTo>
                  <a:lnTo>
                    <a:pt x="1408" y="277"/>
                  </a:lnTo>
                  <a:lnTo>
                    <a:pt x="1409" y="268"/>
                  </a:lnTo>
                  <a:lnTo>
                    <a:pt x="1410" y="261"/>
                  </a:lnTo>
                  <a:lnTo>
                    <a:pt x="1412" y="253"/>
                  </a:lnTo>
                  <a:lnTo>
                    <a:pt x="1415" y="246"/>
                  </a:lnTo>
                  <a:lnTo>
                    <a:pt x="1417" y="239"/>
                  </a:lnTo>
                  <a:lnTo>
                    <a:pt x="1420" y="232"/>
                  </a:lnTo>
                  <a:lnTo>
                    <a:pt x="1424" y="225"/>
                  </a:lnTo>
                  <a:lnTo>
                    <a:pt x="1428" y="219"/>
                  </a:lnTo>
                  <a:lnTo>
                    <a:pt x="1436" y="208"/>
                  </a:lnTo>
                  <a:lnTo>
                    <a:pt x="1441" y="202"/>
                  </a:lnTo>
                  <a:lnTo>
                    <a:pt x="1446" y="197"/>
                  </a:lnTo>
                  <a:lnTo>
                    <a:pt x="1457" y="188"/>
                  </a:lnTo>
                  <a:lnTo>
                    <a:pt x="1463" y="183"/>
                  </a:lnTo>
                  <a:lnTo>
                    <a:pt x="1469" y="179"/>
                  </a:lnTo>
                  <a:lnTo>
                    <a:pt x="1483" y="172"/>
                  </a:lnTo>
                  <a:lnTo>
                    <a:pt x="1490" y="169"/>
                  </a:lnTo>
                  <a:lnTo>
                    <a:pt x="1497" y="166"/>
                  </a:lnTo>
                  <a:lnTo>
                    <a:pt x="1512" y="161"/>
                  </a:lnTo>
                  <a:lnTo>
                    <a:pt x="1528" y="157"/>
                  </a:lnTo>
                  <a:lnTo>
                    <a:pt x="1544" y="154"/>
                  </a:lnTo>
                  <a:lnTo>
                    <a:pt x="1561" y="152"/>
                  </a:lnTo>
                  <a:lnTo>
                    <a:pt x="1579" y="152"/>
                  </a:lnTo>
                  <a:lnTo>
                    <a:pt x="1595" y="152"/>
                  </a:lnTo>
                  <a:lnTo>
                    <a:pt x="1611" y="153"/>
                  </a:lnTo>
                  <a:lnTo>
                    <a:pt x="1626" y="154"/>
                  </a:lnTo>
                  <a:lnTo>
                    <a:pt x="1641" y="156"/>
                  </a:lnTo>
                  <a:lnTo>
                    <a:pt x="1654" y="158"/>
                  </a:lnTo>
                  <a:lnTo>
                    <a:pt x="1667" y="160"/>
                  </a:lnTo>
                  <a:lnTo>
                    <a:pt x="1679" y="163"/>
                  </a:lnTo>
                  <a:lnTo>
                    <a:pt x="1691" y="167"/>
                  </a:lnTo>
                  <a:lnTo>
                    <a:pt x="1702" y="170"/>
                  </a:lnTo>
                  <a:lnTo>
                    <a:pt x="1713" y="174"/>
                  </a:lnTo>
                  <a:lnTo>
                    <a:pt x="1723" y="179"/>
                  </a:lnTo>
                  <a:lnTo>
                    <a:pt x="1733" y="183"/>
                  </a:lnTo>
                  <a:lnTo>
                    <a:pt x="1742" y="188"/>
                  </a:lnTo>
                  <a:lnTo>
                    <a:pt x="1751" y="194"/>
                  </a:lnTo>
                  <a:lnTo>
                    <a:pt x="1768" y="205"/>
                  </a:lnTo>
                  <a:lnTo>
                    <a:pt x="1770" y="207"/>
                  </a:lnTo>
                  <a:lnTo>
                    <a:pt x="1771" y="209"/>
                  </a:lnTo>
                  <a:lnTo>
                    <a:pt x="1772" y="211"/>
                  </a:lnTo>
                  <a:lnTo>
                    <a:pt x="1772" y="212"/>
                  </a:lnTo>
                  <a:lnTo>
                    <a:pt x="1771" y="215"/>
                  </a:lnTo>
                  <a:lnTo>
                    <a:pt x="1770" y="216"/>
                  </a:lnTo>
                  <a:lnTo>
                    <a:pt x="1722" y="288"/>
                  </a:lnTo>
                  <a:lnTo>
                    <a:pt x="1720" y="290"/>
                  </a:lnTo>
                  <a:lnTo>
                    <a:pt x="1718" y="292"/>
                  </a:lnTo>
                  <a:lnTo>
                    <a:pt x="1716" y="292"/>
                  </a:lnTo>
                  <a:lnTo>
                    <a:pt x="1715" y="292"/>
                  </a:lnTo>
                  <a:lnTo>
                    <a:pt x="1711" y="292"/>
                  </a:lnTo>
                  <a:lnTo>
                    <a:pt x="1708" y="290"/>
                  </a:lnTo>
                  <a:lnTo>
                    <a:pt x="1693" y="282"/>
                  </a:lnTo>
                  <a:lnTo>
                    <a:pt x="1677" y="274"/>
                  </a:lnTo>
                  <a:lnTo>
                    <a:pt x="1662" y="268"/>
                  </a:lnTo>
                  <a:lnTo>
                    <a:pt x="1647" y="263"/>
                  </a:lnTo>
                  <a:lnTo>
                    <a:pt x="1633" y="258"/>
                  </a:lnTo>
                  <a:lnTo>
                    <a:pt x="1619" y="255"/>
                  </a:lnTo>
                  <a:lnTo>
                    <a:pt x="1612" y="254"/>
                  </a:lnTo>
                  <a:lnTo>
                    <a:pt x="1606" y="254"/>
                  </a:lnTo>
                  <a:lnTo>
                    <a:pt x="1593" y="253"/>
                  </a:lnTo>
                  <a:lnTo>
                    <a:pt x="1584" y="253"/>
                  </a:lnTo>
                  <a:lnTo>
                    <a:pt x="1576" y="254"/>
                  </a:lnTo>
                  <a:lnTo>
                    <a:pt x="1568" y="256"/>
                  </a:lnTo>
                  <a:lnTo>
                    <a:pt x="1562" y="259"/>
                  </a:lnTo>
                  <a:lnTo>
                    <a:pt x="1560" y="261"/>
                  </a:lnTo>
                  <a:lnTo>
                    <a:pt x="1557" y="263"/>
                  </a:lnTo>
                  <a:lnTo>
                    <a:pt x="1554" y="267"/>
                  </a:lnTo>
                  <a:lnTo>
                    <a:pt x="1552" y="270"/>
                  </a:lnTo>
                  <a:lnTo>
                    <a:pt x="1551" y="273"/>
                  </a:lnTo>
                  <a:lnTo>
                    <a:pt x="1551" y="276"/>
                  </a:lnTo>
                  <a:lnTo>
                    <a:pt x="1550" y="280"/>
                  </a:lnTo>
                  <a:lnTo>
                    <a:pt x="1551" y="283"/>
                  </a:lnTo>
                  <a:lnTo>
                    <a:pt x="1551" y="286"/>
                  </a:lnTo>
                  <a:lnTo>
                    <a:pt x="1553" y="289"/>
                  </a:lnTo>
                  <a:lnTo>
                    <a:pt x="1555" y="292"/>
                  </a:lnTo>
                  <a:lnTo>
                    <a:pt x="1557" y="295"/>
                  </a:lnTo>
                  <a:lnTo>
                    <a:pt x="1560" y="297"/>
                  </a:lnTo>
                  <a:lnTo>
                    <a:pt x="1563" y="299"/>
                  </a:lnTo>
                  <a:lnTo>
                    <a:pt x="1567" y="301"/>
                  </a:lnTo>
                  <a:lnTo>
                    <a:pt x="1576" y="304"/>
                  </a:lnTo>
                  <a:lnTo>
                    <a:pt x="1587" y="307"/>
                  </a:lnTo>
                  <a:lnTo>
                    <a:pt x="1600" y="309"/>
                  </a:lnTo>
                  <a:lnTo>
                    <a:pt x="1615" y="312"/>
                  </a:lnTo>
                  <a:lnTo>
                    <a:pt x="1642" y="316"/>
                  </a:lnTo>
                  <a:lnTo>
                    <a:pt x="1657" y="318"/>
                  </a:lnTo>
                  <a:lnTo>
                    <a:pt x="1672" y="321"/>
                  </a:lnTo>
                  <a:lnTo>
                    <a:pt x="1686" y="325"/>
                  </a:lnTo>
                  <a:lnTo>
                    <a:pt x="1701" y="329"/>
                  </a:lnTo>
                  <a:lnTo>
                    <a:pt x="1715" y="334"/>
                  </a:lnTo>
                  <a:lnTo>
                    <a:pt x="1728" y="340"/>
                  </a:lnTo>
                  <a:lnTo>
                    <a:pt x="1740" y="348"/>
                  </a:lnTo>
                  <a:lnTo>
                    <a:pt x="1746" y="352"/>
                  </a:lnTo>
                  <a:lnTo>
                    <a:pt x="1752" y="356"/>
                  </a:lnTo>
                  <a:lnTo>
                    <a:pt x="1757" y="361"/>
                  </a:lnTo>
                  <a:lnTo>
                    <a:pt x="1762" y="366"/>
                  </a:lnTo>
                  <a:lnTo>
                    <a:pt x="1766" y="371"/>
                  </a:lnTo>
                  <a:lnTo>
                    <a:pt x="1771" y="377"/>
                  </a:lnTo>
                  <a:lnTo>
                    <a:pt x="1774" y="383"/>
                  </a:lnTo>
                  <a:lnTo>
                    <a:pt x="1778" y="390"/>
                  </a:lnTo>
                  <a:lnTo>
                    <a:pt x="1781" y="397"/>
                  </a:lnTo>
                  <a:lnTo>
                    <a:pt x="1783" y="404"/>
                  </a:lnTo>
                  <a:lnTo>
                    <a:pt x="1785" y="412"/>
                  </a:lnTo>
                  <a:lnTo>
                    <a:pt x="1787" y="420"/>
                  </a:lnTo>
                  <a:lnTo>
                    <a:pt x="1787" y="425"/>
                  </a:lnTo>
                  <a:lnTo>
                    <a:pt x="1787" y="429"/>
                  </a:lnTo>
                  <a:lnTo>
                    <a:pt x="1788" y="438"/>
                  </a:lnTo>
                  <a:lnTo>
                    <a:pt x="1787" y="449"/>
                  </a:lnTo>
                  <a:lnTo>
                    <a:pt x="1787" y="458"/>
                  </a:lnTo>
                  <a:lnTo>
                    <a:pt x="1785" y="468"/>
                  </a:lnTo>
                  <a:lnTo>
                    <a:pt x="1783" y="477"/>
                  </a:lnTo>
                  <a:lnTo>
                    <a:pt x="1781" y="485"/>
                  </a:lnTo>
                  <a:lnTo>
                    <a:pt x="1778" y="494"/>
                  </a:lnTo>
                  <a:lnTo>
                    <a:pt x="1775" y="501"/>
                  </a:lnTo>
                  <a:lnTo>
                    <a:pt x="1771" y="509"/>
                  </a:lnTo>
                  <a:lnTo>
                    <a:pt x="1767" y="516"/>
                  </a:lnTo>
                  <a:lnTo>
                    <a:pt x="1763" y="523"/>
                  </a:lnTo>
                  <a:lnTo>
                    <a:pt x="1758" y="529"/>
                  </a:lnTo>
                  <a:lnTo>
                    <a:pt x="1752" y="535"/>
                  </a:lnTo>
                  <a:lnTo>
                    <a:pt x="1747" y="540"/>
                  </a:lnTo>
                  <a:lnTo>
                    <a:pt x="1741" y="546"/>
                  </a:lnTo>
                  <a:lnTo>
                    <a:pt x="1734" y="550"/>
                  </a:lnTo>
                  <a:lnTo>
                    <a:pt x="1728" y="555"/>
                  </a:lnTo>
                  <a:lnTo>
                    <a:pt x="1721" y="559"/>
                  </a:lnTo>
                  <a:lnTo>
                    <a:pt x="1714" y="563"/>
                  </a:lnTo>
                  <a:lnTo>
                    <a:pt x="1699" y="570"/>
                  </a:lnTo>
                  <a:lnTo>
                    <a:pt x="1683" y="576"/>
                  </a:lnTo>
                  <a:lnTo>
                    <a:pt x="1675" y="578"/>
                  </a:lnTo>
                  <a:lnTo>
                    <a:pt x="1666" y="580"/>
                  </a:lnTo>
                  <a:lnTo>
                    <a:pt x="1649" y="584"/>
                  </a:lnTo>
                  <a:lnTo>
                    <a:pt x="1631" y="586"/>
                  </a:lnTo>
                  <a:lnTo>
                    <a:pt x="1613" y="588"/>
                  </a:lnTo>
                  <a:lnTo>
                    <a:pt x="1595" y="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Tree>
    <p:extLst>
      <p:ext uri="{BB962C8B-B14F-4D97-AF65-F5344CB8AC3E}">
        <p14:creationId xmlns:p14="http://schemas.microsoft.com/office/powerpoint/2010/main" val="3682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ection header / kiivi">
    <p:bg>
      <p:bgPr>
        <a:solidFill>
          <a:srgbClr val="808176"/>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noFill/>
              </a:defRPr>
            </a:lvl1pPr>
          </a:lstStyle>
          <a:p>
            <a:fld id="{0EFE15CB-DF76-4428-AA1A-F64EDAEF0077}" type="datetime1">
              <a:rPr lang="en-GB" smtClean="0"/>
              <a:t>22/10/2025</a:t>
            </a:fld>
            <a:endParaRPr lang="fi-FI"/>
          </a:p>
        </p:txBody>
      </p:sp>
      <p:sp>
        <p:nvSpPr>
          <p:cNvPr id="5" name="Footer Placeholder 4"/>
          <p:cNvSpPr>
            <a:spLocks noGrp="1"/>
          </p:cNvSpPr>
          <p:nvPr>
            <p:ph type="ftr" sz="quarter" idx="11"/>
          </p:nvPr>
        </p:nvSpPr>
        <p:spPr/>
        <p:txBody>
          <a:bodyPr/>
          <a:lstStyle>
            <a:lvl1pPr>
              <a:defRPr>
                <a:noFill/>
              </a:defRPr>
            </a:lvl1pPr>
          </a:lstStyle>
          <a:p>
            <a:r>
              <a:rPr lang="fi-FI"/>
              <a:t>Presentation name / Author</a:t>
            </a:r>
          </a:p>
        </p:txBody>
      </p:sp>
      <p:sp>
        <p:nvSpPr>
          <p:cNvPr id="6" name="Slide Number Placeholder 5"/>
          <p:cNvSpPr>
            <a:spLocks noGrp="1"/>
          </p:cNvSpPr>
          <p:nvPr>
            <p:ph type="sldNum" sz="quarter" idx="12"/>
          </p:nvPr>
        </p:nvSpPr>
        <p:spPr/>
        <p:txBody>
          <a:bodyPr/>
          <a:lstStyle>
            <a:lvl1pPr>
              <a:defRPr>
                <a:noFill/>
              </a:defRPr>
            </a:lvl1pPr>
          </a:lstStyle>
          <a:p>
            <a:fld id="{49A25110-65A2-4B67-BF3F-8D6D3162EF46}" type="slidenum">
              <a:rPr lang="fi-FI" smtClean="0"/>
              <a:pPr/>
              <a:t>‹#›</a:t>
            </a:fld>
            <a:endParaRPr lang="fi-FI"/>
          </a:p>
        </p:txBody>
      </p:sp>
      <p:sp>
        <p:nvSpPr>
          <p:cNvPr id="10" name="Title 1"/>
          <p:cNvSpPr>
            <a:spLocks noGrp="1"/>
          </p:cNvSpPr>
          <p:nvPr>
            <p:ph type="title"/>
          </p:nvPr>
        </p:nvSpPr>
        <p:spPr>
          <a:xfrm>
            <a:off x="766762" y="3035936"/>
            <a:ext cx="10658475" cy="643253"/>
          </a:xfrm>
        </p:spPr>
        <p:txBody>
          <a:bodyPr anchor="ctr" anchorCtr="0">
            <a:spAutoFit/>
          </a:bodyPr>
          <a:lstStyle>
            <a:lvl1pPr algn="l">
              <a:lnSpc>
                <a:spcPct val="95000"/>
              </a:lnSpc>
              <a:defRPr sz="4400" b="0" cap="none" spc="0" baseline="0">
                <a:solidFill>
                  <a:schemeClr val="bg1"/>
                </a:solidFill>
              </a:defRPr>
            </a:lvl1pPr>
          </a:lstStyle>
          <a:p>
            <a:r>
              <a:rPr lang="en-US"/>
              <a:t>Click to edit Master title style</a:t>
            </a:r>
            <a:endParaRPr lang="fi-FI" dirty="0"/>
          </a:p>
        </p:txBody>
      </p:sp>
      <p:grpSp>
        <p:nvGrpSpPr>
          <p:cNvPr id="11" name="Group 10"/>
          <p:cNvGrpSpPr>
            <a:grpSpLocks noChangeAspect="1"/>
          </p:cNvGrpSpPr>
          <p:nvPr/>
        </p:nvGrpSpPr>
        <p:grpSpPr>
          <a:xfrm>
            <a:off x="335360" y="6093296"/>
            <a:ext cx="1243838" cy="432000"/>
            <a:chOff x="3279775" y="2451101"/>
            <a:chExt cx="5640388" cy="1958974"/>
          </a:xfrm>
          <a:solidFill>
            <a:schemeClr val="bg1"/>
          </a:solidFill>
        </p:grpSpPr>
        <p:sp>
          <p:nvSpPr>
            <p:cNvPr id="12" name="Freeform 6"/>
            <p:cNvSpPr>
              <a:spLocks/>
            </p:cNvSpPr>
            <p:nvPr/>
          </p:nvSpPr>
          <p:spPr bwMode="auto">
            <a:xfrm>
              <a:off x="3279775" y="2451101"/>
              <a:ext cx="1838325" cy="1944687"/>
            </a:xfrm>
            <a:custGeom>
              <a:avLst/>
              <a:gdLst>
                <a:gd name="T0" fmla="*/ 978 w 1158"/>
                <a:gd name="T1" fmla="*/ 608 h 1225"/>
                <a:gd name="T2" fmla="*/ 974 w 1158"/>
                <a:gd name="T3" fmla="*/ 610 h 1225"/>
                <a:gd name="T4" fmla="*/ 968 w 1158"/>
                <a:gd name="T5" fmla="*/ 608 h 1225"/>
                <a:gd name="T6" fmla="*/ 966 w 1158"/>
                <a:gd name="T7" fmla="*/ 134 h 1225"/>
                <a:gd name="T8" fmla="*/ 963 w 1158"/>
                <a:gd name="T9" fmla="*/ 128 h 1225"/>
                <a:gd name="T10" fmla="*/ 956 w 1158"/>
                <a:gd name="T11" fmla="*/ 128 h 1225"/>
                <a:gd name="T12" fmla="*/ 953 w 1158"/>
                <a:gd name="T13" fmla="*/ 132 h 1225"/>
                <a:gd name="T14" fmla="*/ 784 w 1158"/>
                <a:gd name="T15" fmla="*/ 603 h 1225"/>
                <a:gd name="T16" fmla="*/ 779 w 1158"/>
                <a:gd name="T17" fmla="*/ 607 h 1225"/>
                <a:gd name="T18" fmla="*/ 773 w 1158"/>
                <a:gd name="T19" fmla="*/ 605 h 1225"/>
                <a:gd name="T20" fmla="*/ 771 w 1158"/>
                <a:gd name="T21" fmla="*/ 466 h 1225"/>
                <a:gd name="T22" fmla="*/ 769 w 1158"/>
                <a:gd name="T23" fmla="*/ 461 h 1225"/>
                <a:gd name="T24" fmla="*/ 764 w 1158"/>
                <a:gd name="T25" fmla="*/ 459 h 1225"/>
                <a:gd name="T26" fmla="*/ 584 w 1158"/>
                <a:gd name="T27" fmla="*/ 614 h 1225"/>
                <a:gd name="T28" fmla="*/ 579 w 1158"/>
                <a:gd name="T29" fmla="*/ 616 h 1225"/>
                <a:gd name="T30" fmla="*/ 396 w 1158"/>
                <a:gd name="T31" fmla="*/ 461 h 1225"/>
                <a:gd name="T32" fmla="*/ 390 w 1158"/>
                <a:gd name="T33" fmla="*/ 460 h 1225"/>
                <a:gd name="T34" fmla="*/ 386 w 1158"/>
                <a:gd name="T35" fmla="*/ 464 h 1225"/>
                <a:gd name="T36" fmla="*/ 386 w 1158"/>
                <a:gd name="T37" fmla="*/ 603 h 1225"/>
                <a:gd name="T38" fmla="*/ 381 w 1158"/>
                <a:gd name="T39" fmla="*/ 607 h 1225"/>
                <a:gd name="T40" fmla="*/ 375 w 1158"/>
                <a:gd name="T41" fmla="*/ 605 h 1225"/>
                <a:gd name="T42" fmla="*/ 292 w 1158"/>
                <a:gd name="T43" fmla="*/ 378 h 1225"/>
                <a:gd name="T44" fmla="*/ 203 w 1158"/>
                <a:gd name="T45" fmla="*/ 130 h 1225"/>
                <a:gd name="T46" fmla="*/ 197 w 1158"/>
                <a:gd name="T47" fmla="*/ 128 h 1225"/>
                <a:gd name="T48" fmla="*/ 192 w 1158"/>
                <a:gd name="T49" fmla="*/ 132 h 1225"/>
                <a:gd name="T50" fmla="*/ 191 w 1158"/>
                <a:gd name="T51" fmla="*/ 606 h 1225"/>
                <a:gd name="T52" fmla="*/ 186 w 1158"/>
                <a:gd name="T53" fmla="*/ 610 h 1225"/>
                <a:gd name="T54" fmla="*/ 181 w 1158"/>
                <a:gd name="T55" fmla="*/ 609 h 1225"/>
                <a:gd name="T56" fmla="*/ 13 w 1158"/>
                <a:gd name="T57" fmla="*/ 5 h 1225"/>
                <a:gd name="T58" fmla="*/ 10 w 1158"/>
                <a:gd name="T59" fmla="*/ 1 h 1225"/>
                <a:gd name="T60" fmla="*/ 4 w 1158"/>
                <a:gd name="T61" fmla="*/ 1 h 1225"/>
                <a:gd name="T62" fmla="*/ 0 w 1158"/>
                <a:gd name="T63" fmla="*/ 7 h 1225"/>
                <a:gd name="T64" fmla="*/ 1 w 1158"/>
                <a:gd name="T65" fmla="*/ 552 h 1225"/>
                <a:gd name="T66" fmla="*/ 147 w 1158"/>
                <a:gd name="T67" fmla="*/ 644 h 1225"/>
                <a:gd name="T68" fmla="*/ 389 w 1158"/>
                <a:gd name="T69" fmla="*/ 646 h 1225"/>
                <a:gd name="T70" fmla="*/ 397 w 1158"/>
                <a:gd name="T71" fmla="*/ 649 h 1225"/>
                <a:gd name="T72" fmla="*/ 500 w 1158"/>
                <a:gd name="T73" fmla="*/ 909 h 1225"/>
                <a:gd name="T74" fmla="*/ 501 w 1158"/>
                <a:gd name="T75" fmla="*/ 917 h 1225"/>
                <a:gd name="T76" fmla="*/ 447 w 1158"/>
                <a:gd name="T77" fmla="*/ 1030 h 1225"/>
                <a:gd name="T78" fmla="*/ 519 w 1158"/>
                <a:gd name="T79" fmla="*/ 1218 h 1225"/>
                <a:gd name="T80" fmla="*/ 526 w 1158"/>
                <a:gd name="T81" fmla="*/ 1224 h 1225"/>
                <a:gd name="T82" fmla="*/ 629 w 1158"/>
                <a:gd name="T83" fmla="*/ 1225 h 1225"/>
                <a:gd name="T84" fmla="*/ 637 w 1158"/>
                <a:gd name="T85" fmla="*/ 1221 h 1225"/>
                <a:gd name="T86" fmla="*/ 710 w 1158"/>
                <a:gd name="T87" fmla="*/ 1036 h 1225"/>
                <a:gd name="T88" fmla="*/ 710 w 1158"/>
                <a:gd name="T89" fmla="*/ 1030 h 1225"/>
                <a:gd name="T90" fmla="*/ 657 w 1158"/>
                <a:gd name="T91" fmla="*/ 917 h 1225"/>
                <a:gd name="T92" fmla="*/ 758 w 1158"/>
                <a:gd name="T93" fmla="*/ 652 h 1225"/>
                <a:gd name="T94" fmla="*/ 765 w 1158"/>
                <a:gd name="T95" fmla="*/ 646 h 1225"/>
                <a:gd name="T96" fmla="*/ 1009 w 1158"/>
                <a:gd name="T97" fmla="*/ 645 h 1225"/>
                <a:gd name="T98" fmla="*/ 1155 w 1158"/>
                <a:gd name="T99" fmla="*/ 554 h 1225"/>
                <a:gd name="T100" fmla="*/ 1158 w 1158"/>
                <a:gd name="T101" fmla="*/ 549 h 1225"/>
                <a:gd name="T102" fmla="*/ 1158 w 1158"/>
                <a:gd name="T103" fmla="*/ 4 h 1225"/>
                <a:gd name="T104" fmla="*/ 1152 w 1158"/>
                <a:gd name="T105" fmla="*/ 0 h 1225"/>
                <a:gd name="T106" fmla="*/ 1146 w 1158"/>
                <a:gd name="T107" fmla="*/ 3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8" h="1225">
                  <a:moveTo>
                    <a:pt x="1145" y="5"/>
                  </a:moveTo>
                  <a:lnTo>
                    <a:pt x="979" y="605"/>
                  </a:lnTo>
                  <a:lnTo>
                    <a:pt x="978" y="608"/>
                  </a:lnTo>
                  <a:lnTo>
                    <a:pt x="977" y="608"/>
                  </a:lnTo>
                  <a:lnTo>
                    <a:pt x="976" y="609"/>
                  </a:lnTo>
                  <a:lnTo>
                    <a:pt x="974" y="610"/>
                  </a:lnTo>
                  <a:lnTo>
                    <a:pt x="972" y="610"/>
                  </a:lnTo>
                  <a:lnTo>
                    <a:pt x="970" y="609"/>
                  </a:lnTo>
                  <a:lnTo>
                    <a:pt x="968" y="608"/>
                  </a:lnTo>
                  <a:lnTo>
                    <a:pt x="967" y="606"/>
                  </a:lnTo>
                  <a:lnTo>
                    <a:pt x="966" y="603"/>
                  </a:lnTo>
                  <a:lnTo>
                    <a:pt x="966" y="134"/>
                  </a:lnTo>
                  <a:lnTo>
                    <a:pt x="966" y="132"/>
                  </a:lnTo>
                  <a:lnTo>
                    <a:pt x="964" y="130"/>
                  </a:lnTo>
                  <a:lnTo>
                    <a:pt x="963" y="128"/>
                  </a:lnTo>
                  <a:lnTo>
                    <a:pt x="961" y="128"/>
                  </a:lnTo>
                  <a:lnTo>
                    <a:pt x="958" y="128"/>
                  </a:lnTo>
                  <a:lnTo>
                    <a:pt x="956" y="128"/>
                  </a:lnTo>
                  <a:lnTo>
                    <a:pt x="955" y="129"/>
                  </a:lnTo>
                  <a:lnTo>
                    <a:pt x="955" y="130"/>
                  </a:lnTo>
                  <a:lnTo>
                    <a:pt x="953" y="132"/>
                  </a:lnTo>
                  <a:lnTo>
                    <a:pt x="916" y="240"/>
                  </a:lnTo>
                  <a:lnTo>
                    <a:pt x="865" y="378"/>
                  </a:lnTo>
                  <a:lnTo>
                    <a:pt x="784" y="603"/>
                  </a:lnTo>
                  <a:lnTo>
                    <a:pt x="782" y="605"/>
                  </a:lnTo>
                  <a:lnTo>
                    <a:pt x="781" y="606"/>
                  </a:lnTo>
                  <a:lnTo>
                    <a:pt x="779" y="607"/>
                  </a:lnTo>
                  <a:lnTo>
                    <a:pt x="776" y="607"/>
                  </a:lnTo>
                  <a:lnTo>
                    <a:pt x="774" y="606"/>
                  </a:lnTo>
                  <a:lnTo>
                    <a:pt x="773" y="605"/>
                  </a:lnTo>
                  <a:lnTo>
                    <a:pt x="772" y="603"/>
                  </a:lnTo>
                  <a:lnTo>
                    <a:pt x="771" y="600"/>
                  </a:lnTo>
                  <a:lnTo>
                    <a:pt x="771" y="466"/>
                  </a:lnTo>
                  <a:lnTo>
                    <a:pt x="771" y="464"/>
                  </a:lnTo>
                  <a:lnTo>
                    <a:pt x="770" y="462"/>
                  </a:lnTo>
                  <a:lnTo>
                    <a:pt x="769" y="461"/>
                  </a:lnTo>
                  <a:lnTo>
                    <a:pt x="767" y="460"/>
                  </a:lnTo>
                  <a:lnTo>
                    <a:pt x="766" y="459"/>
                  </a:lnTo>
                  <a:lnTo>
                    <a:pt x="764" y="459"/>
                  </a:lnTo>
                  <a:lnTo>
                    <a:pt x="762" y="460"/>
                  </a:lnTo>
                  <a:lnTo>
                    <a:pt x="761" y="461"/>
                  </a:lnTo>
                  <a:lnTo>
                    <a:pt x="584" y="614"/>
                  </a:lnTo>
                  <a:lnTo>
                    <a:pt x="583" y="615"/>
                  </a:lnTo>
                  <a:lnTo>
                    <a:pt x="581" y="615"/>
                  </a:lnTo>
                  <a:lnTo>
                    <a:pt x="579" y="616"/>
                  </a:lnTo>
                  <a:lnTo>
                    <a:pt x="576" y="615"/>
                  </a:lnTo>
                  <a:lnTo>
                    <a:pt x="573" y="614"/>
                  </a:lnTo>
                  <a:lnTo>
                    <a:pt x="396" y="461"/>
                  </a:lnTo>
                  <a:lnTo>
                    <a:pt x="393" y="459"/>
                  </a:lnTo>
                  <a:lnTo>
                    <a:pt x="391" y="460"/>
                  </a:lnTo>
                  <a:lnTo>
                    <a:pt x="390" y="460"/>
                  </a:lnTo>
                  <a:lnTo>
                    <a:pt x="388" y="461"/>
                  </a:lnTo>
                  <a:lnTo>
                    <a:pt x="387" y="462"/>
                  </a:lnTo>
                  <a:lnTo>
                    <a:pt x="386" y="464"/>
                  </a:lnTo>
                  <a:lnTo>
                    <a:pt x="386" y="466"/>
                  </a:lnTo>
                  <a:lnTo>
                    <a:pt x="386" y="601"/>
                  </a:lnTo>
                  <a:lnTo>
                    <a:pt x="386" y="603"/>
                  </a:lnTo>
                  <a:lnTo>
                    <a:pt x="384" y="605"/>
                  </a:lnTo>
                  <a:lnTo>
                    <a:pt x="383" y="606"/>
                  </a:lnTo>
                  <a:lnTo>
                    <a:pt x="381" y="607"/>
                  </a:lnTo>
                  <a:lnTo>
                    <a:pt x="379" y="607"/>
                  </a:lnTo>
                  <a:lnTo>
                    <a:pt x="377" y="606"/>
                  </a:lnTo>
                  <a:lnTo>
                    <a:pt x="375" y="605"/>
                  </a:lnTo>
                  <a:lnTo>
                    <a:pt x="374" y="603"/>
                  </a:lnTo>
                  <a:lnTo>
                    <a:pt x="340" y="511"/>
                  </a:lnTo>
                  <a:lnTo>
                    <a:pt x="292" y="378"/>
                  </a:lnTo>
                  <a:lnTo>
                    <a:pt x="242" y="240"/>
                  </a:lnTo>
                  <a:lnTo>
                    <a:pt x="205" y="132"/>
                  </a:lnTo>
                  <a:lnTo>
                    <a:pt x="203" y="130"/>
                  </a:lnTo>
                  <a:lnTo>
                    <a:pt x="202" y="128"/>
                  </a:lnTo>
                  <a:lnTo>
                    <a:pt x="200" y="128"/>
                  </a:lnTo>
                  <a:lnTo>
                    <a:pt x="197" y="128"/>
                  </a:lnTo>
                  <a:lnTo>
                    <a:pt x="195" y="128"/>
                  </a:lnTo>
                  <a:lnTo>
                    <a:pt x="194" y="130"/>
                  </a:lnTo>
                  <a:lnTo>
                    <a:pt x="192" y="132"/>
                  </a:lnTo>
                  <a:lnTo>
                    <a:pt x="192" y="134"/>
                  </a:lnTo>
                  <a:lnTo>
                    <a:pt x="192" y="604"/>
                  </a:lnTo>
                  <a:lnTo>
                    <a:pt x="191" y="606"/>
                  </a:lnTo>
                  <a:lnTo>
                    <a:pt x="190" y="608"/>
                  </a:lnTo>
                  <a:lnTo>
                    <a:pt x="188" y="609"/>
                  </a:lnTo>
                  <a:lnTo>
                    <a:pt x="186" y="610"/>
                  </a:lnTo>
                  <a:lnTo>
                    <a:pt x="184" y="610"/>
                  </a:lnTo>
                  <a:lnTo>
                    <a:pt x="182" y="609"/>
                  </a:lnTo>
                  <a:lnTo>
                    <a:pt x="181" y="609"/>
                  </a:lnTo>
                  <a:lnTo>
                    <a:pt x="180" y="608"/>
                  </a:lnTo>
                  <a:lnTo>
                    <a:pt x="179" y="605"/>
                  </a:lnTo>
                  <a:lnTo>
                    <a:pt x="13" y="5"/>
                  </a:lnTo>
                  <a:lnTo>
                    <a:pt x="12" y="3"/>
                  </a:lnTo>
                  <a:lnTo>
                    <a:pt x="11" y="2"/>
                  </a:lnTo>
                  <a:lnTo>
                    <a:pt x="10" y="1"/>
                  </a:lnTo>
                  <a:lnTo>
                    <a:pt x="8" y="1"/>
                  </a:lnTo>
                  <a:lnTo>
                    <a:pt x="6" y="0"/>
                  </a:lnTo>
                  <a:lnTo>
                    <a:pt x="4" y="1"/>
                  </a:lnTo>
                  <a:lnTo>
                    <a:pt x="2" y="3"/>
                  </a:lnTo>
                  <a:lnTo>
                    <a:pt x="1" y="4"/>
                  </a:lnTo>
                  <a:lnTo>
                    <a:pt x="0" y="7"/>
                  </a:lnTo>
                  <a:lnTo>
                    <a:pt x="0" y="546"/>
                  </a:lnTo>
                  <a:lnTo>
                    <a:pt x="0" y="549"/>
                  </a:lnTo>
                  <a:lnTo>
                    <a:pt x="1" y="552"/>
                  </a:lnTo>
                  <a:lnTo>
                    <a:pt x="3" y="554"/>
                  </a:lnTo>
                  <a:lnTo>
                    <a:pt x="5" y="555"/>
                  </a:lnTo>
                  <a:lnTo>
                    <a:pt x="147" y="644"/>
                  </a:lnTo>
                  <a:lnTo>
                    <a:pt x="150" y="645"/>
                  </a:lnTo>
                  <a:lnTo>
                    <a:pt x="153" y="646"/>
                  </a:lnTo>
                  <a:lnTo>
                    <a:pt x="389" y="646"/>
                  </a:lnTo>
                  <a:lnTo>
                    <a:pt x="392" y="646"/>
                  </a:lnTo>
                  <a:lnTo>
                    <a:pt x="395" y="647"/>
                  </a:lnTo>
                  <a:lnTo>
                    <a:pt x="397" y="649"/>
                  </a:lnTo>
                  <a:lnTo>
                    <a:pt x="398" y="651"/>
                  </a:lnTo>
                  <a:lnTo>
                    <a:pt x="399" y="652"/>
                  </a:lnTo>
                  <a:lnTo>
                    <a:pt x="500" y="909"/>
                  </a:lnTo>
                  <a:lnTo>
                    <a:pt x="501" y="912"/>
                  </a:lnTo>
                  <a:lnTo>
                    <a:pt x="501" y="914"/>
                  </a:lnTo>
                  <a:lnTo>
                    <a:pt x="501" y="917"/>
                  </a:lnTo>
                  <a:lnTo>
                    <a:pt x="500" y="920"/>
                  </a:lnTo>
                  <a:lnTo>
                    <a:pt x="448" y="1028"/>
                  </a:lnTo>
                  <a:lnTo>
                    <a:pt x="447" y="1030"/>
                  </a:lnTo>
                  <a:lnTo>
                    <a:pt x="447" y="1032"/>
                  </a:lnTo>
                  <a:lnTo>
                    <a:pt x="447" y="1036"/>
                  </a:lnTo>
                  <a:lnTo>
                    <a:pt x="519" y="1218"/>
                  </a:lnTo>
                  <a:lnTo>
                    <a:pt x="520" y="1221"/>
                  </a:lnTo>
                  <a:lnTo>
                    <a:pt x="523" y="1223"/>
                  </a:lnTo>
                  <a:lnTo>
                    <a:pt x="526" y="1224"/>
                  </a:lnTo>
                  <a:lnTo>
                    <a:pt x="529" y="1225"/>
                  </a:lnTo>
                  <a:lnTo>
                    <a:pt x="579" y="1225"/>
                  </a:lnTo>
                  <a:lnTo>
                    <a:pt x="629" y="1225"/>
                  </a:lnTo>
                  <a:lnTo>
                    <a:pt x="632" y="1224"/>
                  </a:lnTo>
                  <a:lnTo>
                    <a:pt x="635" y="1223"/>
                  </a:lnTo>
                  <a:lnTo>
                    <a:pt x="637" y="1221"/>
                  </a:lnTo>
                  <a:lnTo>
                    <a:pt x="638" y="1219"/>
                  </a:lnTo>
                  <a:lnTo>
                    <a:pt x="638" y="1218"/>
                  </a:lnTo>
                  <a:lnTo>
                    <a:pt x="710" y="1036"/>
                  </a:lnTo>
                  <a:lnTo>
                    <a:pt x="711" y="1034"/>
                  </a:lnTo>
                  <a:lnTo>
                    <a:pt x="711" y="1032"/>
                  </a:lnTo>
                  <a:lnTo>
                    <a:pt x="710" y="1030"/>
                  </a:lnTo>
                  <a:lnTo>
                    <a:pt x="710" y="1028"/>
                  </a:lnTo>
                  <a:lnTo>
                    <a:pt x="657" y="920"/>
                  </a:lnTo>
                  <a:lnTo>
                    <a:pt x="657" y="917"/>
                  </a:lnTo>
                  <a:lnTo>
                    <a:pt x="656" y="914"/>
                  </a:lnTo>
                  <a:lnTo>
                    <a:pt x="657" y="909"/>
                  </a:lnTo>
                  <a:lnTo>
                    <a:pt x="758" y="652"/>
                  </a:lnTo>
                  <a:lnTo>
                    <a:pt x="760" y="650"/>
                  </a:lnTo>
                  <a:lnTo>
                    <a:pt x="762" y="647"/>
                  </a:lnTo>
                  <a:lnTo>
                    <a:pt x="765" y="646"/>
                  </a:lnTo>
                  <a:lnTo>
                    <a:pt x="768" y="646"/>
                  </a:lnTo>
                  <a:lnTo>
                    <a:pt x="1006" y="646"/>
                  </a:lnTo>
                  <a:lnTo>
                    <a:pt x="1009" y="645"/>
                  </a:lnTo>
                  <a:lnTo>
                    <a:pt x="1011" y="644"/>
                  </a:lnTo>
                  <a:lnTo>
                    <a:pt x="1153" y="555"/>
                  </a:lnTo>
                  <a:lnTo>
                    <a:pt x="1155" y="554"/>
                  </a:lnTo>
                  <a:lnTo>
                    <a:pt x="1156" y="553"/>
                  </a:lnTo>
                  <a:lnTo>
                    <a:pt x="1157" y="552"/>
                  </a:lnTo>
                  <a:lnTo>
                    <a:pt x="1158" y="549"/>
                  </a:lnTo>
                  <a:lnTo>
                    <a:pt x="1158" y="546"/>
                  </a:lnTo>
                  <a:lnTo>
                    <a:pt x="1158" y="7"/>
                  </a:lnTo>
                  <a:lnTo>
                    <a:pt x="1158" y="4"/>
                  </a:lnTo>
                  <a:lnTo>
                    <a:pt x="1156" y="3"/>
                  </a:lnTo>
                  <a:lnTo>
                    <a:pt x="1154" y="1"/>
                  </a:lnTo>
                  <a:lnTo>
                    <a:pt x="1152" y="0"/>
                  </a:lnTo>
                  <a:lnTo>
                    <a:pt x="1150" y="1"/>
                  </a:lnTo>
                  <a:lnTo>
                    <a:pt x="1148" y="1"/>
                  </a:lnTo>
                  <a:lnTo>
                    <a:pt x="1146" y="3"/>
                  </a:lnTo>
                  <a:lnTo>
                    <a:pt x="1145" y="4"/>
                  </a:lnTo>
                  <a:lnTo>
                    <a:pt x="11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3" name="Freeform 7"/>
            <p:cNvSpPr>
              <a:spLocks noEditPoints="1"/>
            </p:cNvSpPr>
            <p:nvPr/>
          </p:nvSpPr>
          <p:spPr bwMode="auto">
            <a:xfrm>
              <a:off x="5386388" y="3476625"/>
              <a:ext cx="3533775" cy="933450"/>
            </a:xfrm>
            <a:custGeom>
              <a:avLst/>
              <a:gdLst>
                <a:gd name="T0" fmla="*/ 1976 w 2226"/>
                <a:gd name="T1" fmla="*/ 407 h 588"/>
                <a:gd name="T2" fmla="*/ 1967 w 2226"/>
                <a:gd name="T3" fmla="*/ 463 h 588"/>
                <a:gd name="T4" fmla="*/ 2059 w 2226"/>
                <a:gd name="T5" fmla="*/ 452 h 588"/>
                <a:gd name="T6" fmla="*/ 2077 w 2226"/>
                <a:gd name="T7" fmla="*/ 579 h 588"/>
                <a:gd name="T8" fmla="*/ 2048 w 2226"/>
                <a:gd name="T9" fmla="*/ 537 h 588"/>
                <a:gd name="T10" fmla="*/ 1914 w 2226"/>
                <a:gd name="T11" fmla="*/ 585 h 588"/>
                <a:gd name="T12" fmla="*/ 1811 w 2226"/>
                <a:gd name="T13" fmla="*/ 508 h 588"/>
                <a:gd name="T14" fmla="*/ 1836 w 2226"/>
                <a:gd name="T15" fmla="*/ 383 h 588"/>
                <a:gd name="T16" fmla="*/ 2013 w 2226"/>
                <a:gd name="T17" fmla="*/ 311 h 588"/>
                <a:gd name="T18" fmla="*/ 2045 w 2226"/>
                <a:gd name="T19" fmla="*/ 271 h 588"/>
                <a:gd name="T20" fmla="*/ 1907 w 2226"/>
                <a:gd name="T21" fmla="*/ 300 h 588"/>
                <a:gd name="T22" fmla="*/ 1866 w 2226"/>
                <a:gd name="T23" fmla="*/ 195 h 588"/>
                <a:gd name="T24" fmla="*/ 2086 w 2226"/>
                <a:gd name="T25" fmla="*/ 154 h 588"/>
                <a:gd name="T26" fmla="*/ 2190 w 2226"/>
                <a:gd name="T27" fmla="*/ 214 h 588"/>
                <a:gd name="T28" fmla="*/ 2217 w 2226"/>
                <a:gd name="T29" fmla="*/ 512 h 588"/>
                <a:gd name="T30" fmla="*/ 1994 w 2226"/>
                <a:gd name="T31" fmla="*/ 3 h 588"/>
                <a:gd name="T32" fmla="*/ 1869 w 2226"/>
                <a:gd name="T33" fmla="*/ 7 h 588"/>
                <a:gd name="T34" fmla="*/ 2172 w 2226"/>
                <a:gd name="T35" fmla="*/ 123 h 588"/>
                <a:gd name="T36" fmla="*/ 1190 w 2226"/>
                <a:gd name="T37" fmla="*/ 576 h 588"/>
                <a:gd name="T38" fmla="*/ 1121 w 2226"/>
                <a:gd name="T39" fmla="*/ 502 h 588"/>
                <a:gd name="T40" fmla="*/ 1059 w 2226"/>
                <a:gd name="T41" fmla="*/ 264 h 588"/>
                <a:gd name="T42" fmla="*/ 1170 w 2226"/>
                <a:gd name="T43" fmla="*/ 25 h 588"/>
                <a:gd name="T44" fmla="*/ 1274 w 2226"/>
                <a:gd name="T45" fmla="*/ 156 h 588"/>
                <a:gd name="T46" fmla="*/ 1374 w 2226"/>
                <a:gd name="T47" fmla="*/ 271 h 588"/>
                <a:gd name="T48" fmla="*/ 1291 w 2226"/>
                <a:gd name="T49" fmla="*/ 469 h 588"/>
                <a:gd name="T50" fmla="*/ 1370 w 2226"/>
                <a:gd name="T51" fmla="*/ 564 h 588"/>
                <a:gd name="T52" fmla="*/ 1 w 2226"/>
                <a:gd name="T53" fmla="*/ 3 h 588"/>
                <a:gd name="T54" fmla="*/ 312 w 2226"/>
                <a:gd name="T55" fmla="*/ 389 h 588"/>
                <a:gd name="T56" fmla="*/ 615 w 2226"/>
                <a:gd name="T57" fmla="*/ 572 h 588"/>
                <a:gd name="T58" fmla="*/ 463 w 2226"/>
                <a:gd name="T59" fmla="*/ 222 h 588"/>
                <a:gd name="T60" fmla="*/ 365 w 2226"/>
                <a:gd name="T61" fmla="*/ 579 h 588"/>
                <a:gd name="T62" fmla="*/ 146 w 2226"/>
                <a:gd name="T63" fmla="*/ 223 h 588"/>
                <a:gd name="T64" fmla="*/ 1 w 2226"/>
                <a:gd name="T65" fmla="*/ 576 h 588"/>
                <a:gd name="T66" fmla="*/ 795 w 2226"/>
                <a:gd name="T67" fmla="*/ 421 h 588"/>
                <a:gd name="T68" fmla="*/ 861 w 2226"/>
                <a:gd name="T69" fmla="*/ 482 h 588"/>
                <a:gd name="T70" fmla="*/ 999 w 2226"/>
                <a:gd name="T71" fmla="*/ 448 h 588"/>
                <a:gd name="T72" fmla="*/ 974 w 2226"/>
                <a:gd name="T73" fmla="*/ 574 h 588"/>
                <a:gd name="T74" fmla="*/ 772 w 2226"/>
                <a:gd name="T75" fmla="*/ 575 h 588"/>
                <a:gd name="T76" fmla="*/ 659 w 2226"/>
                <a:gd name="T77" fmla="*/ 476 h 588"/>
                <a:gd name="T78" fmla="*/ 649 w 2226"/>
                <a:gd name="T79" fmla="*/ 300 h 588"/>
                <a:gd name="T80" fmla="*/ 753 w 2226"/>
                <a:gd name="T81" fmla="*/ 177 h 588"/>
                <a:gd name="T82" fmla="*/ 901 w 2226"/>
                <a:gd name="T83" fmla="*/ 155 h 588"/>
                <a:gd name="T84" fmla="*/ 1027 w 2226"/>
                <a:gd name="T85" fmla="*/ 233 h 588"/>
                <a:gd name="T86" fmla="*/ 921 w 2226"/>
                <a:gd name="T87" fmla="*/ 325 h 588"/>
                <a:gd name="T88" fmla="*/ 895 w 2226"/>
                <a:gd name="T89" fmla="*/ 267 h 588"/>
                <a:gd name="T90" fmla="*/ 818 w 2226"/>
                <a:gd name="T91" fmla="*/ 277 h 588"/>
                <a:gd name="T92" fmla="*/ 1595 w 2226"/>
                <a:gd name="T93" fmla="*/ 588 h 588"/>
                <a:gd name="T94" fmla="*/ 1393 w 2226"/>
                <a:gd name="T95" fmla="*/ 532 h 588"/>
                <a:gd name="T96" fmla="*/ 1483 w 2226"/>
                <a:gd name="T97" fmla="*/ 465 h 588"/>
                <a:gd name="T98" fmla="*/ 1638 w 2226"/>
                <a:gd name="T99" fmla="*/ 480 h 588"/>
                <a:gd name="T100" fmla="*/ 1609 w 2226"/>
                <a:gd name="T101" fmla="*/ 434 h 588"/>
                <a:gd name="T102" fmla="*/ 1433 w 2226"/>
                <a:gd name="T103" fmla="*/ 371 h 588"/>
                <a:gd name="T104" fmla="*/ 1410 w 2226"/>
                <a:gd name="T105" fmla="*/ 261 h 588"/>
                <a:gd name="T106" fmla="*/ 1497 w 2226"/>
                <a:gd name="T107" fmla="*/ 166 h 588"/>
                <a:gd name="T108" fmla="*/ 1713 w 2226"/>
                <a:gd name="T109" fmla="*/ 174 h 588"/>
                <a:gd name="T110" fmla="*/ 1716 w 2226"/>
                <a:gd name="T111" fmla="*/ 292 h 588"/>
                <a:gd name="T112" fmla="*/ 1568 w 2226"/>
                <a:gd name="T113" fmla="*/ 256 h 588"/>
                <a:gd name="T114" fmla="*/ 1563 w 2226"/>
                <a:gd name="T115" fmla="*/ 299 h 588"/>
                <a:gd name="T116" fmla="*/ 1752 w 2226"/>
                <a:gd name="T117" fmla="*/ 356 h 588"/>
                <a:gd name="T118" fmla="*/ 1787 w 2226"/>
                <a:gd name="T119" fmla="*/ 458 h 588"/>
                <a:gd name="T120" fmla="*/ 1721 w 2226"/>
                <a:gd name="T121" fmla="*/ 55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26" h="588">
                  <a:moveTo>
                    <a:pt x="2065" y="439"/>
                  </a:moveTo>
                  <a:lnTo>
                    <a:pt x="2065" y="391"/>
                  </a:lnTo>
                  <a:lnTo>
                    <a:pt x="2064" y="389"/>
                  </a:lnTo>
                  <a:lnTo>
                    <a:pt x="2063" y="388"/>
                  </a:lnTo>
                  <a:lnTo>
                    <a:pt x="2061" y="387"/>
                  </a:lnTo>
                  <a:lnTo>
                    <a:pt x="2060" y="387"/>
                  </a:lnTo>
                  <a:lnTo>
                    <a:pt x="2047" y="388"/>
                  </a:lnTo>
                  <a:lnTo>
                    <a:pt x="2035" y="389"/>
                  </a:lnTo>
                  <a:lnTo>
                    <a:pt x="2024" y="390"/>
                  </a:lnTo>
                  <a:lnTo>
                    <a:pt x="2014" y="392"/>
                  </a:lnTo>
                  <a:lnTo>
                    <a:pt x="2004" y="395"/>
                  </a:lnTo>
                  <a:lnTo>
                    <a:pt x="1996" y="397"/>
                  </a:lnTo>
                  <a:lnTo>
                    <a:pt x="1988" y="400"/>
                  </a:lnTo>
                  <a:lnTo>
                    <a:pt x="1981" y="403"/>
                  </a:lnTo>
                  <a:lnTo>
                    <a:pt x="1976" y="407"/>
                  </a:lnTo>
                  <a:lnTo>
                    <a:pt x="1971" y="411"/>
                  </a:lnTo>
                  <a:lnTo>
                    <a:pt x="1966" y="415"/>
                  </a:lnTo>
                  <a:lnTo>
                    <a:pt x="1963" y="420"/>
                  </a:lnTo>
                  <a:lnTo>
                    <a:pt x="1960" y="425"/>
                  </a:lnTo>
                  <a:lnTo>
                    <a:pt x="1958" y="430"/>
                  </a:lnTo>
                  <a:lnTo>
                    <a:pt x="1957" y="435"/>
                  </a:lnTo>
                  <a:lnTo>
                    <a:pt x="1957" y="441"/>
                  </a:lnTo>
                  <a:lnTo>
                    <a:pt x="1957" y="445"/>
                  </a:lnTo>
                  <a:lnTo>
                    <a:pt x="1958" y="448"/>
                  </a:lnTo>
                  <a:lnTo>
                    <a:pt x="1958" y="451"/>
                  </a:lnTo>
                  <a:lnTo>
                    <a:pt x="1959" y="454"/>
                  </a:lnTo>
                  <a:lnTo>
                    <a:pt x="1961" y="457"/>
                  </a:lnTo>
                  <a:lnTo>
                    <a:pt x="1963" y="459"/>
                  </a:lnTo>
                  <a:lnTo>
                    <a:pt x="1965" y="461"/>
                  </a:lnTo>
                  <a:lnTo>
                    <a:pt x="1967" y="463"/>
                  </a:lnTo>
                  <a:lnTo>
                    <a:pt x="1972" y="467"/>
                  </a:lnTo>
                  <a:lnTo>
                    <a:pt x="1975" y="468"/>
                  </a:lnTo>
                  <a:lnTo>
                    <a:pt x="1978" y="469"/>
                  </a:lnTo>
                  <a:lnTo>
                    <a:pt x="1984" y="470"/>
                  </a:lnTo>
                  <a:lnTo>
                    <a:pt x="1991" y="471"/>
                  </a:lnTo>
                  <a:lnTo>
                    <a:pt x="2005" y="470"/>
                  </a:lnTo>
                  <a:lnTo>
                    <a:pt x="2011" y="470"/>
                  </a:lnTo>
                  <a:lnTo>
                    <a:pt x="2017" y="469"/>
                  </a:lnTo>
                  <a:lnTo>
                    <a:pt x="2023" y="468"/>
                  </a:lnTo>
                  <a:lnTo>
                    <a:pt x="2028" y="467"/>
                  </a:lnTo>
                  <a:lnTo>
                    <a:pt x="2037" y="464"/>
                  </a:lnTo>
                  <a:lnTo>
                    <a:pt x="2045" y="461"/>
                  </a:lnTo>
                  <a:lnTo>
                    <a:pt x="2051" y="458"/>
                  </a:lnTo>
                  <a:lnTo>
                    <a:pt x="2056" y="454"/>
                  </a:lnTo>
                  <a:lnTo>
                    <a:pt x="2059" y="452"/>
                  </a:lnTo>
                  <a:lnTo>
                    <a:pt x="2061" y="450"/>
                  </a:lnTo>
                  <a:lnTo>
                    <a:pt x="2063" y="447"/>
                  </a:lnTo>
                  <a:lnTo>
                    <a:pt x="2064" y="443"/>
                  </a:lnTo>
                  <a:lnTo>
                    <a:pt x="2065" y="440"/>
                  </a:lnTo>
                  <a:lnTo>
                    <a:pt x="2065" y="439"/>
                  </a:lnTo>
                  <a:close/>
                  <a:moveTo>
                    <a:pt x="2225" y="572"/>
                  </a:moveTo>
                  <a:lnTo>
                    <a:pt x="2226" y="575"/>
                  </a:lnTo>
                  <a:lnTo>
                    <a:pt x="2225" y="577"/>
                  </a:lnTo>
                  <a:lnTo>
                    <a:pt x="2225" y="578"/>
                  </a:lnTo>
                  <a:lnTo>
                    <a:pt x="2224" y="579"/>
                  </a:lnTo>
                  <a:lnTo>
                    <a:pt x="2221" y="579"/>
                  </a:lnTo>
                  <a:lnTo>
                    <a:pt x="2220" y="579"/>
                  </a:lnTo>
                  <a:lnTo>
                    <a:pt x="2081" y="579"/>
                  </a:lnTo>
                  <a:lnTo>
                    <a:pt x="2079" y="579"/>
                  </a:lnTo>
                  <a:lnTo>
                    <a:pt x="2077" y="579"/>
                  </a:lnTo>
                  <a:lnTo>
                    <a:pt x="2074" y="577"/>
                  </a:lnTo>
                  <a:lnTo>
                    <a:pt x="2073" y="574"/>
                  </a:lnTo>
                  <a:lnTo>
                    <a:pt x="2072" y="572"/>
                  </a:lnTo>
                  <a:lnTo>
                    <a:pt x="2069" y="560"/>
                  </a:lnTo>
                  <a:lnTo>
                    <a:pt x="2067" y="548"/>
                  </a:lnTo>
                  <a:lnTo>
                    <a:pt x="2065" y="537"/>
                  </a:lnTo>
                  <a:lnTo>
                    <a:pt x="2065" y="526"/>
                  </a:lnTo>
                  <a:lnTo>
                    <a:pt x="2064" y="524"/>
                  </a:lnTo>
                  <a:lnTo>
                    <a:pt x="2064" y="522"/>
                  </a:lnTo>
                  <a:lnTo>
                    <a:pt x="2063" y="522"/>
                  </a:lnTo>
                  <a:lnTo>
                    <a:pt x="2062" y="522"/>
                  </a:lnTo>
                  <a:lnTo>
                    <a:pt x="2061" y="523"/>
                  </a:lnTo>
                  <a:lnTo>
                    <a:pt x="2060" y="524"/>
                  </a:lnTo>
                  <a:lnTo>
                    <a:pt x="2054" y="531"/>
                  </a:lnTo>
                  <a:lnTo>
                    <a:pt x="2048" y="537"/>
                  </a:lnTo>
                  <a:lnTo>
                    <a:pt x="2042" y="544"/>
                  </a:lnTo>
                  <a:lnTo>
                    <a:pt x="2035" y="549"/>
                  </a:lnTo>
                  <a:lnTo>
                    <a:pt x="2028" y="555"/>
                  </a:lnTo>
                  <a:lnTo>
                    <a:pt x="2021" y="560"/>
                  </a:lnTo>
                  <a:lnTo>
                    <a:pt x="2013" y="564"/>
                  </a:lnTo>
                  <a:lnTo>
                    <a:pt x="2005" y="569"/>
                  </a:lnTo>
                  <a:lnTo>
                    <a:pt x="1996" y="573"/>
                  </a:lnTo>
                  <a:lnTo>
                    <a:pt x="1987" y="576"/>
                  </a:lnTo>
                  <a:lnTo>
                    <a:pt x="1978" y="579"/>
                  </a:lnTo>
                  <a:lnTo>
                    <a:pt x="1968" y="581"/>
                  </a:lnTo>
                  <a:lnTo>
                    <a:pt x="1958" y="583"/>
                  </a:lnTo>
                  <a:lnTo>
                    <a:pt x="1948" y="584"/>
                  </a:lnTo>
                  <a:lnTo>
                    <a:pt x="1937" y="585"/>
                  </a:lnTo>
                  <a:lnTo>
                    <a:pt x="1925" y="586"/>
                  </a:lnTo>
                  <a:lnTo>
                    <a:pt x="1914" y="585"/>
                  </a:lnTo>
                  <a:lnTo>
                    <a:pt x="1903" y="584"/>
                  </a:lnTo>
                  <a:lnTo>
                    <a:pt x="1892" y="582"/>
                  </a:lnTo>
                  <a:lnTo>
                    <a:pt x="1881" y="579"/>
                  </a:lnTo>
                  <a:lnTo>
                    <a:pt x="1871" y="574"/>
                  </a:lnTo>
                  <a:lnTo>
                    <a:pt x="1861" y="570"/>
                  </a:lnTo>
                  <a:lnTo>
                    <a:pt x="1856" y="567"/>
                  </a:lnTo>
                  <a:lnTo>
                    <a:pt x="1851" y="564"/>
                  </a:lnTo>
                  <a:lnTo>
                    <a:pt x="1843" y="557"/>
                  </a:lnTo>
                  <a:lnTo>
                    <a:pt x="1835" y="549"/>
                  </a:lnTo>
                  <a:lnTo>
                    <a:pt x="1827" y="540"/>
                  </a:lnTo>
                  <a:lnTo>
                    <a:pt x="1824" y="536"/>
                  </a:lnTo>
                  <a:lnTo>
                    <a:pt x="1821" y="531"/>
                  </a:lnTo>
                  <a:lnTo>
                    <a:pt x="1816" y="520"/>
                  </a:lnTo>
                  <a:lnTo>
                    <a:pt x="1813" y="514"/>
                  </a:lnTo>
                  <a:lnTo>
                    <a:pt x="1811" y="508"/>
                  </a:lnTo>
                  <a:lnTo>
                    <a:pt x="1808" y="495"/>
                  </a:lnTo>
                  <a:lnTo>
                    <a:pt x="1806" y="481"/>
                  </a:lnTo>
                  <a:lnTo>
                    <a:pt x="1806" y="474"/>
                  </a:lnTo>
                  <a:lnTo>
                    <a:pt x="1805" y="466"/>
                  </a:lnTo>
                  <a:lnTo>
                    <a:pt x="1806" y="458"/>
                  </a:lnTo>
                  <a:lnTo>
                    <a:pt x="1806" y="449"/>
                  </a:lnTo>
                  <a:lnTo>
                    <a:pt x="1808" y="441"/>
                  </a:lnTo>
                  <a:lnTo>
                    <a:pt x="1809" y="433"/>
                  </a:lnTo>
                  <a:lnTo>
                    <a:pt x="1812" y="425"/>
                  </a:lnTo>
                  <a:lnTo>
                    <a:pt x="1814" y="418"/>
                  </a:lnTo>
                  <a:lnTo>
                    <a:pt x="1818" y="410"/>
                  </a:lnTo>
                  <a:lnTo>
                    <a:pt x="1822" y="403"/>
                  </a:lnTo>
                  <a:lnTo>
                    <a:pt x="1826" y="396"/>
                  </a:lnTo>
                  <a:lnTo>
                    <a:pt x="1831" y="390"/>
                  </a:lnTo>
                  <a:lnTo>
                    <a:pt x="1836" y="383"/>
                  </a:lnTo>
                  <a:lnTo>
                    <a:pt x="1842" y="377"/>
                  </a:lnTo>
                  <a:lnTo>
                    <a:pt x="1848" y="371"/>
                  </a:lnTo>
                  <a:lnTo>
                    <a:pt x="1855" y="365"/>
                  </a:lnTo>
                  <a:lnTo>
                    <a:pt x="1862" y="360"/>
                  </a:lnTo>
                  <a:lnTo>
                    <a:pt x="1869" y="355"/>
                  </a:lnTo>
                  <a:lnTo>
                    <a:pt x="1886" y="345"/>
                  </a:lnTo>
                  <a:lnTo>
                    <a:pt x="1895" y="341"/>
                  </a:lnTo>
                  <a:lnTo>
                    <a:pt x="1905" y="337"/>
                  </a:lnTo>
                  <a:lnTo>
                    <a:pt x="1915" y="333"/>
                  </a:lnTo>
                  <a:lnTo>
                    <a:pt x="1926" y="329"/>
                  </a:lnTo>
                  <a:lnTo>
                    <a:pt x="1948" y="323"/>
                  </a:lnTo>
                  <a:lnTo>
                    <a:pt x="1960" y="320"/>
                  </a:lnTo>
                  <a:lnTo>
                    <a:pt x="1973" y="317"/>
                  </a:lnTo>
                  <a:lnTo>
                    <a:pt x="1999" y="313"/>
                  </a:lnTo>
                  <a:lnTo>
                    <a:pt x="2013" y="311"/>
                  </a:lnTo>
                  <a:lnTo>
                    <a:pt x="2027" y="310"/>
                  </a:lnTo>
                  <a:lnTo>
                    <a:pt x="2057" y="308"/>
                  </a:lnTo>
                  <a:lnTo>
                    <a:pt x="2061" y="307"/>
                  </a:lnTo>
                  <a:lnTo>
                    <a:pt x="2064" y="306"/>
                  </a:lnTo>
                  <a:lnTo>
                    <a:pt x="2065" y="305"/>
                  </a:lnTo>
                  <a:lnTo>
                    <a:pt x="2065" y="302"/>
                  </a:lnTo>
                  <a:lnTo>
                    <a:pt x="2064" y="295"/>
                  </a:lnTo>
                  <a:lnTo>
                    <a:pt x="2063" y="291"/>
                  </a:lnTo>
                  <a:lnTo>
                    <a:pt x="2063" y="288"/>
                  </a:lnTo>
                  <a:lnTo>
                    <a:pt x="2061" y="285"/>
                  </a:lnTo>
                  <a:lnTo>
                    <a:pt x="2060" y="282"/>
                  </a:lnTo>
                  <a:lnTo>
                    <a:pt x="2055" y="277"/>
                  </a:lnTo>
                  <a:lnTo>
                    <a:pt x="2052" y="275"/>
                  </a:lnTo>
                  <a:lnTo>
                    <a:pt x="2049" y="273"/>
                  </a:lnTo>
                  <a:lnTo>
                    <a:pt x="2045" y="271"/>
                  </a:lnTo>
                  <a:lnTo>
                    <a:pt x="2041" y="269"/>
                  </a:lnTo>
                  <a:lnTo>
                    <a:pt x="2031" y="267"/>
                  </a:lnTo>
                  <a:lnTo>
                    <a:pt x="2025" y="267"/>
                  </a:lnTo>
                  <a:lnTo>
                    <a:pt x="2018" y="267"/>
                  </a:lnTo>
                  <a:lnTo>
                    <a:pt x="2009" y="267"/>
                  </a:lnTo>
                  <a:lnTo>
                    <a:pt x="2000" y="268"/>
                  </a:lnTo>
                  <a:lnTo>
                    <a:pt x="1992" y="269"/>
                  </a:lnTo>
                  <a:lnTo>
                    <a:pt x="1983" y="270"/>
                  </a:lnTo>
                  <a:lnTo>
                    <a:pt x="1974" y="272"/>
                  </a:lnTo>
                  <a:lnTo>
                    <a:pt x="1966" y="274"/>
                  </a:lnTo>
                  <a:lnTo>
                    <a:pt x="1958" y="277"/>
                  </a:lnTo>
                  <a:lnTo>
                    <a:pt x="1950" y="280"/>
                  </a:lnTo>
                  <a:lnTo>
                    <a:pt x="1934" y="286"/>
                  </a:lnTo>
                  <a:lnTo>
                    <a:pt x="1920" y="293"/>
                  </a:lnTo>
                  <a:lnTo>
                    <a:pt x="1907" y="300"/>
                  </a:lnTo>
                  <a:lnTo>
                    <a:pt x="1895" y="308"/>
                  </a:lnTo>
                  <a:lnTo>
                    <a:pt x="1893" y="309"/>
                  </a:lnTo>
                  <a:lnTo>
                    <a:pt x="1891" y="309"/>
                  </a:lnTo>
                  <a:lnTo>
                    <a:pt x="1889" y="309"/>
                  </a:lnTo>
                  <a:lnTo>
                    <a:pt x="1888" y="309"/>
                  </a:lnTo>
                  <a:lnTo>
                    <a:pt x="1886" y="307"/>
                  </a:lnTo>
                  <a:lnTo>
                    <a:pt x="1885" y="306"/>
                  </a:lnTo>
                  <a:lnTo>
                    <a:pt x="1830" y="230"/>
                  </a:lnTo>
                  <a:lnTo>
                    <a:pt x="1828" y="227"/>
                  </a:lnTo>
                  <a:lnTo>
                    <a:pt x="1828" y="225"/>
                  </a:lnTo>
                  <a:lnTo>
                    <a:pt x="1829" y="224"/>
                  </a:lnTo>
                  <a:lnTo>
                    <a:pt x="1830" y="221"/>
                  </a:lnTo>
                  <a:lnTo>
                    <a:pt x="1831" y="220"/>
                  </a:lnTo>
                  <a:lnTo>
                    <a:pt x="1847" y="207"/>
                  </a:lnTo>
                  <a:lnTo>
                    <a:pt x="1866" y="195"/>
                  </a:lnTo>
                  <a:lnTo>
                    <a:pt x="1876" y="189"/>
                  </a:lnTo>
                  <a:lnTo>
                    <a:pt x="1887" y="184"/>
                  </a:lnTo>
                  <a:lnTo>
                    <a:pt x="1899" y="178"/>
                  </a:lnTo>
                  <a:lnTo>
                    <a:pt x="1912" y="173"/>
                  </a:lnTo>
                  <a:lnTo>
                    <a:pt x="1925" y="169"/>
                  </a:lnTo>
                  <a:lnTo>
                    <a:pt x="1939" y="165"/>
                  </a:lnTo>
                  <a:lnTo>
                    <a:pt x="1954" y="161"/>
                  </a:lnTo>
                  <a:lnTo>
                    <a:pt x="1970" y="158"/>
                  </a:lnTo>
                  <a:lnTo>
                    <a:pt x="1987" y="155"/>
                  </a:lnTo>
                  <a:lnTo>
                    <a:pt x="2005" y="153"/>
                  </a:lnTo>
                  <a:lnTo>
                    <a:pt x="2023" y="152"/>
                  </a:lnTo>
                  <a:lnTo>
                    <a:pt x="2043" y="152"/>
                  </a:lnTo>
                  <a:lnTo>
                    <a:pt x="2054" y="152"/>
                  </a:lnTo>
                  <a:lnTo>
                    <a:pt x="2065" y="152"/>
                  </a:lnTo>
                  <a:lnTo>
                    <a:pt x="2086" y="154"/>
                  </a:lnTo>
                  <a:lnTo>
                    <a:pt x="2096" y="156"/>
                  </a:lnTo>
                  <a:lnTo>
                    <a:pt x="2105" y="158"/>
                  </a:lnTo>
                  <a:lnTo>
                    <a:pt x="2114" y="160"/>
                  </a:lnTo>
                  <a:lnTo>
                    <a:pt x="2122" y="163"/>
                  </a:lnTo>
                  <a:lnTo>
                    <a:pt x="2130" y="166"/>
                  </a:lnTo>
                  <a:lnTo>
                    <a:pt x="2138" y="169"/>
                  </a:lnTo>
                  <a:lnTo>
                    <a:pt x="2145" y="172"/>
                  </a:lnTo>
                  <a:lnTo>
                    <a:pt x="2152" y="176"/>
                  </a:lnTo>
                  <a:lnTo>
                    <a:pt x="2159" y="181"/>
                  </a:lnTo>
                  <a:lnTo>
                    <a:pt x="2165" y="185"/>
                  </a:lnTo>
                  <a:lnTo>
                    <a:pt x="2170" y="190"/>
                  </a:lnTo>
                  <a:lnTo>
                    <a:pt x="2176" y="196"/>
                  </a:lnTo>
                  <a:lnTo>
                    <a:pt x="2181" y="201"/>
                  </a:lnTo>
                  <a:lnTo>
                    <a:pt x="2186" y="207"/>
                  </a:lnTo>
                  <a:lnTo>
                    <a:pt x="2190" y="214"/>
                  </a:lnTo>
                  <a:lnTo>
                    <a:pt x="2194" y="220"/>
                  </a:lnTo>
                  <a:lnTo>
                    <a:pt x="2197" y="227"/>
                  </a:lnTo>
                  <a:lnTo>
                    <a:pt x="2201" y="235"/>
                  </a:lnTo>
                  <a:lnTo>
                    <a:pt x="2204" y="242"/>
                  </a:lnTo>
                  <a:lnTo>
                    <a:pt x="2206" y="251"/>
                  </a:lnTo>
                  <a:lnTo>
                    <a:pt x="2209" y="259"/>
                  </a:lnTo>
                  <a:lnTo>
                    <a:pt x="2211" y="268"/>
                  </a:lnTo>
                  <a:lnTo>
                    <a:pt x="2212" y="277"/>
                  </a:lnTo>
                  <a:lnTo>
                    <a:pt x="2214" y="287"/>
                  </a:lnTo>
                  <a:lnTo>
                    <a:pt x="2215" y="296"/>
                  </a:lnTo>
                  <a:lnTo>
                    <a:pt x="2215" y="307"/>
                  </a:lnTo>
                  <a:lnTo>
                    <a:pt x="2216" y="317"/>
                  </a:lnTo>
                  <a:lnTo>
                    <a:pt x="2216" y="328"/>
                  </a:lnTo>
                  <a:lnTo>
                    <a:pt x="2216" y="478"/>
                  </a:lnTo>
                  <a:lnTo>
                    <a:pt x="2217" y="512"/>
                  </a:lnTo>
                  <a:lnTo>
                    <a:pt x="2218" y="539"/>
                  </a:lnTo>
                  <a:lnTo>
                    <a:pt x="2220" y="549"/>
                  </a:lnTo>
                  <a:lnTo>
                    <a:pt x="2221" y="559"/>
                  </a:lnTo>
                  <a:lnTo>
                    <a:pt x="2223" y="566"/>
                  </a:lnTo>
                  <a:lnTo>
                    <a:pt x="2225" y="572"/>
                  </a:lnTo>
                  <a:close/>
                  <a:moveTo>
                    <a:pt x="1869" y="7"/>
                  </a:moveTo>
                  <a:lnTo>
                    <a:pt x="1869" y="5"/>
                  </a:lnTo>
                  <a:lnTo>
                    <a:pt x="1870" y="3"/>
                  </a:lnTo>
                  <a:lnTo>
                    <a:pt x="1873" y="0"/>
                  </a:lnTo>
                  <a:lnTo>
                    <a:pt x="1875" y="0"/>
                  </a:lnTo>
                  <a:lnTo>
                    <a:pt x="1877" y="0"/>
                  </a:lnTo>
                  <a:lnTo>
                    <a:pt x="1987" y="0"/>
                  </a:lnTo>
                  <a:lnTo>
                    <a:pt x="1989" y="0"/>
                  </a:lnTo>
                  <a:lnTo>
                    <a:pt x="1991" y="1"/>
                  </a:lnTo>
                  <a:lnTo>
                    <a:pt x="1994" y="3"/>
                  </a:lnTo>
                  <a:lnTo>
                    <a:pt x="1994" y="6"/>
                  </a:lnTo>
                  <a:lnTo>
                    <a:pt x="1995" y="7"/>
                  </a:lnTo>
                  <a:lnTo>
                    <a:pt x="1995" y="121"/>
                  </a:lnTo>
                  <a:lnTo>
                    <a:pt x="1994" y="123"/>
                  </a:lnTo>
                  <a:lnTo>
                    <a:pt x="1993" y="125"/>
                  </a:lnTo>
                  <a:lnTo>
                    <a:pt x="1991" y="128"/>
                  </a:lnTo>
                  <a:lnTo>
                    <a:pt x="1988" y="128"/>
                  </a:lnTo>
                  <a:lnTo>
                    <a:pt x="1987" y="129"/>
                  </a:lnTo>
                  <a:lnTo>
                    <a:pt x="1877" y="129"/>
                  </a:lnTo>
                  <a:lnTo>
                    <a:pt x="1874" y="128"/>
                  </a:lnTo>
                  <a:lnTo>
                    <a:pt x="1872" y="127"/>
                  </a:lnTo>
                  <a:lnTo>
                    <a:pt x="1870" y="125"/>
                  </a:lnTo>
                  <a:lnTo>
                    <a:pt x="1869" y="122"/>
                  </a:lnTo>
                  <a:lnTo>
                    <a:pt x="1869" y="121"/>
                  </a:lnTo>
                  <a:lnTo>
                    <a:pt x="1869" y="7"/>
                  </a:lnTo>
                  <a:close/>
                  <a:moveTo>
                    <a:pt x="2047" y="121"/>
                  </a:moveTo>
                  <a:lnTo>
                    <a:pt x="2047" y="7"/>
                  </a:lnTo>
                  <a:lnTo>
                    <a:pt x="2047" y="5"/>
                  </a:lnTo>
                  <a:lnTo>
                    <a:pt x="2048" y="3"/>
                  </a:lnTo>
                  <a:lnTo>
                    <a:pt x="2051" y="0"/>
                  </a:lnTo>
                  <a:lnTo>
                    <a:pt x="2053" y="0"/>
                  </a:lnTo>
                  <a:lnTo>
                    <a:pt x="2054" y="0"/>
                  </a:lnTo>
                  <a:lnTo>
                    <a:pt x="2165" y="0"/>
                  </a:lnTo>
                  <a:lnTo>
                    <a:pt x="2167" y="0"/>
                  </a:lnTo>
                  <a:lnTo>
                    <a:pt x="2169" y="1"/>
                  </a:lnTo>
                  <a:lnTo>
                    <a:pt x="2171" y="3"/>
                  </a:lnTo>
                  <a:lnTo>
                    <a:pt x="2172" y="6"/>
                  </a:lnTo>
                  <a:lnTo>
                    <a:pt x="2172" y="7"/>
                  </a:lnTo>
                  <a:lnTo>
                    <a:pt x="2172" y="121"/>
                  </a:lnTo>
                  <a:lnTo>
                    <a:pt x="2172" y="123"/>
                  </a:lnTo>
                  <a:lnTo>
                    <a:pt x="2171" y="125"/>
                  </a:lnTo>
                  <a:lnTo>
                    <a:pt x="2169" y="127"/>
                  </a:lnTo>
                  <a:lnTo>
                    <a:pt x="2166" y="128"/>
                  </a:lnTo>
                  <a:lnTo>
                    <a:pt x="2165" y="128"/>
                  </a:lnTo>
                  <a:lnTo>
                    <a:pt x="2054" y="128"/>
                  </a:lnTo>
                  <a:lnTo>
                    <a:pt x="2052" y="128"/>
                  </a:lnTo>
                  <a:lnTo>
                    <a:pt x="2050" y="127"/>
                  </a:lnTo>
                  <a:lnTo>
                    <a:pt x="2048" y="125"/>
                  </a:lnTo>
                  <a:lnTo>
                    <a:pt x="2047" y="122"/>
                  </a:lnTo>
                  <a:lnTo>
                    <a:pt x="2047" y="121"/>
                  </a:lnTo>
                  <a:close/>
                  <a:moveTo>
                    <a:pt x="1274" y="585"/>
                  </a:moveTo>
                  <a:lnTo>
                    <a:pt x="1249" y="584"/>
                  </a:lnTo>
                  <a:lnTo>
                    <a:pt x="1226" y="583"/>
                  </a:lnTo>
                  <a:lnTo>
                    <a:pt x="1207" y="580"/>
                  </a:lnTo>
                  <a:lnTo>
                    <a:pt x="1190" y="576"/>
                  </a:lnTo>
                  <a:lnTo>
                    <a:pt x="1175" y="571"/>
                  </a:lnTo>
                  <a:lnTo>
                    <a:pt x="1168" y="568"/>
                  </a:lnTo>
                  <a:lnTo>
                    <a:pt x="1162" y="565"/>
                  </a:lnTo>
                  <a:lnTo>
                    <a:pt x="1156" y="561"/>
                  </a:lnTo>
                  <a:lnTo>
                    <a:pt x="1151" y="558"/>
                  </a:lnTo>
                  <a:lnTo>
                    <a:pt x="1149" y="556"/>
                  </a:lnTo>
                  <a:lnTo>
                    <a:pt x="1147" y="554"/>
                  </a:lnTo>
                  <a:lnTo>
                    <a:pt x="1143" y="550"/>
                  </a:lnTo>
                  <a:lnTo>
                    <a:pt x="1139" y="545"/>
                  </a:lnTo>
                  <a:lnTo>
                    <a:pt x="1135" y="541"/>
                  </a:lnTo>
                  <a:lnTo>
                    <a:pt x="1130" y="531"/>
                  </a:lnTo>
                  <a:lnTo>
                    <a:pt x="1127" y="525"/>
                  </a:lnTo>
                  <a:lnTo>
                    <a:pt x="1125" y="520"/>
                  </a:lnTo>
                  <a:lnTo>
                    <a:pt x="1122" y="508"/>
                  </a:lnTo>
                  <a:lnTo>
                    <a:pt x="1121" y="502"/>
                  </a:lnTo>
                  <a:lnTo>
                    <a:pt x="1120" y="496"/>
                  </a:lnTo>
                  <a:lnTo>
                    <a:pt x="1119" y="482"/>
                  </a:lnTo>
                  <a:lnTo>
                    <a:pt x="1118" y="468"/>
                  </a:lnTo>
                  <a:lnTo>
                    <a:pt x="1118" y="453"/>
                  </a:lnTo>
                  <a:lnTo>
                    <a:pt x="1118" y="278"/>
                  </a:lnTo>
                  <a:lnTo>
                    <a:pt x="1117" y="276"/>
                  </a:lnTo>
                  <a:lnTo>
                    <a:pt x="1117" y="274"/>
                  </a:lnTo>
                  <a:lnTo>
                    <a:pt x="1114" y="272"/>
                  </a:lnTo>
                  <a:lnTo>
                    <a:pt x="1111" y="271"/>
                  </a:lnTo>
                  <a:lnTo>
                    <a:pt x="1110" y="271"/>
                  </a:lnTo>
                  <a:lnTo>
                    <a:pt x="1067" y="271"/>
                  </a:lnTo>
                  <a:lnTo>
                    <a:pt x="1064" y="270"/>
                  </a:lnTo>
                  <a:lnTo>
                    <a:pt x="1062" y="269"/>
                  </a:lnTo>
                  <a:lnTo>
                    <a:pt x="1060" y="267"/>
                  </a:lnTo>
                  <a:lnTo>
                    <a:pt x="1059" y="264"/>
                  </a:lnTo>
                  <a:lnTo>
                    <a:pt x="1059" y="263"/>
                  </a:lnTo>
                  <a:lnTo>
                    <a:pt x="1059" y="167"/>
                  </a:lnTo>
                  <a:lnTo>
                    <a:pt x="1059" y="164"/>
                  </a:lnTo>
                  <a:lnTo>
                    <a:pt x="1060" y="162"/>
                  </a:lnTo>
                  <a:lnTo>
                    <a:pt x="1063" y="160"/>
                  </a:lnTo>
                  <a:lnTo>
                    <a:pt x="1065" y="159"/>
                  </a:lnTo>
                  <a:lnTo>
                    <a:pt x="1067" y="159"/>
                  </a:lnTo>
                  <a:lnTo>
                    <a:pt x="1110" y="159"/>
                  </a:lnTo>
                  <a:lnTo>
                    <a:pt x="1113" y="159"/>
                  </a:lnTo>
                  <a:lnTo>
                    <a:pt x="1115" y="158"/>
                  </a:lnTo>
                  <a:lnTo>
                    <a:pt x="1117" y="157"/>
                  </a:lnTo>
                  <a:lnTo>
                    <a:pt x="1118" y="156"/>
                  </a:lnTo>
                  <a:lnTo>
                    <a:pt x="1120" y="153"/>
                  </a:lnTo>
                  <a:lnTo>
                    <a:pt x="1121" y="152"/>
                  </a:lnTo>
                  <a:lnTo>
                    <a:pt x="1170" y="25"/>
                  </a:lnTo>
                  <a:lnTo>
                    <a:pt x="1171" y="23"/>
                  </a:lnTo>
                  <a:lnTo>
                    <a:pt x="1173" y="21"/>
                  </a:lnTo>
                  <a:lnTo>
                    <a:pt x="1175" y="20"/>
                  </a:lnTo>
                  <a:lnTo>
                    <a:pt x="1176" y="19"/>
                  </a:lnTo>
                  <a:lnTo>
                    <a:pt x="1179" y="18"/>
                  </a:lnTo>
                  <a:lnTo>
                    <a:pt x="1180" y="18"/>
                  </a:lnTo>
                  <a:lnTo>
                    <a:pt x="1265" y="18"/>
                  </a:lnTo>
                  <a:lnTo>
                    <a:pt x="1268" y="19"/>
                  </a:lnTo>
                  <a:lnTo>
                    <a:pt x="1270" y="19"/>
                  </a:lnTo>
                  <a:lnTo>
                    <a:pt x="1272" y="22"/>
                  </a:lnTo>
                  <a:lnTo>
                    <a:pt x="1273" y="25"/>
                  </a:lnTo>
                  <a:lnTo>
                    <a:pt x="1273" y="26"/>
                  </a:lnTo>
                  <a:lnTo>
                    <a:pt x="1273" y="152"/>
                  </a:lnTo>
                  <a:lnTo>
                    <a:pt x="1273" y="154"/>
                  </a:lnTo>
                  <a:lnTo>
                    <a:pt x="1274" y="156"/>
                  </a:lnTo>
                  <a:lnTo>
                    <a:pt x="1277" y="158"/>
                  </a:lnTo>
                  <a:lnTo>
                    <a:pt x="1279" y="159"/>
                  </a:lnTo>
                  <a:lnTo>
                    <a:pt x="1281" y="159"/>
                  </a:lnTo>
                  <a:lnTo>
                    <a:pt x="1374" y="159"/>
                  </a:lnTo>
                  <a:lnTo>
                    <a:pt x="1376" y="160"/>
                  </a:lnTo>
                  <a:lnTo>
                    <a:pt x="1378" y="161"/>
                  </a:lnTo>
                  <a:lnTo>
                    <a:pt x="1381" y="163"/>
                  </a:lnTo>
                  <a:lnTo>
                    <a:pt x="1381" y="166"/>
                  </a:lnTo>
                  <a:lnTo>
                    <a:pt x="1381" y="167"/>
                  </a:lnTo>
                  <a:lnTo>
                    <a:pt x="1381" y="263"/>
                  </a:lnTo>
                  <a:lnTo>
                    <a:pt x="1381" y="266"/>
                  </a:lnTo>
                  <a:lnTo>
                    <a:pt x="1380" y="268"/>
                  </a:lnTo>
                  <a:lnTo>
                    <a:pt x="1378" y="270"/>
                  </a:lnTo>
                  <a:lnTo>
                    <a:pt x="1375" y="271"/>
                  </a:lnTo>
                  <a:lnTo>
                    <a:pt x="1374" y="271"/>
                  </a:lnTo>
                  <a:lnTo>
                    <a:pt x="1281" y="271"/>
                  </a:lnTo>
                  <a:lnTo>
                    <a:pt x="1278" y="271"/>
                  </a:lnTo>
                  <a:lnTo>
                    <a:pt x="1276" y="272"/>
                  </a:lnTo>
                  <a:lnTo>
                    <a:pt x="1274" y="275"/>
                  </a:lnTo>
                  <a:lnTo>
                    <a:pt x="1273" y="277"/>
                  </a:lnTo>
                  <a:lnTo>
                    <a:pt x="1273" y="278"/>
                  </a:lnTo>
                  <a:lnTo>
                    <a:pt x="1273" y="419"/>
                  </a:lnTo>
                  <a:lnTo>
                    <a:pt x="1274" y="434"/>
                  </a:lnTo>
                  <a:lnTo>
                    <a:pt x="1275" y="446"/>
                  </a:lnTo>
                  <a:lnTo>
                    <a:pt x="1277" y="452"/>
                  </a:lnTo>
                  <a:lnTo>
                    <a:pt x="1279" y="456"/>
                  </a:lnTo>
                  <a:lnTo>
                    <a:pt x="1281" y="460"/>
                  </a:lnTo>
                  <a:lnTo>
                    <a:pt x="1284" y="463"/>
                  </a:lnTo>
                  <a:lnTo>
                    <a:pt x="1287" y="466"/>
                  </a:lnTo>
                  <a:lnTo>
                    <a:pt x="1291" y="469"/>
                  </a:lnTo>
                  <a:lnTo>
                    <a:pt x="1296" y="471"/>
                  </a:lnTo>
                  <a:lnTo>
                    <a:pt x="1301" y="472"/>
                  </a:lnTo>
                  <a:lnTo>
                    <a:pt x="1307" y="473"/>
                  </a:lnTo>
                  <a:lnTo>
                    <a:pt x="1313" y="474"/>
                  </a:lnTo>
                  <a:lnTo>
                    <a:pt x="1320" y="474"/>
                  </a:lnTo>
                  <a:lnTo>
                    <a:pt x="1328" y="475"/>
                  </a:lnTo>
                  <a:lnTo>
                    <a:pt x="1340" y="474"/>
                  </a:lnTo>
                  <a:lnTo>
                    <a:pt x="1351" y="473"/>
                  </a:lnTo>
                  <a:lnTo>
                    <a:pt x="1361" y="472"/>
                  </a:lnTo>
                  <a:lnTo>
                    <a:pt x="1366" y="471"/>
                  </a:lnTo>
                  <a:lnTo>
                    <a:pt x="1367" y="471"/>
                  </a:lnTo>
                  <a:lnTo>
                    <a:pt x="1368" y="471"/>
                  </a:lnTo>
                  <a:lnTo>
                    <a:pt x="1369" y="474"/>
                  </a:lnTo>
                  <a:lnTo>
                    <a:pt x="1370" y="477"/>
                  </a:lnTo>
                  <a:lnTo>
                    <a:pt x="1370" y="564"/>
                  </a:lnTo>
                  <a:lnTo>
                    <a:pt x="1369" y="569"/>
                  </a:lnTo>
                  <a:lnTo>
                    <a:pt x="1369" y="572"/>
                  </a:lnTo>
                  <a:lnTo>
                    <a:pt x="1368" y="575"/>
                  </a:lnTo>
                  <a:lnTo>
                    <a:pt x="1366" y="577"/>
                  </a:lnTo>
                  <a:lnTo>
                    <a:pt x="1364" y="578"/>
                  </a:lnTo>
                  <a:lnTo>
                    <a:pt x="1362" y="579"/>
                  </a:lnTo>
                  <a:lnTo>
                    <a:pt x="1358" y="580"/>
                  </a:lnTo>
                  <a:lnTo>
                    <a:pt x="1340" y="582"/>
                  </a:lnTo>
                  <a:lnTo>
                    <a:pt x="1317" y="583"/>
                  </a:lnTo>
                  <a:lnTo>
                    <a:pt x="1294" y="584"/>
                  </a:lnTo>
                  <a:lnTo>
                    <a:pt x="1274" y="585"/>
                  </a:lnTo>
                  <a:close/>
                  <a:moveTo>
                    <a:pt x="0" y="572"/>
                  </a:moveTo>
                  <a:lnTo>
                    <a:pt x="0" y="7"/>
                  </a:lnTo>
                  <a:lnTo>
                    <a:pt x="0" y="5"/>
                  </a:lnTo>
                  <a:lnTo>
                    <a:pt x="1" y="3"/>
                  </a:lnTo>
                  <a:lnTo>
                    <a:pt x="4" y="1"/>
                  </a:lnTo>
                  <a:lnTo>
                    <a:pt x="6" y="0"/>
                  </a:lnTo>
                  <a:lnTo>
                    <a:pt x="7" y="0"/>
                  </a:lnTo>
                  <a:lnTo>
                    <a:pt x="200" y="0"/>
                  </a:lnTo>
                  <a:lnTo>
                    <a:pt x="202" y="0"/>
                  </a:lnTo>
                  <a:lnTo>
                    <a:pt x="204" y="1"/>
                  </a:lnTo>
                  <a:lnTo>
                    <a:pt x="206" y="2"/>
                  </a:lnTo>
                  <a:lnTo>
                    <a:pt x="207" y="3"/>
                  </a:lnTo>
                  <a:lnTo>
                    <a:pt x="209" y="6"/>
                  </a:lnTo>
                  <a:lnTo>
                    <a:pt x="209" y="7"/>
                  </a:lnTo>
                  <a:lnTo>
                    <a:pt x="307" y="386"/>
                  </a:lnTo>
                  <a:lnTo>
                    <a:pt x="307" y="387"/>
                  </a:lnTo>
                  <a:lnTo>
                    <a:pt x="308" y="388"/>
                  </a:lnTo>
                  <a:lnTo>
                    <a:pt x="310" y="389"/>
                  </a:lnTo>
                  <a:lnTo>
                    <a:pt x="312" y="389"/>
                  </a:lnTo>
                  <a:lnTo>
                    <a:pt x="313" y="387"/>
                  </a:lnTo>
                  <a:lnTo>
                    <a:pt x="313" y="386"/>
                  </a:lnTo>
                  <a:lnTo>
                    <a:pt x="401" y="7"/>
                  </a:lnTo>
                  <a:lnTo>
                    <a:pt x="402" y="5"/>
                  </a:lnTo>
                  <a:lnTo>
                    <a:pt x="403" y="3"/>
                  </a:lnTo>
                  <a:lnTo>
                    <a:pt x="406" y="1"/>
                  </a:lnTo>
                  <a:lnTo>
                    <a:pt x="409" y="0"/>
                  </a:lnTo>
                  <a:lnTo>
                    <a:pt x="410" y="0"/>
                  </a:lnTo>
                  <a:lnTo>
                    <a:pt x="607" y="0"/>
                  </a:lnTo>
                  <a:lnTo>
                    <a:pt x="610" y="0"/>
                  </a:lnTo>
                  <a:lnTo>
                    <a:pt x="611" y="1"/>
                  </a:lnTo>
                  <a:lnTo>
                    <a:pt x="614" y="4"/>
                  </a:lnTo>
                  <a:lnTo>
                    <a:pt x="615" y="6"/>
                  </a:lnTo>
                  <a:lnTo>
                    <a:pt x="615" y="7"/>
                  </a:lnTo>
                  <a:lnTo>
                    <a:pt x="615" y="572"/>
                  </a:lnTo>
                  <a:lnTo>
                    <a:pt x="614" y="575"/>
                  </a:lnTo>
                  <a:lnTo>
                    <a:pt x="613" y="576"/>
                  </a:lnTo>
                  <a:lnTo>
                    <a:pt x="611" y="579"/>
                  </a:lnTo>
                  <a:lnTo>
                    <a:pt x="608" y="579"/>
                  </a:lnTo>
                  <a:lnTo>
                    <a:pt x="607" y="580"/>
                  </a:lnTo>
                  <a:lnTo>
                    <a:pt x="473" y="580"/>
                  </a:lnTo>
                  <a:lnTo>
                    <a:pt x="470" y="579"/>
                  </a:lnTo>
                  <a:lnTo>
                    <a:pt x="468" y="578"/>
                  </a:lnTo>
                  <a:lnTo>
                    <a:pt x="466" y="576"/>
                  </a:lnTo>
                  <a:lnTo>
                    <a:pt x="465" y="573"/>
                  </a:lnTo>
                  <a:lnTo>
                    <a:pt x="465" y="572"/>
                  </a:lnTo>
                  <a:lnTo>
                    <a:pt x="465" y="226"/>
                  </a:lnTo>
                  <a:lnTo>
                    <a:pt x="465" y="224"/>
                  </a:lnTo>
                  <a:lnTo>
                    <a:pt x="464" y="223"/>
                  </a:lnTo>
                  <a:lnTo>
                    <a:pt x="463" y="222"/>
                  </a:lnTo>
                  <a:lnTo>
                    <a:pt x="462" y="222"/>
                  </a:lnTo>
                  <a:lnTo>
                    <a:pt x="461" y="222"/>
                  </a:lnTo>
                  <a:lnTo>
                    <a:pt x="460" y="223"/>
                  </a:lnTo>
                  <a:lnTo>
                    <a:pt x="458" y="226"/>
                  </a:lnTo>
                  <a:lnTo>
                    <a:pt x="452" y="264"/>
                  </a:lnTo>
                  <a:lnTo>
                    <a:pt x="446" y="298"/>
                  </a:lnTo>
                  <a:lnTo>
                    <a:pt x="443" y="314"/>
                  </a:lnTo>
                  <a:lnTo>
                    <a:pt x="440" y="330"/>
                  </a:lnTo>
                  <a:lnTo>
                    <a:pt x="436" y="346"/>
                  </a:lnTo>
                  <a:lnTo>
                    <a:pt x="432" y="362"/>
                  </a:lnTo>
                  <a:lnTo>
                    <a:pt x="373" y="572"/>
                  </a:lnTo>
                  <a:lnTo>
                    <a:pt x="372" y="575"/>
                  </a:lnTo>
                  <a:lnTo>
                    <a:pt x="371" y="577"/>
                  </a:lnTo>
                  <a:lnTo>
                    <a:pt x="368" y="579"/>
                  </a:lnTo>
                  <a:lnTo>
                    <a:pt x="365" y="579"/>
                  </a:lnTo>
                  <a:lnTo>
                    <a:pt x="364" y="580"/>
                  </a:lnTo>
                  <a:lnTo>
                    <a:pt x="241" y="580"/>
                  </a:lnTo>
                  <a:lnTo>
                    <a:pt x="238" y="579"/>
                  </a:lnTo>
                  <a:lnTo>
                    <a:pt x="236" y="578"/>
                  </a:lnTo>
                  <a:lnTo>
                    <a:pt x="234" y="577"/>
                  </a:lnTo>
                  <a:lnTo>
                    <a:pt x="233" y="576"/>
                  </a:lnTo>
                  <a:lnTo>
                    <a:pt x="232" y="573"/>
                  </a:lnTo>
                  <a:lnTo>
                    <a:pt x="231" y="572"/>
                  </a:lnTo>
                  <a:lnTo>
                    <a:pt x="174" y="362"/>
                  </a:lnTo>
                  <a:lnTo>
                    <a:pt x="169" y="345"/>
                  </a:lnTo>
                  <a:lnTo>
                    <a:pt x="165" y="330"/>
                  </a:lnTo>
                  <a:lnTo>
                    <a:pt x="159" y="301"/>
                  </a:lnTo>
                  <a:lnTo>
                    <a:pt x="153" y="268"/>
                  </a:lnTo>
                  <a:lnTo>
                    <a:pt x="146" y="224"/>
                  </a:lnTo>
                  <a:lnTo>
                    <a:pt x="146" y="223"/>
                  </a:lnTo>
                  <a:lnTo>
                    <a:pt x="145" y="222"/>
                  </a:lnTo>
                  <a:lnTo>
                    <a:pt x="142" y="221"/>
                  </a:lnTo>
                  <a:lnTo>
                    <a:pt x="140" y="222"/>
                  </a:lnTo>
                  <a:lnTo>
                    <a:pt x="140" y="223"/>
                  </a:lnTo>
                  <a:lnTo>
                    <a:pt x="139" y="224"/>
                  </a:lnTo>
                  <a:lnTo>
                    <a:pt x="139" y="572"/>
                  </a:lnTo>
                  <a:lnTo>
                    <a:pt x="139" y="575"/>
                  </a:lnTo>
                  <a:lnTo>
                    <a:pt x="138" y="576"/>
                  </a:lnTo>
                  <a:lnTo>
                    <a:pt x="136" y="579"/>
                  </a:lnTo>
                  <a:lnTo>
                    <a:pt x="133" y="579"/>
                  </a:lnTo>
                  <a:lnTo>
                    <a:pt x="132" y="580"/>
                  </a:lnTo>
                  <a:lnTo>
                    <a:pt x="8" y="580"/>
                  </a:lnTo>
                  <a:lnTo>
                    <a:pt x="5" y="579"/>
                  </a:lnTo>
                  <a:lnTo>
                    <a:pt x="3" y="578"/>
                  </a:lnTo>
                  <a:lnTo>
                    <a:pt x="1" y="576"/>
                  </a:lnTo>
                  <a:lnTo>
                    <a:pt x="0" y="573"/>
                  </a:lnTo>
                  <a:lnTo>
                    <a:pt x="0" y="572"/>
                  </a:lnTo>
                  <a:close/>
                  <a:moveTo>
                    <a:pt x="1063" y="408"/>
                  </a:moveTo>
                  <a:lnTo>
                    <a:pt x="1062" y="410"/>
                  </a:lnTo>
                  <a:lnTo>
                    <a:pt x="1062" y="412"/>
                  </a:lnTo>
                  <a:lnTo>
                    <a:pt x="1061" y="413"/>
                  </a:lnTo>
                  <a:lnTo>
                    <a:pt x="1060" y="414"/>
                  </a:lnTo>
                  <a:lnTo>
                    <a:pt x="1058" y="414"/>
                  </a:lnTo>
                  <a:lnTo>
                    <a:pt x="1057" y="414"/>
                  </a:lnTo>
                  <a:lnTo>
                    <a:pt x="801" y="414"/>
                  </a:lnTo>
                  <a:lnTo>
                    <a:pt x="799" y="415"/>
                  </a:lnTo>
                  <a:lnTo>
                    <a:pt x="797" y="415"/>
                  </a:lnTo>
                  <a:lnTo>
                    <a:pt x="796" y="417"/>
                  </a:lnTo>
                  <a:lnTo>
                    <a:pt x="795" y="418"/>
                  </a:lnTo>
                  <a:lnTo>
                    <a:pt x="795" y="421"/>
                  </a:lnTo>
                  <a:lnTo>
                    <a:pt x="795" y="422"/>
                  </a:lnTo>
                  <a:lnTo>
                    <a:pt x="796" y="430"/>
                  </a:lnTo>
                  <a:lnTo>
                    <a:pt x="799" y="438"/>
                  </a:lnTo>
                  <a:lnTo>
                    <a:pt x="801" y="445"/>
                  </a:lnTo>
                  <a:lnTo>
                    <a:pt x="804" y="451"/>
                  </a:lnTo>
                  <a:lnTo>
                    <a:pt x="808" y="457"/>
                  </a:lnTo>
                  <a:lnTo>
                    <a:pt x="812" y="462"/>
                  </a:lnTo>
                  <a:lnTo>
                    <a:pt x="817" y="466"/>
                  </a:lnTo>
                  <a:lnTo>
                    <a:pt x="822" y="470"/>
                  </a:lnTo>
                  <a:lnTo>
                    <a:pt x="827" y="473"/>
                  </a:lnTo>
                  <a:lnTo>
                    <a:pt x="833" y="476"/>
                  </a:lnTo>
                  <a:lnTo>
                    <a:pt x="840" y="478"/>
                  </a:lnTo>
                  <a:lnTo>
                    <a:pt x="846" y="480"/>
                  </a:lnTo>
                  <a:lnTo>
                    <a:pt x="854" y="481"/>
                  </a:lnTo>
                  <a:lnTo>
                    <a:pt x="861" y="482"/>
                  </a:lnTo>
                  <a:lnTo>
                    <a:pt x="878" y="482"/>
                  </a:lnTo>
                  <a:lnTo>
                    <a:pt x="886" y="482"/>
                  </a:lnTo>
                  <a:lnTo>
                    <a:pt x="894" y="481"/>
                  </a:lnTo>
                  <a:lnTo>
                    <a:pt x="903" y="480"/>
                  </a:lnTo>
                  <a:lnTo>
                    <a:pt x="911" y="479"/>
                  </a:lnTo>
                  <a:lnTo>
                    <a:pt x="928" y="475"/>
                  </a:lnTo>
                  <a:lnTo>
                    <a:pt x="943" y="470"/>
                  </a:lnTo>
                  <a:lnTo>
                    <a:pt x="958" y="464"/>
                  </a:lnTo>
                  <a:lnTo>
                    <a:pt x="971" y="459"/>
                  </a:lnTo>
                  <a:lnTo>
                    <a:pt x="983" y="453"/>
                  </a:lnTo>
                  <a:lnTo>
                    <a:pt x="992" y="448"/>
                  </a:lnTo>
                  <a:lnTo>
                    <a:pt x="994" y="447"/>
                  </a:lnTo>
                  <a:lnTo>
                    <a:pt x="996" y="447"/>
                  </a:lnTo>
                  <a:lnTo>
                    <a:pt x="998" y="447"/>
                  </a:lnTo>
                  <a:lnTo>
                    <a:pt x="999" y="448"/>
                  </a:lnTo>
                  <a:lnTo>
                    <a:pt x="1002" y="450"/>
                  </a:lnTo>
                  <a:lnTo>
                    <a:pt x="1050" y="531"/>
                  </a:lnTo>
                  <a:lnTo>
                    <a:pt x="1052" y="535"/>
                  </a:lnTo>
                  <a:lnTo>
                    <a:pt x="1052" y="537"/>
                  </a:lnTo>
                  <a:lnTo>
                    <a:pt x="1051" y="538"/>
                  </a:lnTo>
                  <a:lnTo>
                    <a:pt x="1051" y="540"/>
                  </a:lnTo>
                  <a:lnTo>
                    <a:pt x="1050" y="540"/>
                  </a:lnTo>
                  <a:lnTo>
                    <a:pt x="1048" y="542"/>
                  </a:lnTo>
                  <a:lnTo>
                    <a:pt x="1038" y="547"/>
                  </a:lnTo>
                  <a:lnTo>
                    <a:pt x="1028" y="553"/>
                  </a:lnTo>
                  <a:lnTo>
                    <a:pt x="1018" y="558"/>
                  </a:lnTo>
                  <a:lnTo>
                    <a:pt x="1007" y="562"/>
                  </a:lnTo>
                  <a:lnTo>
                    <a:pt x="996" y="567"/>
                  </a:lnTo>
                  <a:lnTo>
                    <a:pt x="985" y="570"/>
                  </a:lnTo>
                  <a:lnTo>
                    <a:pt x="974" y="574"/>
                  </a:lnTo>
                  <a:lnTo>
                    <a:pt x="963" y="577"/>
                  </a:lnTo>
                  <a:lnTo>
                    <a:pt x="951" y="580"/>
                  </a:lnTo>
                  <a:lnTo>
                    <a:pt x="939" y="582"/>
                  </a:lnTo>
                  <a:lnTo>
                    <a:pt x="927" y="584"/>
                  </a:lnTo>
                  <a:lnTo>
                    <a:pt x="915" y="585"/>
                  </a:lnTo>
                  <a:lnTo>
                    <a:pt x="903" y="587"/>
                  </a:lnTo>
                  <a:lnTo>
                    <a:pt x="891" y="587"/>
                  </a:lnTo>
                  <a:lnTo>
                    <a:pt x="866" y="588"/>
                  </a:lnTo>
                  <a:lnTo>
                    <a:pt x="844" y="588"/>
                  </a:lnTo>
                  <a:lnTo>
                    <a:pt x="823" y="586"/>
                  </a:lnTo>
                  <a:lnTo>
                    <a:pt x="813" y="584"/>
                  </a:lnTo>
                  <a:lnTo>
                    <a:pt x="802" y="583"/>
                  </a:lnTo>
                  <a:lnTo>
                    <a:pt x="792" y="580"/>
                  </a:lnTo>
                  <a:lnTo>
                    <a:pt x="782" y="578"/>
                  </a:lnTo>
                  <a:lnTo>
                    <a:pt x="772" y="575"/>
                  </a:lnTo>
                  <a:lnTo>
                    <a:pt x="762" y="572"/>
                  </a:lnTo>
                  <a:lnTo>
                    <a:pt x="753" y="568"/>
                  </a:lnTo>
                  <a:lnTo>
                    <a:pt x="744" y="564"/>
                  </a:lnTo>
                  <a:lnTo>
                    <a:pt x="735" y="559"/>
                  </a:lnTo>
                  <a:lnTo>
                    <a:pt x="726" y="554"/>
                  </a:lnTo>
                  <a:lnTo>
                    <a:pt x="718" y="549"/>
                  </a:lnTo>
                  <a:lnTo>
                    <a:pt x="710" y="543"/>
                  </a:lnTo>
                  <a:lnTo>
                    <a:pt x="702" y="537"/>
                  </a:lnTo>
                  <a:lnTo>
                    <a:pt x="694" y="530"/>
                  </a:lnTo>
                  <a:lnTo>
                    <a:pt x="687" y="522"/>
                  </a:lnTo>
                  <a:lnTo>
                    <a:pt x="681" y="514"/>
                  </a:lnTo>
                  <a:lnTo>
                    <a:pt x="675" y="505"/>
                  </a:lnTo>
                  <a:lnTo>
                    <a:pt x="669" y="496"/>
                  </a:lnTo>
                  <a:lnTo>
                    <a:pt x="664" y="486"/>
                  </a:lnTo>
                  <a:lnTo>
                    <a:pt x="659" y="476"/>
                  </a:lnTo>
                  <a:lnTo>
                    <a:pt x="654" y="465"/>
                  </a:lnTo>
                  <a:lnTo>
                    <a:pt x="652" y="459"/>
                  </a:lnTo>
                  <a:lnTo>
                    <a:pt x="651" y="454"/>
                  </a:lnTo>
                  <a:lnTo>
                    <a:pt x="647" y="441"/>
                  </a:lnTo>
                  <a:lnTo>
                    <a:pt x="645" y="429"/>
                  </a:lnTo>
                  <a:lnTo>
                    <a:pt x="642" y="415"/>
                  </a:lnTo>
                  <a:lnTo>
                    <a:pt x="642" y="408"/>
                  </a:lnTo>
                  <a:lnTo>
                    <a:pt x="641" y="401"/>
                  </a:lnTo>
                  <a:lnTo>
                    <a:pt x="640" y="386"/>
                  </a:lnTo>
                  <a:lnTo>
                    <a:pt x="640" y="370"/>
                  </a:lnTo>
                  <a:lnTo>
                    <a:pt x="640" y="355"/>
                  </a:lnTo>
                  <a:lnTo>
                    <a:pt x="641" y="340"/>
                  </a:lnTo>
                  <a:lnTo>
                    <a:pt x="643" y="326"/>
                  </a:lnTo>
                  <a:lnTo>
                    <a:pt x="646" y="313"/>
                  </a:lnTo>
                  <a:lnTo>
                    <a:pt x="649" y="300"/>
                  </a:lnTo>
                  <a:lnTo>
                    <a:pt x="653" y="288"/>
                  </a:lnTo>
                  <a:lnTo>
                    <a:pt x="657" y="276"/>
                  </a:lnTo>
                  <a:lnTo>
                    <a:pt x="662" y="265"/>
                  </a:lnTo>
                  <a:lnTo>
                    <a:pt x="668" y="255"/>
                  </a:lnTo>
                  <a:lnTo>
                    <a:pt x="674" y="245"/>
                  </a:lnTo>
                  <a:lnTo>
                    <a:pt x="680" y="236"/>
                  </a:lnTo>
                  <a:lnTo>
                    <a:pt x="687" y="227"/>
                  </a:lnTo>
                  <a:lnTo>
                    <a:pt x="694" y="219"/>
                  </a:lnTo>
                  <a:lnTo>
                    <a:pt x="702" y="212"/>
                  </a:lnTo>
                  <a:lnTo>
                    <a:pt x="710" y="204"/>
                  </a:lnTo>
                  <a:lnTo>
                    <a:pt x="718" y="198"/>
                  </a:lnTo>
                  <a:lnTo>
                    <a:pt x="727" y="192"/>
                  </a:lnTo>
                  <a:lnTo>
                    <a:pt x="735" y="186"/>
                  </a:lnTo>
                  <a:lnTo>
                    <a:pt x="744" y="181"/>
                  </a:lnTo>
                  <a:lnTo>
                    <a:pt x="753" y="177"/>
                  </a:lnTo>
                  <a:lnTo>
                    <a:pt x="762" y="172"/>
                  </a:lnTo>
                  <a:lnTo>
                    <a:pt x="771" y="169"/>
                  </a:lnTo>
                  <a:lnTo>
                    <a:pt x="781" y="165"/>
                  </a:lnTo>
                  <a:lnTo>
                    <a:pt x="790" y="162"/>
                  </a:lnTo>
                  <a:lnTo>
                    <a:pt x="799" y="160"/>
                  </a:lnTo>
                  <a:lnTo>
                    <a:pt x="808" y="158"/>
                  </a:lnTo>
                  <a:lnTo>
                    <a:pt x="817" y="156"/>
                  </a:lnTo>
                  <a:lnTo>
                    <a:pt x="826" y="154"/>
                  </a:lnTo>
                  <a:lnTo>
                    <a:pt x="844" y="152"/>
                  </a:lnTo>
                  <a:lnTo>
                    <a:pt x="852" y="152"/>
                  </a:lnTo>
                  <a:lnTo>
                    <a:pt x="860" y="152"/>
                  </a:lnTo>
                  <a:lnTo>
                    <a:pt x="868" y="152"/>
                  </a:lnTo>
                  <a:lnTo>
                    <a:pt x="876" y="152"/>
                  </a:lnTo>
                  <a:lnTo>
                    <a:pt x="893" y="153"/>
                  </a:lnTo>
                  <a:lnTo>
                    <a:pt x="901" y="155"/>
                  </a:lnTo>
                  <a:lnTo>
                    <a:pt x="910" y="156"/>
                  </a:lnTo>
                  <a:lnTo>
                    <a:pt x="927" y="160"/>
                  </a:lnTo>
                  <a:lnTo>
                    <a:pt x="936" y="162"/>
                  </a:lnTo>
                  <a:lnTo>
                    <a:pt x="944" y="165"/>
                  </a:lnTo>
                  <a:lnTo>
                    <a:pt x="953" y="168"/>
                  </a:lnTo>
                  <a:lnTo>
                    <a:pt x="961" y="172"/>
                  </a:lnTo>
                  <a:lnTo>
                    <a:pt x="969" y="177"/>
                  </a:lnTo>
                  <a:lnTo>
                    <a:pt x="977" y="181"/>
                  </a:lnTo>
                  <a:lnTo>
                    <a:pt x="985" y="187"/>
                  </a:lnTo>
                  <a:lnTo>
                    <a:pt x="993" y="193"/>
                  </a:lnTo>
                  <a:lnTo>
                    <a:pt x="1000" y="199"/>
                  </a:lnTo>
                  <a:lnTo>
                    <a:pt x="1007" y="207"/>
                  </a:lnTo>
                  <a:lnTo>
                    <a:pt x="1014" y="215"/>
                  </a:lnTo>
                  <a:lnTo>
                    <a:pt x="1021" y="223"/>
                  </a:lnTo>
                  <a:lnTo>
                    <a:pt x="1027" y="233"/>
                  </a:lnTo>
                  <a:lnTo>
                    <a:pt x="1032" y="243"/>
                  </a:lnTo>
                  <a:lnTo>
                    <a:pt x="1035" y="248"/>
                  </a:lnTo>
                  <a:lnTo>
                    <a:pt x="1038" y="253"/>
                  </a:lnTo>
                  <a:lnTo>
                    <a:pt x="1043" y="265"/>
                  </a:lnTo>
                  <a:lnTo>
                    <a:pt x="1047" y="278"/>
                  </a:lnTo>
                  <a:lnTo>
                    <a:pt x="1051" y="291"/>
                  </a:lnTo>
                  <a:lnTo>
                    <a:pt x="1054" y="305"/>
                  </a:lnTo>
                  <a:lnTo>
                    <a:pt x="1057" y="320"/>
                  </a:lnTo>
                  <a:lnTo>
                    <a:pt x="1060" y="336"/>
                  </a:lnTo>
                  <a:lnTo>
                    <a:pt x="1061" y="354"/>
                  </a:lnTo>
                  <a:lnTo>
                    <a:pt x="1062" y="372"/>
                  </a:lnTo>
                  <a:lnTo>
                    <a:pt x="1063" y="391"/>
                  </a:lnTo>
                  <a:lnTo>
                    <a:pt x="1063" y="408"/>
                  </a:lnTo>
                  <a:close/>
                  <a:moveTo>
                    <a:pt x="918" y="326"/>
                  </a:moveTo>
                  <a:lnTo>
                    <a:pt x="921" y="325"/>
                  </a:lnTo>
                  <a:lnTo>
                    <a:pt x="922" y="325"/>
                  </a:lnTo>
                  <a:lnTo>
                    <a:pt x="923" y="323"/>
                  </a:lnTo>
                  <a:lnTo>
                    <a:pt x="924" y="322"/>
                  </a:lnTo>
                  <a:lnTo>
                    <a:pt x="925" y="319"/>
                  </a:lnTo>
                  <a:lnTo>
                    <a:pt x="924" y="318"/>
                  </a:lnTo>
                  <a:lnTo>
                    <a:pt x="923" y="311"/>
                  </a:lnTo>
                  <a:lnTo>
                    <a:pt x="922" y="304"/>
                  </a:lnTo>
                  <a:lnTo>
                    <a:pt x="920" y="297"/>
                  </a:lnTo>
                  <a:lnTo>
                    <a:pt x="917" y="291"/>
                  </a:lnTo>
                  <a:lnTo>
                    <a:pt x="915" y="286"/>
                  </a:lnTo>
                  <a:lnTo>
                    <a:pt x="911" y="281"/>
                  </a:lnTo>
                  <a:lnTo>
                    <a:pt x="908" y="277"/>
                  </a:lnTo>
                  <a:lnTo>
                    <a:pt x="904" y="273"/>
                  </a:lnTo>
                  <a:lnTo>
                    <a:pt x="900" y="270"/>
                  </a:lnTo>
                  <a:lnTo>
                    <a:pt x="895" y="267"/>
                  </a:lnTo>
                  <a:lnTo>
                    <a:pt x="890" y="265"/>
                  </a:lnTo>
                  <a:lnTo>
                    <a:pt x="885" y="263"/>
                  </a:lnTo>
                  <a:lnTo>
                    <a:pt x="879" y="262"/>
                  </a:lnTo>
                  <a:lnTo>
                    <a:pt x="873" y="261"/>
                  </a:lnTo>
                  <a:lnTo>
                    <a:pt x="866" y="260"/>
                  </a:lnTo>
                  <a:lnTo>
                    <a:pt x="860" y="260"/>
                  </a:lnTo>
                  <a:lnTo>
                    <a:pt x="854" y="260"/>
                  </a:lnTo>
                  <a:lnTo>
                    <a:pt x="849" y="261"/>
                  </a:lnTo>
                  <a:lnTo>
                    <a:pt x="844" y="262"/>
                  </a:lnTo>
                  <a:lnTo>
                    <a:pt x="839" y="263"/>
                  </a:lnTo>
                  <a:lnTo>
                    <a:pt x="834" y="265"/>
                  </a:lnTo>
                  <a:lnTo>
                    <a:pt x="830" y="267"/>
                  </a:lnTo>
                  <a:lnTo>
                    <a:pt x="826" y="270"/>
                  </a:lnTo>
                  <a:lnTo>
                    <a:pt x="821" y="273"/>
                  </a:lnTo>
                  <a:lnTo>
                    <a:pt x="818" y="277"/>
                  </a:lnTo>
                  <a:lnTo>
                    <a:pt x="814" y="281"/>
                  </a:lnTo>
                  <a:lnTo>
                    <a:pt x="810" y="286"/>
                  </a:lnTo>
                  <a:lnTo>
                    <a:pt x="807" y="291"/>
                  </a:lnTo>
                  <a:lnTo>
                    <a:pt x="804" y="297"/>
                  </a:lnTo>
                  <a:lnTo>
                    <a:pt x="802" y="304"/>
                  </a:lnTo>
                  <a:lnTo>
                    <a:pt x="799" y="311"/>
                  </a:lnTo>
                  <a:lnTo>
                    <a:pt x="797" y="318"/>
                  </a:lnTo>
                  <a:lnTo>
                    <a:pt x="797" y="321"/>
                  </a:lnTo>
                  <a:lnTo>
                    <a:pt x="797" y="323"/>
                  </a:lnTo>
                  <a:lnTo>
                    <a:pt x="798" y="324"/>
                  </a:lnTo>
                  <a:lnTo>
                    <a:pt x="799" y="325"/>
                  </a:lnTo>
                  <a:lnTo>
                    <a:pt x="800" y="326"/>
                  </a:lnTo>
                  <a:lnTo>
                    <a:pt x="802" y="326"/>
                  </a:lnTo>
                  <a:lnTo>
                    <a:pt x="918" y="326"/>
                  </a:lnTo>
                  <a:close/>
                  <a:moveTo>
                    <a:pt x="1595" y="588"/>
                  </a:moveTo>
                  <a:lnTo>
                    <a:pt x="1577" y="588"/>
                  </a:lnTo>
                  <a:lnTo>
                    <a:pt x="1560" y="587"/>
                  </a:lnTo>
                  <a:lnTo>
                    <a:pt x="1543" y="585"/>
                  </a:lnTo>
                  <a:lnTo>
                    <a:pt x="1528" y="584"/>
                  </a:lnTo>
                  <a:lnTo>
                    <a:pt x="1513" y="581"/>
                  </a:lnTo>
                  <a:lnTo>
                    <a:pt x="1499" y="578"/>
                  </a:lnTo>
                  <a:lnTo>
                    <a:pt x="1485" y="575"/>
                  </a:lnTo>
                  <a:lnTo>
                    <a:pt x="1472" y="571"/>
                  </a:lnTo>
                  <a:lnTo>
                    <a:pt x="1460" y="567"/>
                  </a:lnTo>
                  <a:lnTo>
                    <a:pt x="1449" y="563"/>
                  </a:lnTo>
                  <a:lnTo>
                    <a:pt x="1438" y="558"/>
                  </a:lnTo>
                  <a:lnTo>
                    <a:pt x="1427" y="553"/>
                  </a:lnTo>
                  <a:lnTo>
                    <a:pt x="1418" y="548"/>
                  </a:lnTo>
                  <a:lnTo>
                    <a:pt x="1409" y="543"/>
                  </a:lnTo>
                  <a:lnTo>
                    <a:pt x="1393" y="532"/>
                  </a:lnTo>
                  <a:lnTo>
                    <a:pt x="1391" y="531"/>
                  </a:lnTo>
                  <a:lnTo>
                    <a:pt x="1390" y="529"/>
                  </a:lnTo>
                  <a:lnTo>
                    <a:pt x="1389" y="527"/>
                  </a:lnTo>
                  <a:lnTo>
                    <a:pt x="1389" y="525"/>
                  </a:lnTo>
                  <a:lnTo>
                    <a:pt x="1390" y="523"/>
                  </a:lnTo>
                  <a:lnTo>
                    <a:pt x="1391" y="522"/>
                  </a:lnTo>
                  <a:lnTo>
                    <a:pt x="1440" y="446"/>
                  </a:lnTo>
                  <a:lnTo>
                    <a:pt x="1442" y="444"/>
                  </a:lnTo>
                  <a:lnTo>
                    <a:pt x="1443" y="444"/>
                  </a:lnTo>
                  <a:lnTo>
                    <a:pt x="1444" y="443"/>
                  </a:lnTo>
                  <a:lnTo>
                    <a:pt x="1446" y="443"/>
                  </a:lnTo>
                  <a:lnTo>
                    <a:pt x="1448" y="444"/>
                  </a:lnTo>
                  <a:lnTo>
                    <a:pt x="1450" y="445"/>
                  </a:lnTo>
                  <a:lnTo>
                    <a:pt x="1465" y="456"/>
                  </a:lnTo>
                  <a:lnTo>
                    <a:pt x="1483" y="465"/>
                  </a:lnTo>
                  <a:lnTo>
                    <a:pt x="1501" y="473"/>
                  </a:lnTo>
                  <a:lnTo>
                    <a:pt x="1510" y="476"/>
                  </a:lnTo>
                  <a:lnTo>
                    <a:pt x="1520" y="479"/>
                  </a:lnTo>
                  <a:lnTo>
                    <a:pt x="1529" y="482"/>
                  </a:lnTo>
                  <a:lnTo>
                    <a:pt x="1539" y="485"/>
                  </a:lnTo>
                  <a:lnTo>
                    <a:pt x="1558" y="489"/>
                  </a:lnTo>
                  <a:lnTo>
                    <a:pt x="1576" y="491"/>
                  </a:lnTo>
                  <a:lnTo>
                    <a:pt x="1594" y="492"/>
                  </a:lnTo>
                  <a:lnTo>
                    <a:pt x="1604" y="491"/>
                  </a:lnTo>
                  <a:lnTo>
                    <a:pt x="1613" y="490"/>
                  </a:lnTo>
                  <a:lnTo>
                    <a:pt x="1622" y="488"/>
                  </a:lnTo>
                  <a:lnTo>
                    <a:pt x="1629" y="486"/>
                  </a:lnTo>
                  <a:lnTo>
                    <a:pt x="1632" y="484"/>
                  </a:lnTo>
                  <a:lnTo>
                    <a:pt x="1635" y="482"/>
                  </a:lnTo>
                  <a:lnTo>
                    <a:pt x="1638" y="480"/>
                  </a:lnTo>
                  <a:lnTo>
                    <a:pt x="1640" y="477"/>
                  </a:lnTo>
                  <a:lnTo>
                    <a:pt x="1642" y="474"/>
                  </a:lnTo>
                  <a:lnTo>
                    <a:pt x="1643" y="471"/>
                  </a:lnTo>
                  <a:lnTo>
                    <a:pt x="1644" y="468"/>
                  </a:lnTo>
                  <a:lnTo>
                    <a:pt x="1644" y="464"/>
                  </a:lnTo>
                  <a:lnTo>
                    <a:pt x="1644" y="461"/>
                  </a:lnTo>
                  <a:lnTo>
                    <a:pt x="1643" y="457"/>
                  </a:lnTo>
                  <a:lnTo>
                    <a:pt x="1642" y="454"/>
                  </a:lnTo>
                  <a:lnTo>
                    <a:pt x="1641" y="451"/>
                  </a:lnTo>
                  <a:lnTo>
                    <a:pt x="1640" y="449"/>
                  </a:lnTo>
                  <a:lnTo>
                    <a:pt x="1638" y="448"/>
                  </a:lnTo>
                  <a:lnTo>
                    <a:pt x="1636" y="445"/>
                  </a:lnTo>
                  <a:lnTo>
                    <a:pt x="1629" y="441"/>
                  </a:lnTo>
                  <a:lnTo>
                    <a:pt x="1620" y="437"/>
                  </a:lnTo>
                  <a:lnTo>
                    <a:pt x="1609" y="434"/>
                  </a:lnTo>
                  <a:lnTo>
                    <a:pt x="1595" y="432"/>
                  </a:lnTo>
                  <a:lnTo>
                    <a:pt x="1579" y="429"/>
                  </a:lnTo>
                  <a:lnTo>
                    <a:pt x="1551" y="425"/>
                  </a:lnTo>
                  <a:lnTo>
                    <a:pt x="1537" y="422"/>
                  </a:lnTo>
                  <a:lnTo>
                    <a:pt x="1522" y="419"/>
                  </a:lnTo>
                  <a:lnTo>
                    <a:pt x="1508" y="415"/>
                  </a:lnTo>
                  <a:lnTo>
                    <a:pt x="1493" y="411"/>
                  </a:lnTo>
                  <a:lnTo>
                    <a:pt x="1480" y="405"/>
                  </a:lnTo>
                  <a:lnTo>
                    <a:pt x="1466" y="398"/>
                  </a:lnTo>
                  <a:lnTo>
                    <a:pt x="1460" y="395"/>
                  </a:lnTo>
                  <a:lnTo>
                    <a:pt x="1454" y="391"/>
                  </a:lnTo>
                  <a:lnTo>
                    <a:pt x="1448" y="386"/>
                  </a:lnTo>
                  <a:lnTo>
                    <a:pt x="1443" y="382"/>
                  </a:lnTo>
                  <a:lnTo>
                    <a:pt x="1438" y="377"/>
                  </a:lnTo>
                  <a:lnTo>
                    <a:pt x="1433" y="371"/>
                  </a:lnTo>
                  <a:lnTo>
                    <a:pt x="1428" y="366"/>
                  </a:lnTo>
                  <a:lnTo>
                    <a:pt x="1424" y="359"/>
                  </a:lnTo>
                  <a:lnTo>
                    <a:pt x="1420" y="353"/>
                  </a:lnTo>
                  <a:lnTo>
                    <a:pt x="1417" y="346"/>
                  </a:lnTo>
                  <a:lnTo>
                    <a:pt x="1414" y="338"/>
                  </a:lnTo>
                  <a:lnTo>
                    <a:pt x="1411" y="330"/>
                  </a:lnTo>
                  <a:lnTo>
                    <a:pt x="1410" y="322"/>
                  </a:lnTo>
                  <a:lnTo>
                    <a:pt x="1408" y="313"/>
                  </a:lnTo>
                  <a:lnTo>
                    <a:pt x="1408" y="308"/>
                  </a:lnTo>
                  <a:lnTo>
                    <a:pt x="1407" y="304"/>
                  </a:lnTo>
                  <a:lnTo>
                    <a:pt x="1407" y="294"/>
                  </a:lnTo>
                  <a:lnTo>
                    <a:pt x="1407" y="285"/>
                  </a:lnTo>
                  <a:lnTo>
                    <a:pt x="1408" y="277"/>
                  </a:lnTo>
                  <a:lnTo>
                    <a:pt x="1409" y="268"/>
                  </a:lnTo>
                  <a:lnTo>
                    <a:pt x="1410" y="261"/>
                  </a:lnTo>
                  <a:lnTo>
                    <a:pt x="1412" y="253"/>
                  </a:lnTo>
                  <a:lnTo>
                    <a:pt x="1415" y="246"/>
                  </a:lnTo>
                  <a:lnTo>
                    <a:pt x="1417" y="239"/>
                  </a:lnTo>
                  <a:lnTo>
                    <a:pt x="1420" y="232"/>
                  </a:lnTo>
                  <a:lnTo>
                    <a:pt x="1424" y="225"/>
                  </a:lnTo>
                  <a:lnTo>
                    <a:pt x="1428" y="219"/>
                  </a:lnTo>
                  <a:lnTo>
                    <a:pt x="1436" y="208"/>
                  </a:lnTo>
                  <a:lnTo>
                    <a:pt x="1441" y="202"/>
                  </a:lnTo>
                  <a:lnTo>
                    <a:pt x="1446" y="197"/>
                  </a:lnTo>
                  <a:lnTo>
                    <a:pt x="1457" y="188"/>
                  </a:lnTo>
                  <a:lnTo>
                    <a:pt x="1463" y="183"/>
                  </a:lnTo>
                  <a:lnTo>
                    <a:pt x="1469" y="179"/>
                  </a:lnTo>
                  <a:lnTo>
                    <a:pt x="1483" y="172"/>
                  </a:lnTo>
                  <a:lnTo>
                    <a:pt x="1490" y="169"/>
                  </a:lnTo>
                  <a:lnTo>
                    <a:pt x="1497" y="166"/>
                  </a:lnTo>
                  <a:lnTo>
                    <a:pt x="1512" y="161"/>
                  </a:lnTo>
                  <a:lnTo>
                    <a:pt x="1528" y="157"/>
                  </a:lnTo>
                  <a:lnTo>
                    <a:pt x="1544" y="154"/>
                  </a:lnTo>
                  <a:lnTo>
                    <a:pt x="1561" y="152"/>
                  </a:lnTo>
                  <a:lnTo>
                    <a:pt x="1579" y="152"/>
                  </a:lnTo>
                  <a:lnTo>
                    <a:pt x="1595" y="152"/>
                  </a:lnTo>
                  <a:lnTo>
                    <a:pt x="1611" y="153"/>
                  </a:lnTo>
                  <a:lnTo>
                    <a:pt x="1626" y="154"/>
                  </a:lnTo>
                  <a:lnTo>
                    <a:pt x="1641" y="156"/>
                  </a:lnTo>
                  <a:lnTo>
                    <a:pt x="1654" y="158"/>
                  </a:lnTo>
                  <a:lnTo>
                    <a:pt x="1667" y="160"/>
                  </a:lnTo>
                  <a:lnTo>
                    <a:pt x="1679" y="163"/>
                  </a:lnTo>
                  <a:lnTo>
                    <a:pt x="1691" y="167"/>
                  </a:lnTo>
                  <a:lnTo>
                    <a:pt x="1702" y="170"/>
                  </a:lnTo>
                  <a:lnTo>
                    <a:pt x="1713" y="174"/>
                  </a:lnTo>
                  <a:lnTo>
                    <a:pt x="1723" y="179"/>
                  </a:lnTo>
                  <a:lnTo>
                    <a:pt x="1733" y="183"/>
                  </a:lnTo>
                  <a:lnTo>
                    <a:pt x="1742" y="188"/>
                  </a:lnTo>
                  <a:lnTo>
                    <a:pt x="1751" y="194"/>
                  </a:lnTo>
                  <a:lnTo>
                    <a:pt x="1768" y="205"/>
                  </a:lnTo>
                  <a:lnTo>
                    <a:pt x="1770" y="207"/>
                  </a:lnTo>
                  <a:lnTo>
                    <a:pt x="1771" y="209"/>
                  </a:lnTo>
                  <a:lnTo>
                    <a:pt x="1772" y="211"/>
                  </a:lnTo>
                  <a:lnTo>
                    <a:pt x="1772" y="212"/>
                  </a:lnTo>
                  <a:lnTo>
                    <a:pt x="1771" y="215"/>
                  </a:lnTo>
                  <a:lnTo>
                    <a:pt x="1770" y="216"/>
                  </a:lnTo>
                  <a:lnTo>
                    <a:pt x="1722" y="288"/>
                  </a:lnTo>
                  <a:lnTo>
                    <a:pt x="1720" y="290"/>
                  </a:lnTo>
                  <a:lnTo>
                    <a:pt x="1718" y="292"/>
                  </a:lnTo>
                  <a:lnTo>
                    <a:pt x="1716" y="292"/>
                  </a:lnTo>
                  <a:lnTo>
                    <a:pt x="1715" y="292"/>
                  </a:lnTo>
                  <a:lnTo>
                    <a:pt x="1711" y="292"/>
                  </a:lnTo>
                  <a:lnTo>
                    <a:pt x="1708" y="290"/>
                  </a:lnTo>
                  <a:lnTo>
                    <a:pt x="1693" y="282"/>
                  </a:lnTo>
                  <a:lnTo>
                    <a:pt x="1677" y="274"/>
                  </a:lnTo>
                  <a:lnTo>
                    <a:pt x="1662" y="268"/>
                  </a:lnTo>
                  <a:lnTo>
                    <a:pt x="1647" y="263"/>
                  </a:lnTo>
                  <a:lnTo>
                    <a:pt x="1633" y="258"/>
                  </a:lnTo>
                  <a:lnTo>
                    <a:pt x="1619" y="255"/>
                  </a:lnTo>
                  <a:lnTo>
                    <a:pt x="1612" y="254"/>
                  </a:lnTo>
                  <a:lnTo>
                    <a:pt x="1606" y="254"/>
                  </a:lnTo>
                  <a:lnTo>
                    <a:pt x="1593" y="253"/>
                  </a:lnTo>
                  <a:lnTo>
                    <a:pt x="1584" y="253"/>
                  </a:lnTo>
                  <a:lnTo>
                    <a:pt x="1576" y="254"/>
                  </a:lnTo>
                  <a:lnTo>
                    <a:pt x="1568" y="256"/>
                  </a:lnTo>
                  <a:lnTo>
                    <a:pt x="1562" y="259"/>
                  </a:lnTo>
                  <a:lnTo>
                    <a:pt x="1560" y="261"/>
                  </a:lnTo>
                  <a:lnTo>
                    <a:pt x="1557" y="263"/>
                  </a:lnTo>
                  <a:lnTo>
                    <a:pt x="1554" y="267"/>
                  </a:lnTo>
                  <a:lnTo>
                    <a:pt x="1552" y="270"/>
                  </a:lnTo>
                  <a:lnTo>
                    <a:pt x="1551" y="273"/>
                  </a:lnTo>
                  <a:lnTo>
                    <a:pt x="1551" y="276"/>
                  </a:lnTo>
                  <a:lnTo>
                    <a:pt x="1550" y="280"/>
                  </a:lnTo>
                  <a:lnTo>
                    <a:pt x="1551" y="283"/>
                  </a:lnTo>
                  <a:lnTo>
                    <a:pt x="1551" y="286"/>
                  </a:lnTo>
                  <a:lnTo>
                    <a:pt x="1553" y="289"/>
                  </a:lnTo>
                  <a:lnTo>
                    <a:pt x="1555" y="292"/>
                  </a:lnTo>
                  <a:lnTo>
                    <a:pt x="1557" y="295"/>
                  </a:lnTo>
                  <a:lnTo>
                    <a:pt x="1560" y="297"/>
                  </a:lnTo>
                  <a:lnTo>
                    <a:pt x="1563" y="299"/>
                  </a:lnTo>
                  <a:lnTo>
                    <a:pt x="1567" y="301"/>
                  </a:lnTo>
                  <a:lnTo>
                    <a:pt x="1576" y="304"/>
                  </a:lnTo>
                  <a:lnTo>
                    <a:pt x="1587" y="307"/>
                  </a:lnTo>
                  <a:lnTo>
                    <a:pt x="1600" y="309"/>
                  </a:lnTo>
                  <a:lnTo>
                    <a:pt x="1615" y="312"/>
                  </a:lnTo>
                  <a:lnTo>
                    <a:pt x="1642" y="316"/>
                  </a:lnTo>
                  <a:lnTo>
                    <a:pt x="1657" y="318"/>
                  </a:lnTo>
                  <a:lnTo>
                    <a:pt x="1672" y="321"/>
                  </a:lnTo>
                  <a:lnTo>
                    <a:pt x="1686" y="325"/>
                  </a:lnTo>
                  <a:lnTo>
                    <a:pt x="1701" y="329"/>
                  </a:lnTo>
                  <a:lnTo>
                    <a:pt x="1715" y="334"/>
                  </a:lnTo>
                  <a:lnTo>
                    <a:pt x="1728" y="340"/>
                  </a:lnTo>
                  <a:lnTo>
                    <a:pt x="1740" y="348"/>
                  </a:lnTo>
                  <a:lnTo>
                    <a:pt x="1746" y="352"/>
                  </a:lnTo>
                  <a:lnTo>
                    <a:pt x="1752" y="356"/>
                  </a:lnTo>
                  <a:lnTo>
                    <a:pt x="1757" y="361"/>
                  </a:lnTo>
                  <a:lnTo>
                    <a:pt x="1762" y="366"/>
                  </a:lnTo>
                  <a:lnTo>
                    <a:pt x="1766" y="371"/>
                  </a:lnTo>
                  <a:lnTo>
                    <a:pt x="1771" y="377"/>
                  </a:lnTo>
                  <a:lnTo>
                    <a:pt x="1774" y="383"/>
                  </a:lnTo>
                  <a:lnTo>
                    <a:pt x="1778" y="390"/>
                  </a:lnTo>
                  <a:lnTo>
                    <a:pt x="1781" y="397"/>
                  </a:lnTo>
                  <a:lnTo>
                    <a:pt x="1783" y="404"/>
                  </a:lnTo>
                  <a:lnTo>
                    <a:pt x="1785" y="412"/>
                  </a:lnTo>
                  <a:lnTo>
                    <a:pt x="1787" y="420"/>
                  </a:lnTo>
                  <a:lnTo>
                    <a:pt x="1787" y="425"/>
                  </a:lnTo>
                  <a:lnTo>
                    <a:pt x="1787" y="429"/>
                  </a:lnTo>
                  <a:lnTo>
                    <a:pt x="1788" y="438"/>
                  </a:lnTo>
                  <a:lnTo>
                    <a:pt x="1787" y="449"/>
                  </a:lnTo>
                  <a:lnTo>
                    <a:pt x="1787" y="458"/>
                  </a:lnTo>
                  <a:lnTo>
                    <a:pt x="1785" y="468"/>
                  </a:lnTo>
                  <a:lnTo>
                    <a:pt x="1783" y="477"/>
                  </a:lnTo>
                  <a:lnTo>
                    <a:pt x="1781" y="485"/>
                  </a:lnTo>
                  <a:lnTo>
                    <a:pt x="1778" y="494"/>
                  </a:lnTo>
                  <a:lnTo>
                    <a:pt x="1775" y="501"/>
                  </a:lnTo>
                  <a:lnTo>
                    <a:pt x="1771" y="509"/>
                  </a:lnTo>
                  <a:lnTo>
                    <a:pt x="1767" y="516"/>
                  </a:lnTo>
                  <a:lnTo>
                    <a:pt x="1763" y="523"/>
                  </a:lnTo>
                  <a:lnTo>
                    <a:pt x="1758" y="529"/>
                  </a:lnTo>
                  <a:lnTo>
                    <a:pt x="1752" y="535"/>
                  </a:lnTo>
                  <a:lnTo>
                    <a:pt x="1747" y="540"/>
                  </a:lnTo>
                  <a:lnTo>
                    <a:pt x="1741" y="546"/>
                  </a:lnTo>
                  <a:lnTo>
                    <a:pt x="1734" y="550"/>
                  </a:lnTo>
                  <a:lnTo>
                    <a:pt x="1728" y="555"/>
                  </a:lnTo>
                  <a:lnTo>
                    <a:pt x="1721" y="559"/>
                  </a:lnTo>
                  <a:lnTo>
                    <a:pt x="1714" y="563"/>
                  </a:lnTo>
                  <a:lnTo>
                    <a:pt x="1699" y="570"/>
                  </a:lnTo>
                  <a:lnTo>
                    <a:pt x="1683" y="576"/>
                  </a:lnTo>
                  <a:lnTo>
                    <a:pt x="1675" y="578"/>
                  </a:lnTo>
                  <a:lnTo>
                    <a:pt x="1666" y="580"/>
                  </a:lnTo>
                  <a:lnTo>
                    <a:pt x="1649" y="584"/>
                  </a:lnTo>
                  <a:lnTo>
                    <a:pt x="1631" y="586"/>
                  </a:lnTo>
                  <a:lnTo>
                    <a:pt x="1613" y="588"/>
                  </a:lnTo>
                  <a:lnTo>
                    <a:pt x="1595" y="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Tree>
    <p:extLst>
      <p:ext uri="{BB962C8B-B14F-4D97-AF65-F5344CB8AC3E}">
        <p14:creationId xmlns:p14="http://schemas.microsoft.com/office/powerpoint/2010/main" val="2383153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Section header / meri">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noFill/>
              </a:defRPr>
            </a:lvl1pPr>
          </a:lstStyle>
          <a:p>
            <a:fld id="{0EFE15CB-DF76-4428-AA1A-F64EDAEF0077}" type="datetime1">
              <a:rPr lang="en-GB" smtClean="0"/>
              <a:t>22/10/2025</a:t>
            </a:fld>
            <a:endParaRPr lang="fi-FI"/>
          </a:p>
        </p:txBody>
      </p:sp>
      <p:sp>
        <p:nvSpPr>
          <p:cNvPr id="5" name="Footer Placeholder 4"/>
          <p:cNvSpPr>
            <a:spLocks noGrp="1"/>
          </p:cNvSpPr>
          <p:nvPr>
            <p:ph type="ftr" sz="quarter" idx="11"/>
          </p:nvPr>
        </p:nvSpPr>
        <p:spPr/>
        <p:txBody>
          <a:bodyPr/>
          <a:lstStyle>
            <a:lvl1pPr>
              <a:defRPr>
                <a:noFill/>
              </a:defRPr>
            </a:lvl1pPr>
          </a:lstStyle>
          <a:p>
            <a:r>
              <a:rPr lang="fi-FI"/>
              <a:t>Presentation name / Author</a:t>
            </a:r>
          </a:p>
        </p:txBody>
      </p:sp>
      <p:sp>
        <p:nvSpPr>
          <p:cNvPr id="6" name="Slide Number Placeholder 5"/>
          <p:cNvSpPr>
            <a:spLocks noGrp="1"/>
          </p:cNvSpPr>
          <p:nvPr>
            <p:ph type="sldNum" sz="quarter" idx="12"/>
          </p:nvPr>
        </p:nvSpPr>
        <p:spPr/>
        <p:txBody>
          <a:bodyPr/>
          <a:lstStyle>
            <a:lvl1pPr>
              <a:defRPr>
                <a:noFill/>
              </a:defRPr>
            </a:lvl1pPr>
          </a:lstStyle>
          <a:p>
            <a:fld id="{49A25110-65A2-4B67-BF3F-8D6D3162EF46}" type="slidenum">
              <a:rPr lang="fi-FI" smtClean="0"/>
              <a:pPr/>
              <a:t>‹#›</a:t>
            </a:fld>
            <a:endParaRPr lang="fi-FI"/>
          </a:p>
        </p:txBody>
      </p:sp>
      <p:sp>
        <p:nvSpPr>
          <p:cNvPr id="10" name="Title 1"/>
          <p:cNvSpPr>
            <a:spLocks noGrp="1"/>
          </p:cNvSpPr>
          <p:nvPr>
            <p:ph type="title"/>
          </p:nvPr>
        </p:nvSpPr>
        <p:spPr>
          <a:xfrm>
            <a:off x="766762" y="3035936"/>
            <a:ext cx="10658475" cy="643253"/>
          </a:xfrm>
        </p:spPr>
        <p:txBody>
          <a:bodyPr anchor="ctr" anchorCtr="0">
            <a:spAutoFit/>
          </a:bodyPr>
          <a:lstStyle>
            <a:lvl1pPr algn="l">
              <a:lnSpc>
                <a:spcPct val="95000"/>
              </a:lnSpc>
              <a:defRPr sz="4400" b="0" cap="none" spc="0" baseline="0">
                <a:solidFill>
                  <a:schemeClr val="bg1"/>
                </a:solidFill>
              </a:defRPr>
            </a:lvl1pPr>
          </a:lstStyle>
          <a:p>
            <a:r>
              <a:rPr lang="en-US"/>
              <a:t>Click to edit Master title style</a:t>
            </a:r>
            <a:endParaRPr lang="fi-FI" dirty="0"/>
          </a:p>
        </p:txBody>
      </p:sp>
      <p:grpSp>
        <p:nvGrpSpPr>
          <p:cNvPr id="11" name="Group 10"/>
          <p:cNvGrpSpPr>
            <a:grpSpLocks noChangeAspect="1"/>
          </p:cNvGrpSpPr>
          <p:nvPr/>
        </p:nvGrpSpPr>
        <p:grpSpPr>
          <a:xfrm>
            <a:off x="335360" y="6093296"/>
            <a:ext cx="1243838" cy="432000"/>
            <a:chOff x="3279775" y="2451101"/>
            <a:chExt cx="5640388" cy="1958974"/>
          </a:xfrm>
          <a:solidFill>
            <a:schemeClr val="bg1"/>
          </a:solidFill>
        </p:grpSpPr>
        <p:sp>
          <p:nvSpPr>
            <p:cNvPr id="12" name="Freeform 6"/>
            <p:cNvSpPr>
              <a:spLocks/>
            </p:cNvSpPr>
            <p:nvPr/>
          </p:nvSpPr>
          <p:spPr bwMode="auto">
            <a:xfrm>
              <a:off x="3279775" y="2451101"/>
              <a:ext cx="1838325" cy="1944687"/>
            </a:xfrm>
            <a:custGeom>
              <a:avLst/>
              <a:gdLst>
                <a:gd name="T0" fmla="*/ 978 w 1158"/>
                <a:gd name="T1" fmla="*/ 608 h 1225"/>
                <a:gd name="T2" fmla="*/ 974 w 1158"/>
                <a:gd name="T3" fmla="*/ 610 h 1225"/>
                <a:gd name="T4" fmla="*/ 968 w 1158"/>
                <a:gd name="T5" fmla="*/ 608 h 1225"/>
                <a:gd name="T6" fmla="*/ 966 w 1158"/>
                <a:gd name="T7" fmla="*/ 134 h 1225"/>
                <a:gd name="T8" fmla="*/ 963 w 1158"/>
                <a:gd name="T9" fmla="*/ 128 h 1225"/>
                <a:gd name="T10" fmla="*/ 956 w 1158"/>
                <a:gd name="T11" fmla="*/ 128 h 1225"/>
                <a:gd name="T12" fmla="*/ 953 w 1158"/>
                <a:gd name="T13" fmla="*/ 132 h 1225"/>
                <a:gd name="T14" fmla="*/ 784 w 1158"/>
                <a:gd name="T15" fmla="*/ 603 h 1225"/>
                <a:gd name="T16" fmla="*/ 779 w 1158"/>
                <a:gd name="T17" fmla="*/ 607 h 1225"/>
                <a:gd name="T18" fmla="*/ 773 w 1158"/>
                <a:gd name="T19" fmla="*/ 605 h 1225"/>
                <a:gd name="T20" fmla="*/ 771 w 1158"/>
                <a:gd name="T21" fmla="*/ 466 h 1225"/>
                <a:gd name="T22" fmla="*/ 769 w 1158"/>
                <a:gd name="T23" fmla="*/ 461 h 1225"/>
                <a:gd name="T24" fmla="*/ 764 w 1158"/>
                <a:gd name="T25" fmla="*/ 459 h 1225"/>
                <a:gd name="T26" fmla="*/ 584 w 1158"/>
                <a:gd name="T27" fmla="*/ 614 h 1225"/>
                <a:gd name="T28" fmla="*/ 579 w 1158"/>
                <a:gd name="T29" fmla="*/ 616 h 1225"/>
                <a:gd name="T30" fmla="*/ 396 w 1158"/>
                <a:gd name="T31" fmla="*/ 461 h 1225"/>
                <a:gd name="T32" fmla="*/ 390 w 1158"/>
                <a:gd name="T33" fmla="*/ 460 h 1225"/>
                <a:gd name="T34" fmla="*/ 386 w 1158"/>
                <a:gd name="T35" fmla="*/ 464 h 1225"/>
                <a:gd name="T36" fmla="*/ 386 w 1158"/>
                <a:gd name="T37" fmla="*/ 603 h 1225"/>
                <a:gd name="T38" fmla="*/ 381 w 1158"/>
                <a:gd name="T39" fmla="*/ 607 h 1225"/>
                <a:gd name="T40" fmla="*/ 375 w 1158"/>
                <a:gd name="T41" fmla="*/ 605 h 1225"/>
                <a:gd name="T42" fmla="*/ 292 w 1158"/>
                <a:gd name="T43" fmla="*/ 378 h 1225"/>
                <a:gd name="T44" fmla="*/ 203 w 1158"/>
                <a:gd name="T45" fmla="*/ 130 h 1225"/>
                <a:gd name="T46" fmla="*/ 197 w 1158"/>
                <a:gd name="T47" fmla="*/ 128 h 1225"/>
                <a:gd name="T48" fmla="*/ 192 w 1158"/>
                <a:gd name="T49" fmla="*/ 132 h 1225"/>
                <a:gd name="T50" fmla="*/ 191 w 1158"/>
                <a:gd name="T51" fmla="*/ 606 h 1225"/>
                <a:gd name="T52" fmla="*/ 186 w 1158"/>
                <a:gd name="T53" fmla="*/ 610 h 1225"/>
                <a:gd name="T54" fmla="*/ 181 w 1158"/>
                <a:gd name="T55" fmla="*/ 609 h 1225"/>
                <a:gd name="T56" fmla="*/ 13 w 1158"/>
                <a:gd name="T57" fmla="*/ 5 h 1225"/>
                <a:gd name="T58" fmla="*/ 10 w 1158"/>
                <a:gd name="T59" fmla="*/ 1 h 1225"/>
                <a:gd name="T60" fmla="*/ 4 w 1158"/>
                <a:gd name="T61" fmla="*/ 1 h 1225"/>
                <a:gd name="T62" fmla="*/ 0 w 1158"/>
                <a:gd name="T63" fmla="*/ 7 h 1225"/>
                <a:gd name="T64" fmla="*/ 1 w 1158"/>
                <a:gd name="T65" fmla="*/ 552 h 1225"/>
                <a:gd name="T66" fmla="*/ 147 w 1158"/>
                <a:gd name="T67" fmla="*/ 644 h 1225"/>
                <a:gd name="T68" fmla="*/ 389 w 1158"/>
                <a:gd name="T69" fmla="*/ 646 h 1225"/>
                <a:gd name="T70" fmla="*/ 397 w 1158"/>
                <a:gd name="T71" fmla="*/ 649 h 1225"/>
                <a:gd name="T72" fmla="*/ 500 w 1158"/>
                <a:gd name="T73" fmla="*/ 909 h 1225"/>
                <a:gd name="T74" fmla="*/ 501 w 1158"/>
                <a:gd name="T75" fmla="*/ 917 h 1225"/>
                <a:gd name="T76" fmla="*/ 447 w 1158"/>
                <a:gd name="T77" fmla="*/ 1030 h 1225"/>
                <a:gd name="T78" fmla="*/ 519 w 1158"/>
                <a:gd name="T79" fmla="*/ 1218 h 1225"/>
                <a:gd name="T80" fmla="*/ 526 w 1158"/>
                <a:gd name="T81" fmla="*/ 1224 h 1225"/>
                <a:gd name="T82" fmla="*/ 629 w 1158"/>
                <a:gd name="T83" fmla="*/ 1225 h 1225"/>
                <a:gd name="T84" fmla="*/ 637 w 1158"/>
                <a:gd name="T85" fmla="*/ 1221 h 1225"/>
                <a:gd name="T86" fmla="*/ 710 w 1158"/>
                <a:gd name="T87" fmla="*/ 1036 h 1225"/>
                <a:gd name="T88" fmla="*/ 710 w 1158"/>
                <a:gd name="T89" fmla="*/ 1030 h 1225"/>
                <a:gd name="T90" fmla="*/ 657 w 1158"/>
                <a:gd name="T91" fmla="*/ 917 h 1225"/>
                <a:gd name="T92" fmla="*/ 758 w 1158"/>
                <a:gd name="T93" fmla="*/ 652 h 1225"/>
                <a:gd name="T94" fmla="*/ 765 w 1158"/>
                <a:gd name="T95" fmla="*/ 646 h 1225"/>
                <a:gd name="T96" fmla="*/ 1009 w 1158"/>
                <a:gd name="T97" fmla="*/ 645 h 1225"/>
                <a:gd name="T98" fmla="*/ 1155 w 1158"/>
                <a:gd name="T99" fmla="*/ 554 h 1225"/>
                <a:gd name="T100" fmla="*/ 1158 w 1158"/>
                <a:gd name="T101" fmla="*/ 549 h 1225"/>
                <a:gd name="T102" fmla="*/ 1158 w 1158"/>
                <a:gd name="T103" fmla="*/ 4 h 1225"/>
                <a:gd name="T104" fmla="*/ 1152 w 1158"/>
                <a:gd name="T105" fmla="*/ 0 h 1225"/>
                <a:gd name="T106" fmla="*/ 1146 w 1158"/>
                <a:gd name="T107" fmla="*/ 3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8" h="1225">
                  <a:moveTo>
                    <a:pt x="1145" y="5"/>
                  </a:moveTo>
                  <a:lnTo>
                    <a:pt x="979" y="605"/>
                  </a:lnTo>
                  <a:lnTo>
                    <a:pt x="978" y="608"/>
                  </a:lnTo>
                  <a:lnTo>
                    <a:pt x="977" y="608"/>
                  </a:lnTo>
                  <a:lnTo>
                    <a:pt x="976" y="609"/>
                  </a:lnTo>
                  <a:lnTo>
                    <a:pt x="974" y="610"/>
                  </a:lnTo>
                  <a:lnTo>
                    <a:pt x="972" y="610"/>
                  </a:lnTo>
                  <a:lnTo>
                    <a:pt x="970" y="609"/>
                  </a:lnTo>
                  <a:lnTo>
                    <a:pt x="968" y="608"/>
                  </a:lnTo>
                  <a:lnTo>
                    <a:pt x="967" y="606"/>
                  </a:lnTo>
                  <a:lnTo>
                    <a:pt x="966" y="603"/>
                  </a:lnTo>
                  <a:lnTo>
                    <a:pt x="966" y="134"/>
                  </a:lnTo>
                  <a:lnTo>
                    <a:pt x="966" y="132"/>
                  </a:lnTo>
                  <a:lnTo>
                    <a:pt x="964" y="130"/>
                  </a:lnTo>
                  <a:lnTo>
                    <a:pt x="963" y="128"/>
                  </a:lnTo>
                  <a:lnTo>
                    <a:pt x="961" y="128"/>
                  </a:lnTo>
                  <a:lnTo>
                    <a:pt x="958" y="128"/>
                  </a:lnTo>
                  <a:lnTo>
                    <a:pt x="956" y="128"/>
                  </a:lnTo>
                  <a:lnTo>
                    <a:pt x="955" y="129"/>
                  </a:lnTo>
                  <a:lnTo>
                    <a:pt x="955" y="130"/>
                  </a:lnTo>
                  <a:lnTo>
                    <a:pt x="953" y="132"/>
                  </a:lnTo>
                  <a:lnTo>
                    <a:pt x="916" y="240"/>
                  </a:lnTo>
                  <a:lnTo>
                    <a:pt x="865" y="378"/>
                  </a:lnTo>
                  <a:lnTo>
                    <a:pt x="784" y="603"/>
                  </a:lnTo>
                  <a:lnTo>
                    <a:pt x="782" y="605"/>
                  </a:lnTo>
                  <a:lnTo>
                    <a:pt x="781" y="606"/>
                  </a:lnTo>
                  <a:lnTo>
                    <a:pt x="779" y="607"/>
                  </a:lnTo>
                  <a:lnTo>
                    <a:pt x="776" y="607"/>
                  </a:lnTo>
                  <a:lnTo>
                    <a:pt x="774" y="606"/>
                  </a:lnTo>
                  <a:lnTo>
                    <a:pt x="773" y="605"/>
                  </a:lnTo>
                  <a:lnTo>
                    <a:pt x="772" y="603"/>
                  </a:lnTo>
                  <a:lnTo>
                    <a:pt x="771" y="600"/>
                  </a:lnTo>
                  <a:lnTo>
                    <a:pt x="771" y="466"/>
                  </a:lnTo>
                  <a:lnTo>
                    <a:pt x="771" y="464"/>
                  </a:lnTo>
                  <a:lnTo>
                    <a:pt x="770" y="462"/>
                  </a:lnTo>
                  <a:lnTo>
                    <a:pt x="769" y="461"/>
                  </a:lnTo>
                  <a:lnTo>
                    <a:pt x="767" y="460"/>
                  </a:lnTo>
                  <a:lnTo>
                    <a:pt x="766" y="459"/>
                  </a:lnTo>
                  <a:lnTo>
                    <a:pt x="764" y="459"/>
                  </a:lnTo>
                  <a:lnTo>
                    <a:pt x="762" y="460"/>
                  </a:lnTo>
                  <a:lnTo>
                    <a:pt x="761" y="461"/>
                  </a:lnTo>
                  <a:lnTo>
                    <a:pt x="584" y="614"/>
                  </a:lnTo>
                  <a:lnTo>
                    <a:pt x="583" y="615"/>
                  </a:lnTo>
                  <a:lnTo>
                    <a:pt x="581" y="615"/>
                  </a:lnTo>
                  <a:lnTo>
                    <a:pt x="579" y="616"/>
                  </a:lnTo>
                  <a:lnTo>
                    <a:pt x="576" y="615"/>
                  </a:lnTo>
                  <a:lnTo>
                    <a:pt x="573" y="614"/>
                  </a:lnTo>
                  <a:lnTo>
                    <a:pt x="396" y="461"/>
                  </a:lnTo>
                  <a:lnTo>
                    <a:pt x="393" y="459"/>
                  </a:lnTo>
                  <a:lnTo>
                    <a:pt x="391" y="460"/>
                  </a:lnTo>
                  <a:lnTo>
                    <a:pt x="390" y="460"/>
                  </a:lnTo>
                  <a:lnTo>
                    <a:pt x="388" y="461"/>
                  </a:lnTo>
                  <a:lnTo>
                    <a:pt x="387" y="462"/>
                  </a:lnTo>
                  <a:lnTo>
                    <a:pt x="386" y="464"/>
                  </a:lnTo>
                  <a:lnTo>
                    <a:pt x="386" y="466"/>
                  </a:lnTo>
                  <a:lnTo>
                    <a:pt x="386" y="601"/>
                  </a:lnTo>
                  <a:lnTo>
                    <a:pt x="386" y="603"/>
                  </a:lnTo>
                  <a:lnTo>
                    <a:pt x="384" y="605"/>
                  </a:lnTo>
                  <a:lnTo>
                    <a:pt x="383" y="606"/>
                  </a:lnTo>
                  <a:lnTo>
                    <a:pt x="381" y="607"/>
                  </a:lnTo>
                  <a:lnTo>
                    <a:pt x="379" y="607"/>
                  </a:lnTo>
                  <a:lnTo>
                    <a:pt x="377" y="606"/>
                  </a:lnTo>
                  <a:lnTo>
                    <a:pt x="375" y="605"/>
                  </a:lnTo>
                  <a:lnTo>
                    <a:pt x="374" y="603"/>
                  </a:lnTo>
                  <a:lnTo>
                    <a:pt x="340" y="511"/>
                  </a:lnTo>
                  <a:lnTo>
                    <a:pt x="292" y="378"/>
                  </a:lnTo>
                  <a:lnTo>
                    <a:pt x="242" y="240"/>
                  </a:lnTo>
                  <a:lnTo>
                    <a:pt x="205" y="132"/>
                  </a:lnTo>
                  <a:lnTo>
                    <a:pt x="203" y="130"/>
                  </a:lnTo>
                  <a:lnTo>
                    <a:pt x="202" y="128"/>
                  </a:lnTo>
                  <a:lnTo>
                    <a:pt x="200" y="128"/>
                  </a:lnTo>
                  <a:lnTo>
                    <a:pt x="197" y="128"/>
                  </a:lnTo>
                  <a:lnTo>
                    <a:pt x="195" y="128"/>
                  </a:lnTo>
                  <a:lnTo>
                    <a:pt x="194" y="130"/>
                  </a:lnTo>
                  <a:lnTo>
                    <a:pt x="192" y="132"/>
                  </a:lnTo>
                  <a:lnTo>
                    <a:pt x="192" y="134"/>
                  </a:lnTo>
                  <a:lnTo>
                    <a:pt x="192" y="604"/>
                  </a:lnTo>
                  <a:lnTo>
                    <a:pt x="191" y="606"/>
                  </a:lnTo>
                  <a:lnTo>
                    <a:pt x="190" y="608"/>
                  </a:lnTo>
                  <a:lnTo>
                    <a:pt x="188" y="609"/>
                  </a:lnTo>
                  <a:lnTo>
                    <a:pt x="186" y="610"/>
                  </a:lnTo>
                  <a:lnTo>
                    <a:pt x="184" y="610"/>
                  </a:lnTo>
                  <a:lnTo>
                    <a:pt x="182" y="609"/>
                  </a:lnTo>
                  <a:lnTo>
                    <a:pt x="181" y="609"/>
                  </a:lnTo>
                  <a:lnTo>
                    <a:pt x="180" y="608"/>
                  </a:lnTo>
                  <a:lnTo>
                    <a:pt x="179" y="605"/>
                  </a:lnTo>
                  <a:lnTo>
                    <a:pt x="13" y="5"/>
                  </a:lnTo>
                  <a:lnTo>
                    <a:pt x="12" y="3"/>
                  </a:lnTo>
                  <a:lnTo>
                    <a:pt x="11" y="2"/>
                  </a:lnTo>
                  <a:lnTo>
                    <a:pt x="10" y="1"/>
                  </a:lnTo>
                  <a:lnTo>
                    <a:pt x="8" y="1"/>
                  </a:lnTo>
                  <a:lnTo>
                    <a:pt x="6" y="0"/>
                  </a:lnTo>
                  <a:lnTo>
                    <a:pt x="4" y="1"/>
                  </a:lnTo>
                  <a:lnTo>
                    <a:pt x="2" y="3"/>
                  </a:lnTo>
                  <a:lnTo>
                    <a:pt x="1" y="4"/>
                  </a:lnTo>
                  <a:lnTo>
                    <a:pt x="0" y="7"/>
                  </a:lnTo>
                  <a:lnTo>
                    <a:pt x="0" y="546"/>
                  </a:lnTo>
                  <a:lnTo>
                    <a:pt x="0" y="549"/>
                  </a:lnTo>
                  <a:lnTo>
                    <a:pt x="1" y="552"/>
                  </a:lnTo>
                  <a:lnTo>
                    <a:pt x="3" y="554"/>
                  </a:lnTo>
                  <a:lnTo>
                    <a:pt x="5" y="555"/>
                  </a:lnTo>
                  <a:lnTo>
                    <a:pt x="147" y="644"/>
                  </a:lnTo>
                  <a:lnTo>
                    <a:pt x="150" y="645"/>
                  </a:lnTo>
                  <a:lnTo>
                    <a:pt x="153" y="646"/>
                  </a:lnTo>
                  <a:lnTo>
                    <a:pt x="389" y="646"/>
                  </a:lnTo>
                  <a:lnTo>
                    <a:pt x="392" y="646"/>
                  </a:lnTo>
                  <a:lnTo>
                    <a:pt x="395" y="647"/>
                  </a:lnTo>
                  <a:lnTo>
                    <a:pt x="397" y="649"/>
                  </a:lnTo>
                  <a:lnTo>
                    <a:pt x="398" y="651"/>
                  </a:lnTo>
                  <a:lnTo>
                    <a:pt x="399" y="652"/>
                  </a:lnTo>
                  <a:lnTo>
                    <a:pt x="500" y="909"/>
                  </a:lnTo>
                  <a:lnTo>
                    <a:pt x="501" y="912"/>
                  </a:lnTo>
                  <a:lnTo>
                    <a:pt x="501" y="914"/>
                  </a:lnTo>
                  <a:lnTo>
                    <a:pt x="501" y="917"/>
                  </a:lnTo>
                  <a:lnTo>
                    <a:pt x="500" y="920"/>
                  </a:lnTo>
                  <a:lnTo>
                    <a:pt x="448" y="1028"/>
                  </a:lnTo>
                  <a:lnTo>
                    <a:pt x="447" y="1030"/>
                  </a:lnTo>
                  <a:lnTo>
                    <a:pt x="447" y="1032"/>
                  </a:lnTo>
                  <a:lnTo>
                    <a:pt x="447" y="1036"/>
                  </a:lnTo>
                  <a:lnTo>
                    <a:pt x="519" y="1218"/>
                  </a:lnTo>
                  <a:lnTo>
                    <a:pt x="520" y="1221"/>
                  </a:lnTo>
                  <a:lnTo>
                    <a:pt x="523" y="1223"/>
                  </a:lnTo>
                  <a:lnTo>
                    <a:pt x="526" y="1224"/>
                  </a:lnTo>
                  <a:lnTo>
                    <a:pt x="529" y="1225"/>
                  </a:lnTo>
                  <a:lnTo>
                    <a:pt x="579" y="1225"/>
                  </a:lnTo>
                  <a:lnTo>
                    <a:pt x="629" y="1225"/>
                  </a:lnTo>
                  <a:lnTo>
                    <a:pt x="632" y="1224"/>
                  </a:lnTo>
                  <a:lnTo>
                    <a:pt x="635" y="1223"/>
                  </a:lnTo>
                  <a:lnTo>
                    <a:pt x="637" y="1221"/>
                  </a:lnTo>
                  <a:lnTo>
                    <a:pt x="638" y="1219"/>
                  </a:lnTo>
                  <a:lnTo>
                    <a:pt x="638" y="1218"/>
                  </a:lnTo>
                  <a:lnTo>
                    <a:pt x="710" y="1036"/>
                  </a:lnTo>
                  <a:lnTo>
                    <a:pt x="711" y="1034"/>
                  </a:lnTo>
                  <a:lnTo>
                    <a:pt x="711" y="1032"/>
                  </a:lnTo>
                  <a:lnTo>
                    <a:pt x="710" y="1030"/>
                  </a:lnTo>
                  <a:lnTo>
                    <a:pt x="710" y="1028"/>
                  </a:lnTo>
                  <a:lnTo>
                    <a:pt x="657" y="920"/>
                  </a:lnTo>
                  <a:lnTo>
                    <a:pt x="657" y="917"/>
                  </a:lnTo>
                  <a:lnTo>
                    <a:pt x="656" y="914"/>
                  </a:lnTo>
                  <a:lnTo>
                    <a:pt x="657" y="909"/>
                  </a:lnTo>
                  <a:lnTo>
                    <a:pt x="758" y="652"/>
                  </a:lnTo>
                  <a:lnTo>
                    <a:pt x="760" y="650"/>
                  </a:lnTo>
                  <a:lnTo>
                    <a:pt x="762" y="647"/>
                  </a:lnTo>
                  <a:lnTo>
                    <a:pt x="765" y="646"/>
                  </a:lnTo>
                  <a:lnTo>
                    <a:pt x="768" y="646"/>
                  </a:lnTo>
                  <a:lnTo>
                    <a:pt x="1006" y="646"/>
                  </a:lnTo>
                  <a:lnTo>
                    <a:pt x="1009" y="645"/>
                  </a:lnTo>
                  <a:lnTo>
                    <a:pt x="1011" y="644"/>
                  </a:lnTo>
                  <a:lnTo>
                    <a:pt x="1153" y="555"/>
                  </a:lnTo>
                  <a:lnTo>
                    <a:pt x="1155" y="554"/>
                  </a:lnTo>
                  <a:lnTo>
                    <a:pt x="1156" y="553"/>
                  </a:lnTo>
                  <a:lnTo>
                    <a:pt x="1157" y="552"/>
                  </a:lnTo>
                  <a:lnTo>
                    <a:pt x="1158" y="549"/>
                  </a:lnTo>
                  <a:lnTo>
                    <a:pt x="1158" y="546"/>
                  </a:lnTo>
                  <a:lnTo>
                    <a:pt x="1158" y="7"/>
                  </a:lnTo>
                  <a:lnTo>
                    <a:pt x="1158" y="4"/>
                  </a:lnTo>
                  <a:lnTo>
                    <a:pt x="1156" y="3"/>
                  </a:lnTo>
                  <a:lnTo>
                    <a:pt x="1154" y="1"/>
                  </a:lnTo>
                  <a:lnTo>
                    <a:pt x="1152" y="0"/>
                  </a:lnTo>
                  <a:lnTo>
                    <a:pt x="1150" y="1"/>
                  </a:lnTo>
                  <a:lnTo>
                    <a:pt x="1148" y="1"/>
                  </a:lnTo>
                  <a:lnTo>
                    <a:pt x="1146" y="3"/>
                  </a:lnTo>
                  <a:lnTo>
                    <a:pt x="1145" y="4"/>
                  </a:lnTo>
                  <a:lnTo>
                    <a:pt x="11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3" name="Freeform 7"/>
            <p:cNvSpPr>
              <a:spLocks noEditPoints="1"/>
            </p:cNvSpPr>
            <p:nvPr/>
          </p:nvSpPr>
          <p:spPr bwMode="auto">
            <a:xfrm>
              <a:off x="5386388" y="3476625"/>
              <a:ext cx="3533775" cy="933450"/>
            </a:xfrm>
            <a:custGeom>
              <a:avLst/>
              <a:gdLst>
                <a:gd name="T0" fmla="*/ 1976 w 2226"/>
                <a:gd name="T1" fmla="*/ 407 h 588"/>
                <a:gd name="T2" fmla="*/ 1967 w 2226"/>
                <a:gd name="T3" fmla="*/ 463 h 588"/>
                <a:gd name="T4" fmla="*/ 2059 w 2226"/>
                <a:gd name="T5" fmla="*/ 452 h 588"/>
                <a:gd name="T6" fmla="*/ 2077 w 2226"/>
                <a:gd name="T7" fmla="*/ 579 h 588"/>
                <a:gd name="T8" fmla="*/ 2048 w 2226"/>
                <a:gd name="T9" fmla="*/ 537 h 588"/>
                <a:gd name="T10" fmla="*/ 1914 w 2226"/>
                <a:gd name="T11" fmla="*/ 585 h 588"/>
                <a:gd name="T12" fmla="*/ 1811 w 2226"/>
                <a:gd name="T13" fmla="*/ 508 h 588"/>
                <a:gd name="T14" fmla="*/ 1836 w 2226"/>
                <a:gd name="T15" fmla="*/ 383 h 588"/>
                <a:gd name="T16" fmla="*/ 2013 w 2226"/>
                <a:gd name="T17" fmla="*/ 311 h 588"/>
                <a:gd name="T18" fmla="*/ 2045 w 2226"/>
                <a:gd name="T19" fmla="*/ 271 h 588"/>
                <a:gd name="T20" fmla="*/ 1907 w 2226"/>
                <a:gd name="T21" fmla="*/ 300 h 588"/>
                <a:gd name="T22" fmla="*/ 1866 w 2226"/>
                <a:gd name="T23" fmla="*/ 195 h 588"/>
                <a:gd name="T24" fmla="*/ 2086 w 2226"/>
                <a:gd name="T25" fmla="*/ 154 h 588"/>
                <a:gd name="T26" fmla="*/ 2190 w 2226"/>
                <a:gd name="T27" fmla="*/ 214 h 588"/>
                <a:gd name="T28" fmla="*/ 2217 w 2226"/>
                <a:gd name="T29" fmla="*/ 512 h 588"/>
                <a:gd name="T30" fmla="*/ 1994 w 2226"/>
                <a:gd name="T31" fmla="*/ 3 h 588"/>
                <a:gd name="T32" fmla="*/ 1869 w 2226"/>
                <a:gd name="T33" fmla="*/ 7 h 588"/>
                <a:gd name="T34" fmla="*/ 2172 w 2226"/>
                <a:gd name="T35" fmla="*/ 123 h 588"/>
                <a:gd name="T36" fmla="*/ 1190 w 2226"/>
                <a:gd name="T37" fmla="*/ 576 h 588"/>
                <a:gd name="T38" fmla="*/ 1121 w 2226"/>
                <a:gd name="T39" fmla="*/ 502 h 588"/>
                <a:gd name="T40" fmla="*/ 1059 w 2226"/>
                <a:gd name="T41" fmla="*/ 264 h 588"/>
                <a:gd name="T42" fmla="*/ 1170 w 2226"/>
                <a:gd name="T43" fmla="*/ 25 h 588"/>
                <a:gd name="T44" fmla="*/ 1274 w 2226"/>
                <a:gd name="T45" fmla="*/ 156 h 588"/>
                <a:gd name="T46" fmla="*/ 1374 w 2226"/>
                <a:gd name="T47" fmla="*/ 271 h 588"/>
                <a:gd name="T48" fmla="*/ 1291 w 2226"/>
                <a:gd name="T49" fmla="*/ 469 h 588"/>
                <a:gd name="T50" fmla="*/ 1370 w 2226"/>
                <a:gd name="T51" fmla="*/ 564 h 588"/>
                <a:gd name="T52" fmla="*/ 1 w 2226"/>
                <a:gd name="T53" fmla="*/ 3 h 588"/>
                <a:gd name="T54" fmla="*/ 312 w 2226"/>
                <a:gd name="T55" fmla="*/ 389 h 588"/>
                <a:gd name="T56" fmla="*/ 615 w 2226"/>
                <a:gd name="T57" fmla="*/ 572 h 588"/>
                <a:gd name="T58" fmla="*/ 463 w 2226"/>
                <a:gd name="T59" fmla="*/ 222 h 588"/>
                <a:gd name="T60" fmla="*/ 365 w 2226"/>
                <a:gd name="T61" fmla="*/ 579 h 588"/>
                <a:gd name="T62" fmla="*/ 146 w 2226"/>
                <a:gd name="T63" fmla="*/ 223 h 588"/>
                <a:gd name="T64" fmla="*/ 1 w 2226"/>
                <a:gd name="T65" fmla="*/ 576 h 588"/>
                <a:gd name="T66" fmla="*/ 795 w 2226"/>
                <a:gd name="T67" fmla="*/ 421 h 588"/>
                <a:gd name="T68" fmla="*/ 861 w 2226"/>
                <a:gd name="T69" fmla="*/ 482 h 588"/>
                <a:gd name="T70" fmla="*/ 999 w 2226"/>
                <a:gd name="T71" fmla="*/ 448 h 588"/>
                <a:gd name="T72" fmla="*/ 974 w 2226"/>
                <a:gd name="T73" fmla="*/ 574 h 588"/>
                <a:gd name="T74" fmla="*/ 772 w 2226"/>
                <a:gd name="T75" fmla="*/ 575 h 588"/>
                <a:gd name="T76" fmla="*/ 659 w 2226"/>
                <a:gd name="T77" fmla="*/ 476 h 588"/>
                <a:gd name="T78" fmla="*/ 649 w 2226"/>
                <a:gd name="T79" fmla="*/ 300 h 588"/>
                <a:gd name="T80" fmla="*/ 753 w 2226"/>
                <a:gd name="T81" fmla="*/ 177 h 588"/>
                <a:gd name="T82" fmla="*/ 901 w 2226"/>
                <a:gd name="T83" fmla="*/ 155 h 588"/>
                <a:gd name="T84" fmla="*/ 1027 w 2226"/>
                <a:gd name="T85" fmla="*/ 233 h 588"/>
                <a:gd name="T86" fmla="*/ 921 w 2226"/>
                <a:gd name="T87" fmla="*/ 325 h 588"/>
                <a:gd name="T88" fmla="*/ 895 w 2226"/>
                <a:gd name="T89" fmla="*/ 267 h 588"/>
                <a:gd name="T90" fmla="*/ 818 w 2226"/>
                <a:gd name="T91" fmla="*/ 277 h 588"/>
                <a:gd name="T92" fmla="*/ 1595 w 2226"/>
                <a:gd name="T93" fmla="*/ 588 h 588"/>
                <a:gd name="T94" fmla="*/ 1393 w 2226"/>
                <a:gd name="T95" fmla="*/ 532 h 588"/>
                <a:gd name="T96" fmla="*/ 1483 w 2226"/>
                <a:gd name="T97" fmla="*/ 465 h 588"/>
                <a:gd name="T98" fmla="*/ 1638 w 2226"/>
                <a:gd name="T99" fmla="*/ 480 h 588"/>
                <a:gd name="T100" fmla="*/ 1609 w 2226"/>
                <a:gd name="T101" fmla="*/ 434 h 588"/>
                <a:gd name="T102" fmla="*/ 1433 w 2226"/>
                <a:gd name="T103" fmla="*/ 371 h 588"/>
                <a:gd name="T104" fmla="*/ 1410 w 2226"/>
                <a:gd name="T105" fmla="*/ 261 h 588"/>
                <a:gd name="T106" fmla="*/ 1497 w 2226"/>
                <a:gd name="T107" fmla="*/ 166 h 588"/>
                <a:gd name="T108" fmla="*/ 1713 w 2226"/>
                <a:gd name="T109" fmla="*/ 174 h 588"/>
                <a:gd name="T110" fmla="*/ 1716 w 2226"/>
                <a:gd name="T111" fmla="*/ 292 h 588"/>
                <a:gd name="T112" fmla="*/ 1568 w 2226"/>
                <a:gd name="T113" fmla="*/ 256 h 588"/>
                <a:gd name="T114" fmla="*/ 1563 w 2226"/>
                <a:gd name="T115" fmla="*/ 299 h 588"/>
                <a:gd name="T116" fmla="*/ 1752 w 2226"/>
                <a:gd name="T117" fmla="*/ 356 h 588"/>
                <a:gd name="T118" fmla="*/ 1787 w 2226"/>
                <a:gd name="T119" fmla="*/ 458 h 588"/>
                <a:gd name="T120" fmla="*/ 1721 w 2226"/>
                <a:gd name="T121" fmla="*/ 55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26" h="588">
                  <a:moveTo>
                    <a:pt x="2065" y="439"/>
                  </a:moveTo>
                  <a:lnTo>
                    <a:pt x="2065" y="391"/>
                  </a:lnTo>
                  <a:lnTo>
                    <a:pt x="2064" y="389"/>
                  </a:lnTo>
                  <a:lnTo>
                    <a:pt x="2063" y="388"/>
                  </a:lnTo>
                  <a:lnTo>
                    <a:pt x="2061" y="387"/>
                  </a:lnTo>
                  <a:lnTo>
                    <a:pt x="2060" y="387"/>
                  </a:lnTo>
                  <a:lnTo>
                    <a:pt x="2047" y="388"/>
                  </a:lnTo>
                  <a:lnTo>
                    <a:pt x="2035" y="389"/>
                  </a:lnTo>
                  <a:lnTo>
                    <a:pt x="2024" y="390"/>
                  </a:lnTo>
                  <a:lnTo>
                    <a:pt x="2014" y="392"/>
                  </a:lnTo>
                  <a:lnTo>
                    <a:pt x="2004" y="395"/>
                  </a:lnTo>
                  <a:lnTo>
                    <a:pt x="1996" y="397"/>
                  </a:lnTo>
                  <a:lnTo>
                    <a:pt x="1988" y="400"/>
                  </a:lnTo>
                  <a:lnTo>
                    <a:pt x="1981" y="403"/>
                  </a:lnTo>
                  <a:lnTo>
                    <a:pt x="1976" y="407"/>
                  </a:lnTo>
                  <a:lnTo>
                    <a:pt x="1971" y="411"/>
                  </a:lnTo>
                  <a:lnTo>
                    <a:pt x="1966" y="415"/>
                  </a:lnTo>
                  <a:lnTo>
                    <a:pt x="1963" y="420"/>
                  </a:lnTo>
                  <a:lnTo>
                    <a:pt x="1960" y="425"/>
                  </a:lnTo>
                  <a:lnTo>
                    <a:pt x="1958" y="430"/>
                  </a:lnTo>
                  <a:lnTo>
                    <a:pt x="1957" y="435"/>
                  </a:lnTo>
                  <a:lnTo>
                    <a:pt x="1957" y="441"/>
                  </a:lnTo>
                  <a:lnTo>
                    <a:pt x="1957" y="445"/>
                  </a:lnTo>
                  <a:lnTo>
                    <a:pt x="1958" y="448"/>
                  </a:lnTo>
                  <a:lnTo>
                    <a:pt x="1958" y="451"/>
                  </a:lnTo>
                  <a:lnTo>
                    <a:pt x="1959" y="454"/>
                  </a:lnTo>
                  <a:lnTo>
                    <a:pt x="1961" y="457"/>
                  </a:lnTo>
                  <a:lnTo>
                    <a:pt x="1963" y="459"/>
                  </a:lnTo>
                  <a:lnTo>
                    <a:pt x="1965" y="461"/>
                  </a:lnTo>
                  <a:lnTo>
                    <a:pt x="1967" y="463"/>
                  </a:lnTo>
                  <a:lnTo>
                    <a:pt x="1972" y="467"/>
                  </a:lnTo>
                  <a:lnTo>
                    <a:pt x="1975" y="468"/>
                  </a:lnTo>
                  <a:lnTo>
                    <a:pt x="1978" y="469"/>
                  </a:lnTo>
                  <a:lnTo>
                    <a:pt x="1984" y="470"/>
                  </a:lnTo>
                  <a:lnTo>
                    <a:pt x="1991" y="471"/>
                  </a:lnTo>
                  <a:lnTo>
                    <a:pt x="2005" y="470"/>
                  </a:lnTo>
                  <a:lnTo>
                    <a:pt x="2011" y="470"/>
                  </a:lnTo>
                  <a:lnTo>
                    <a:pt x="2017" y="469"/>
                  </a:lnTo>
                  <a:lnTo>
                    <a:pt x="2023" y="468"/>
                  </a:lnTo>
                  <a:lnTo>
                    <a:pt x="2028" y="467"/>
                  </a:lnTo>
                  <a:lnTo>
                    <a:pt x="2037" y="464"/>
                  </a:lnTo>
                  <a:lnTo>
                    <a:pt x="2045" y="461"/>
                  </a:lnTo>
                  <a:lnTo>
                    <a:pt x="2051" y="458"/>
                  </a:lnTo>
                  <a:lnTo>
                    <a:pt x="2056" y="454"/>
                  </a:lnTo>
                  <a:lnTo>
                    <a:pt x="2059" y="452"/>
                  </a:lnTo>
                  <a:lnTo>
                    <a:pt x="2061" y="450"/>
                  </a:lnTo>
                  <a:lnTo>
                    <a:pt x="2063" y="447"/>
                  </a:lnTo>
                  <a:lnTo>
                    <a:pt x="2064" y="443"/>
                  </a:lnTo>
                  <a:lnTo>
                    <a:pt x="2065" y="440"/>
                  </a:lnTo>
                  <a:lnTo>
                    <a:pt x="2065" y="439"/>
                  </a:lnTo>
                  <a:close/>
                  <a:moveTo>
                    <a:pt x="2225" y="572"/>
                  </a:moveTo>
                  <a:lnTo>
                    <a:pt x="2226" y="575"/>
                  </a:lnTo>
                  <a:lnTo>
                    <a:pt x="2225" y="577"/>
                  </a:lnTo>
                  <a:lnTo>
                    <a:pt x="2225" y="578"/>
                  </a:lnTo>
                  <a:lnTo>
                    <a:pt x="2224" y="579"/>
                  </a:lnTo>
                  <a:lnTo>
                    <a:pt x="2221" y="579"/>
                  </a:lnTo>
                  <a:lnTo>
                    <a:pt x="2220" y="579"/>
                  </a:lnTo>
                  <a:lnTo>
                    <a:pt x="2081" y="579"/>
                  </a:lnTo>
                  <a:lnTo>
                    <a:pt x="2079" y="579"/>
                  </a:lnTo>
                  <a:lnTo>
                    <a:pt x="2077" y="579"/>
                  </a:lnTo>
                  <a:lnTo>
                    <a:pt x="2074" y="577"/>
                  </a:lnTo>
                  <a:lnTo>
                    <a:pt x="2073" y="574"/>
                  </a:lnTo>
                  <a:lnTo>
                    <a:pt x="2072" y="572"/>
                  </a:lnTo>
                  <a:lnTo>
                    <a:pt x="2069" y="560"/>
                  </a:lnTo>
                  <a:lnTo>
                    <a:pt x="2067" y="548"/>
                  </a:lnTo>
                  <a:lnTo>
                    <a:pt x="2065" y="537"/>
                  </a:lnTo>
                  <a:lnTo>
                    <a:pt x="2065" y="526"/>
                  </a:lnTo>
                  <a:lnTo>
                    <a:pt x="2064" y="524"/>
                  </a:lnTo>
                  <a:lnTo>
                    <a:pt x="2064" y="522"/>
                  </a:lnTo>
                  <a:lnTo>
                    <a:pt x="2063" y="522"/>
                  </a:lnTo>
                  <a:lnTo>
                    <a:pt x="2062" y="522"/>
                  </a:lnTo>
                  <a:lnTo>
                    <a:pt x="2061" y="523"/>
                  </a:lnTo>
                  <a:lnTo>
                    <a:pt x="2060" y="524"/>
                  </a:lnTo>
                  <a:lnTo>
                    <a:pt x="2054" y="531"/>
                  </a:lnTo>
                  <a:lnTo>
                    <a:pt x="2048" y="537"/>
                  </a:lnTo>
                  <a:lnTo>
                    <a:pt x="2042" y="544"/>
                  </a:lnTo>
                  <a:lnTo>
                    <a:pt x="2035" y="549"/>
                  </a:lnTo>
                  <a:lnTo>
                    <a:pt x="2028" y="555"/>
                  </a:lnTo>
                  <a:lnTo>
                    <a:pt x="2021" y="560"/>
                  </a:lnTo>
                  <a:lnTo>
                    <a:pt x="2013" y="564"/>
                  </a:lnTo>
                  <a:lnTo>
                    <a:pt x="2005" y="569"/>
                  </a:lnTo>
                  <a:lnTo>
                    <a:pt x="1996" y="573"/>
                  </a:lnTo>
                  <a:lnTo>
                    <a:pt x="1987" y="576"/>
                  </a:lnTo>
                  <a:lnTo>
                    <a:pt x="1978" y="579"/>
                  </a:lnTo>
                  <a:lnTo>
                    <a:pt x="1968" y="581"/>
                  </a:lnTo>
                  <a:lnTo>
                    <a:pt x="1958" y="583"/>
                  </a:lnTo>
                  <a:lnTo>
                    <a:pt x="1948" y="584"/>
                  </a:lnTo>
                  <a:lnTo>
                    <a:pt x="1937" y="585"/>
                  </a:lnTo>
                  <a:lnTo>
                    <a:pt x="1925" y="586"/>
                  </a:lnTo>
                  <a:lnTo>
                    <a:pt x="1914" y="585"/>
                  </a:lnTo>
                  <a:lnTo>
                    <a:pt x="1903" y="584"/>
                  </a:lnTo>
                  <a:lnTo>
                    <a:pt x="1892" y="582"/>
                  </a:lnTo>
                  <a:lnTo>
                    <a:pt x="1881" y="579"/>
                  </a:lnTo>
                  <a:lnTo>
                    <a:pt x="1871" y="574"/>
                  </a:lnTo>
                  <a:lnTo>
                    <a:pt x="1861" y="570"/>
                  </a:lnTo>
                  <a:lnTo>
                    <a:pt x="1856" y="567"/>
                  </a:lnTo>
                  <a:lnTo>
                    <a:pt x="1851" y="564"/>
                  </a:lnTo>
                  <a:lnTo>
                    <a:pt x="1843" y="557"/>
                  </a:lnTo>
                  <a:lnTo>
                    <a:pt x="1835" y="549"/>
                  </a:lnTo>
                  <a:lnTo>
                    <a:pt x="1827" y="540"/>
                  </a:lnTo>
                  <a:lnTo>
                    <a:pt x="1824" y="536"/>
                  </a:lnTo>
                  <a:lnTo>
                    <a:pt x="1821" y="531"/>
                  </a:lnTo>
                  <a:lnTo>
                    <a:pt x="1816" y="520"/>
                  </a:lnTo>
                  <a:lnTo>
                    <a:pt x="1813" y="514"/>
                  </a:lnTo>
                  <a:lnTo>
                    <a:pt x="1811" y="508"/>
                  </a:lnTo>
                  <a:lnTo>
                    <a:pt x="1808" y="495"/>
                  </a:lnTo>
                  <a:lnTo>
                    <a:pt x="1806" y="481"/>
                  </a:lnTo>
                  <a:lnTo>
                    <a:pt x="1806" y="474"/>
                  </a:lnTo>
                  <a:lnTo>
                    <a:pt x="1805" y="466"/>
                  </a:lnTo>
                  <a:lnTo>
                    <a:pt x="1806" y="458"/>
                  </a:lnTo>
                  <a:lnTo>
                    <a:pt x="1806" y="449"/>
                  </a:lnTo>
                  <a:lnTo>
                    <a:pt x="1808" y="441"/>
                  </a:lnTo>
                  <a:lnTo>
                    <a:pt x="1809" y="433"/>
                  </a:lnTo>
                  <a:lnTo>
                    <a:pt x="1812" y="425"/>
                  </a:lnTo>
                  <a:lnTo>
                    <a:pt x="1814" y="418"/>
                  </a:lnTo>
                  <a:lnTo>
                    <a:pt x="1818" y="410"/>
                  </a:lnTo>
                  <a:lnTo>
                    <a:pt x="1822" y="403"/>
                  </a:lnTo>
                  <a:lnTo>
                    <a:pt x="1826" y="396"/>
                  </a:lnTo>
                  <a:lnTo>
                    <a:pt x="1831" y="390"/>
                  </a:lnTo>
                  <a:lnTo>
                    <a:pt x="1836" y="383"/>
                  </a:lnTo>
                  <a:lnTo>
                    <a:pt x="1842" y="377"/>
                  </a:lnTo>
                  <a:lnTo>
                    <a:pt x="1848" y="371"/>
                  </a:lnTo>
                  <a:lnTo>
                    <a:pt x="1855" y="365"/>
                  </a:lnTo>
                  <a:lnTo>
                    <a:pt x="1862" y="360"/>
                  </a:lnTo>
                  <a:lnTo>
                    <a:pt x="1869" y="355"/>
                  </a:lnTo>
                  <a:lnTo>
                    <a:pt x="1886" y="345"/>
                  </a:lnTo>
                  <a:lnTo>
                    <a:pt x="1895" y="341"/>
                  </a:lnTo>
                  <a:lnTo>
                    <a:pt x="1905" y="337"/>
                  </a:lnTo>
                  <a:lnTo>
                    <a:pt x="1915" y="333"/>
                  </a:lnTo>
                  <a:lnTo>
                    <a:pt x="1926" y="329"/>
                  </a:lnTo>
                  <a:lnTo>
                    <a:pt x="1948" y="323"/>
                  </a:lnTo>
                  <a:lnTo>
                    <a:pt x="1960" y="320"/>
                  </a:lnTo>
                  <a:lnTo>
                    <a:pt x="1973" y="317"/>
                  </a:lnTo>
                  <a:lnTo>
                    <a:pt x="1999" y="313"/>
                  </a:lnTo>
                  <a:lnTo>
                    <a:pt x="2013" y="311"/>
                  </a:lnTo>
                  <a:lnTo>
                    <a:pt x="2027" y="310"/>
                  </a:lnTo>
                  <a:lnTo>
                    <a:pt x="2057" y="308"/>
                  </a:lnTo>
                  <a:lnTo>
                    <a:pt x="2061" y="307"/>
                  </a:lnTo>
                  <a:lnTo>
                    <a:pt x="2064" y="306"/>
                  </a:lnTo>
                  <a:lnTo>
                    <a:pt x="2065" y="305"/>
                  </a:lnTo>
                  <a:lnTo>
                    <a:pt x="2065" y="302"/>
                  </a:lnTo>
                  <a:lnTo>
                    <a:pt x="2064" y="295"/>
                  </a:lnTo>
                  <a:lnTo>
                    <a:pt x="2063" y="291"/>
                  </a:lnTo>
                  <a:lnTo>
                    <a:pt x="2063" y="288"/>
                  </a:lnTo>
                  <a:lnTo>
                    <a:pt x="2061" y="285"/>
                  </a:lnTo>
                  <a:lnTo>
                    <a:pt x="2060" y="282"/>
                  </a:lnTo>
                  <a:lnTo>
                    <a:pt x="2055" y="277"/>
                  </a:lnTo>
                  <a:lnTo>
                    <a:pt x="2052" y="275"/>
                  </a:lnTo>
                  <a:lnTo>
                    <a:pt x="2049" y="273"/>
                  </a:lnTo>
                  <a:lnTo>
                    <a:pt x="2045" y="271"/>
                  </a:lnTo>
                  <a:lnTo>
                    <a:pt x="2041" y="269"/>
                  </a:lnTo>
                  <a:lnTo>
                    <a:pt x="2031" y="267"/>
                  </a:lnTo>
                  <a:lnTo>
                    <a:pt x="2025" y="267"/>
                  </a:lnTo>
                  <a:lnTo>
                    <a:pt x="2018" y="267"/>
                  </a:lnTo>
                  <a:lnTo>
                    <a:pt x="2009" y="267"/>
                  </a:lnTo>
                  <a:lnTo>
                    <a:pt x="2000" y="268"/>
                  </a:lnTo>
                  <a:lnTo>
                    <a:pt x="1992" y="269"/>
                  </a:lnTo>
                  <a:lnTo>
                    <a:pt x="1983" y="270"/>
                  </a:lnTo>
                  <a:lnTo>
                    <a:pt x="1974" y="272"/>
                  </a:lnTo>
                  <a:lnTo>
                    <a:pt x="1966" y="274"/>
                  </a:lnTo>
                  <a:lnTo>
                    <a:pt x="1958" y="277"/>
                  </a:lnTo>
                  <a:lnTo>
                    <a:pt x="1950" y="280"/>
                  </a:lnTo>
                  <a:lnTo>
                    <a:pt x="1934" y="286"/>
                  </a:lnTo>
                  <a:lnTo>
                    <a:pt x="1920" y="293"/>
                  </a:lnTo>
                  <a:lnTo>
                    <a:pt x="1907" y="300"/>
                  </a:lnTo>
                  <a:lnTo>
                    <a:pt x="1895" y="308"/>
                  </a:lnTo>
                  <a:lnTo>
                    <a:pt x="1893" y="309"/>
                  </a:lnTo>
                  <a:lnTo>
                    <a:pt x="1891" y="309"/>
                  </a:lnTo>
                  <a:lnTo>
                    <a:pt x="1889" y="309"/>
                  </a:lnTo>
                  <a:lnTo>
                    <a:pt x="1888" y="309"/>
                  </a:lnTo>
                  <a:lnTo>
                    <a:pt x="1886" y="307"/>
                  </a:lnTo>
                  <a:lnTo>
                    <a:pt x="1885" y="306"/>
                  </a:lnTo>
                  <a:lnTo>
                    <a:pt x="1830" y="230"/>
                  </a:lnTo>
                  <a:lnTo>
                    <a:pt x="1828" y="227"/>
                  </a:lnTo>
                  <a:lnTo>
                    <a:pt x="1828" y="225"/>
                  </a:lnTo>
                  <a:lnTo>
                    <a:pt x="1829" y="224"/>
                  </a:lnTo>
                  <a:lnTo>
                    <a:pt x="1830" y="221"/>
                  </a:lnTo>
                  <a:lnTo>
                    <a:pt x="1831" y="220"/>
                  </a:lnTo>
                  <a:lnTo>
                    <a:pt x="1847" y="207"/>
                  </a:lnTo>
                  <a:lnTo>
                    <a:pt x="1866" y="195"/>
                  </a:lnTo>
                  <a:lnTo>
                    <a:pt x="1876" y="189"/>
                  </a:lnTo>
                  <a:lnTo>
                    <a:pt x="1887" y="184"/>
                  </a:lnTo>
                  <a:lnTo>
                    <a:pt x="1899" y="178"/>
                  </a:lnTo>
                  <a:lnTo>
                    <a:pt x="1912" y="173"/>
                  </a:lnTo>
                  <a:lnTo>
                    <a:pt x="1925" y="169"/>
                  </a:lnTo>
                  <a:lnTo>
                    <a:pt x="1939" y="165"/>
                  </a:lnTo>
                  <a:lnTo>
                    <a:pt x="1954" y="161"/>
                  </a:lnTo>
                  <a:lnTo>
                    <a:pt x="1970" y="158"/>
                  </a:lnTo>
                  <a:lnTo>
                    <a:pt x="1987" y="155"/>
                  </a:lnTo>
                  <a:lnTo>
                    <a:pt x="2005" y="153"/>
                  </a:lnTo>
                  <a:lnTo>
                    <a:pt x="2023" y="152"/>
                  </a:lnTo>
                  <a:lnTo>
                    <a:pt x="2043" y="152"/>
                  </a:lnTo>
                  <a:lnTo>
                    <a:pt x="2054" y="152"/>
                  </a:lnTo>
                  <a:lnTo>
                    <a:pt x="2065" y="152"/>
                  </a:lnTo>
                  <a:lnTo>
                    <a:pt x="2086" y="154"/>
                  </a:lnTo>
                  <a:lnTo>
                    <a:pt x="2096" y="156"/>
                  </a:lnTo>
                  <a:lnTo>
                    <a:pt x="2105" y="158"/>
                  </a:lnTo>
                  <a:lnTo>
                    <a:pt x="2114" y="160"/>
                  </a:lnTo>
                  <a:lnTo>
                    <a:pt x="2122" y="163"/>
                  </a:lnTo>
                  <a:lnTo>
                    <a:pt x="2130" y="166"/>
                  </a:lnTo>
                  <a:lnTo>
                    <a:pt x="2138" y="169"/>
                  </a:lnTo>
                  <a:lnTo>
                    <a:pt x="2145" y="172"/>
                  </a:lnTo>
                  <a:lnTo>
                    <a:pt x="2152" y="176"/>
                  </a:lnTo>
                  <a:lnTo>
                    <a:pt x="2159" y="181"/>
                  </a:lnTo>
                  <a:lnTo>
                    <a:pt x="2165" y="185"/>
                  </a:lnTo>
                  <a:lnTo>
                    <a:pt x="2170" y="190"/>
                  </a:lnTo>
                  <a:lnTo>
                    <a:pt x="2176" y="196"/>
                  </a:lnTo>
                  <a:lnTo>
                    <a:pt x="2181" y="201"/>
                  </a:lnTo>
                  <a:lnTo>
                    <a:pt x="2186" y="207"/>
                  </a:lnTo>
                  <a:lnTo>
                    <a:pt x="2190" y="214"/>
                  </a:lnTo>
                  <a:lnTo>
                    <a:pt x="2194" y="220"/>
                  </a:lnTo>
                  <a:lnTo>
                    <a:pt x="2197" y="227"/>
                  </a:lnTo>
                  <a:lnTo>
                    <a:pt x="2201" y="235"/>
                  </a:lnTo>
                  <a:lnTo>
                    <a:pt x="2204" y="242"/>
                  </a:lnTo>
                  <a:lnTo>
                    <a:pt x="2206" y="251"/>
                  </a:lnTo>
                  <a:lnTo>
                    <a:pt x="2209" y="259"/>
                  </a:lnTo>
                  <a:lnTo>
                    <a:pt x="2211" y="268"/>
                  </a:lnTo>
                  <a:lnTo>
                    <a:pt x="2212" y="277"/>
                  </a:lnTo>
                  <a:lnTo>
                    <a:pt x="2214" y="287"/>
                  </a:lnTo>
                  <a:lnTo>
                    <a:pt x="2215" y="296"/>
                  </a:lnTo>
                  <a:lnTo>
                    <a:pt x="2215" y="307"/>
                  </a:lnTo>
                  <a:lnTo>
                    <a:pt x="2216" y="317"/>
                  </a:lnTo>
                  <a:lnTo>
                    <a:pt x="2216" y="328"/>
                  </a:lnTo>
                  <a:lnTo>
                    <a:pt x="2216" y="478"/>
                  </a:lnTo>
                  <a:lnTo>
                    <a:pt x="2217" y="512"/>
                  </a:lnTo>
                  <a:lnTo>
                    <a:pt x="2218" y="539"/>
                  </a:lnTo>
                  <a:lnTo>
                    <a:pt x="2220" y="549"/>
                  </a:lnTo>
                  <a:lnTo>
                    <a:pt x="2221" y="559"/>
                  </a:lnTo>
                  <a:lnTo>
                    <a:pt x="2223" y="566"/>
                  </a:lnTo>
                  <a:lnTo>
                    <a:pt x="2225" y="572"/>
                  </a:lnTo>
                  <a:close/>
                  <a:moveTo>
                    <a:pt x="1869" y="7"/>
                  </a:moveTo>
                  <a:lnTo>
                    <a:pt x="1869" y="5"/>
                  </a:lnTo>
                  <a:lnTo>
                    <a:pt x="1870" y="3"/>
                  </a:lnTo>
                  <a:lnTo>
                    <a:pt x="1873" y="0"/>
                  </a:lnTo>
                  <a:lnTo>
                    <a:pt x="1875" y="0"/>
                  </a:lnTo>
                  <a:lnTo>
                    <a:pt x="1877" y="0"/>
                  </a:lnTo>
                  <a:lnTo>
                    <a:pt x="1987" y="0"/>
                  </a:lnTo>
                  <a:lnTo>
                    <a:pt x="1989" y="0"/>
                  </a:lnTo>
                  <a:lnTo>
                    <a:pt x="1991" y="1"/>
                  </a:lnTo>
                  <a:lnTo>
                    <a:pt x="1994" y="3"/>
                  </a:lnTo>
                  <a:lnTo>
                    <a:pt x="1994" y="6"/>
                  </a:lnTo>
                  <a:lnTo>
                    <a:pt x="1995" y="7"/>
                  </a:lnTo>
                  <a:lnTo>
                    <a:pt x="1995" y="121"/>
                  </a:lnTo>
                  <a:lnTo>
                    <a:pt x="1994" y="123"/>
                  </a:lnTo>
                  <a:lnTo>
                    <a:pt x="1993" y="125"/>
                  </a:lnTo>
                  <a:lnTo>
                    <a:pt x="1991" y="128"/>
                  </a:lnTo>
                  <a:lnTo>
                    <a:pt x="1988" y="128"/>
                  </a:lnTo>
                  <a:lnTo>
                    <a:pt x="1987" y="129"/>
                  </a:lnTo>
                  <a:lnTo>
                    <a:pt x="1877" y="129"/>
                  </a:lnTo>
                  <a:lnTo>
                    <a:pt x="1874" y="128"/>
                  </a:lnTo>
                  <a:lnTo>
                    <a:pt x="1872" y="127"/>
                  </a:lnTo>
                  <a:lnTo>
                    <a:pt x="1870" y="125"/>
                  </a:lnTo>
                  <a:lnTo>
                    <a:pt x="1869" y="122"/>
                  </a:lnTo>
                  <a:lnTo>
                    <a:pt x="1869" y="121"/>
                  </a:lnTo>
                  <a:lnTo>
                    <a:pt x="1869" y="7"/>
                  </a:lnTo>
                  <a:close/>
                  <a:moveTo>
                    <a:pt x="2047" y="121"/>
                  </a:moveTo>
                  <a:lnTo>
                    <a:pt x="2047" y="7"/>
                  </a:lnTo>
                  <a:lnTo>
                    <a:pt x="2047" y="5"/>
                  </a:lnTo>
                  <a:lnTo>
                    <a:pt x="2048" y="3"/>
                  </a:lnTo>
                  <a:lnTo>
                    <a:pt x="2051" y="0"/>
                  </a:lnTo>
                  <a:lnTo>
                    <a:pt x="2053" y="0"/>
                  </a:lnTo>
                  <a:lnTo>
                    <a:pt x="2054" y="0"/>
                  </a:lnTo>
                  <a:lnTo>
                    <a:pt x="2165" y="0"/>
                  </a:lnTo>
                  <a:lnTo>
                    <a:pt x="2167" y="0"/>
                  </a:lnTo>
                  <a:lnTo>
                    <a:pt x="2169" y="1"/>
                  </a:lnTo>
                  <a:lnTo>
                    <a:pt x="2171" y="3"/>
                  </a:lnTo>
                  <a:lnTo>
                    <a:pt x="2172" y="6"/>
                  </a:lnTo>
                  <a:lnTo>
                    <a:pt x="2172" y="7"/>
                  </a:lnTo>
                  <a:lnTo>
                    <a:pt x="2172" y="121"/>
                  </a:lnTo>
                  <a:lnTo>
                    <a:pt x="2172" y="123"/>
                  </a:lnTo>
                  <a:lnTo>
                    <a:pt x="2171" y="125"/>
                  </a:lnTo>
                  <a:lnTo>
                    <a:pt x="2169" y="127"/>
                  </a:lnTo>
                  <a:lnTo>
                    <a:pt x="2166" y="128"/>
                  </a:lnTo>
                  <a:lnTo>
                    <a:pt x="2165" y="128"/>
                  </a:lnTo>
                  <a:lnTo>
                    <a:pt x="2054" y="128"/>
                  </a:lnTo>
                  <a:lnTo>
                    <a:pt x="2052" y="128"/>
                  </a:lnTo>
                  <a:lnTo>
                    <a:pt x="2050" y="127"/>
                  </a:lnTo>
                  <a:lnTo>
                    <a:pt x="2048" y="125"/>
                  </a:lnTo>
                  <a:lnTo>
                    <a:pt x="2047" y="122"/>
                  </a:lnTo>
                  <a:lnTo>
                    <a:pt x="2047" y="121"/>
                  </a:lnTo>
                  <a:close/>
                  <a:moveTo>
                    <a:pt x="1274" y="585"/>
                  </a:moveTo>
                  <a:lnTo>
                    <a:pt x="1249" y="584"/>
                  </a:lnTo>
                  <a:lnTo>
                    <a:pt x="1226" y="583"/>
                  </a:lnTo>
                  <a:lnTo>
                    <a:pt x="1207" y="580"/>
                  </a:lnTo>
                  <a:lnTo>
                    <a:pt x="1190" y="576"/>
                  </a:lnTo>
                  <a:lnTo>
                    <a:pt x="1175" y="571"/>
                  </a:lnTo>
                  <a:lnTo>
                    <a:pt x="1168" y="568"/>
                  </a:lnTo>
                  <a:lnTo>
                    <a:pt x="1162" y="565"/>
                  </a:lnTo>
                  <a:lnTo>
                    <a:pt x="1156" y="561"/>
                  </a:lnTo>
                  <a:lnTo>
                    <a:pt x="1151" y="558"/>
                  </a:lnTo>
                  <a:lnTo>
                    <a:pt x="1149" y="556"/>
                  </a:lnTo>
                  <a:lnTo>
                    <a:pt x="1147" y="554"/>
                  </a:lnTo>
                  <a:lnTo>
                    <a:pt x="1143" y="550"/>
                  </a:lnTo>
                  <a:lnTo>
                    <a:pt x="1139" y="545"/>
                  </a:lnTo>
                  <a:lnTo>
                    <a:pt x="1135" y="541"/>
                  </a:lnTo>
                  <a:lnTo>
                    <a:pt x="1130" y="531"/>
                  </a:lnTo>
                  <a:lnTo>
                    <a:pt x="1127" y="525"/>
                  </a:lnTo>
                  <a:lnTo>
                    <a:pt x="1125" y="520"/>
                  </a:lnTo>
                  <a:lnTo>
                    <a:pt x="1122" y="508"/>
                  </a:lnTo>
                  <a:lnTo>
                    <a:pt x="1121" y="502"/>
                  </a:lnTo>
                  <a:lnTo>
                    <a:pt x="1120" y="496"/>
                  </a:lnTo>
                  <a:lnTo>
                    <a:pt x="1119" y="482"/>
                  </a:lnTo>
                  <a:lnTo>
                    <a:pt x="1118" y="468"/>
                  </a:lnTo>
                  <a:lnTo>
                    <a:pt x="1118" y="453"/>
                  </a:lnTo>
                  <a:lnTo>
                    <a:pt x="1118" y="278"/>
                  </a:lnTo>
                  <a:lnTo>
                    <a:pt x="1117" y="276"/>
                  </a:lnTo>
                  <a:lnTo>
                    <a:pt x="1117" y="274"/>
                  </a:lnTo>
                  <a:lnTo>
                    <a:pt x="1114" y="272"/>
                  </a:lnTo>
                  <a:lnTo>
                    <a:pt x="1111" y="271"/>
                  </a:lnTo>
                  <a:lnTo>
                    <a:pt x="1110" y="271"/>
                  </a:lnTo>
                  <a:lnTo>
                    <a:pt x="1067" y="271"/>
                  </a:lnTo>
                  <a:lnTo>
                    <a:pt x="1064" y="270"/>
                  </a:lnTo>
                  <a:lnTo>
                    <a:pt x="1062" y="269"/>
                  </a:lnTo>
                  <a:lnTo>
                    <a:pt x="1060" y="267"/>
                  </a:lnTo>
                  <a:lnTo>
                    <a:pt x="1059" y="264"/>
                  </a:lnTo>
                  <a:lnTo>
                    <a:pt x="1059" y="263"/>
                  </a:lnTo>
                  <a:lnTo>
                    <a:pt x="1059" y="167"/>
                  </a:lnTo>
                  <a:lnTo>
                    <a:pt x="1059" y="164"/>
                  </a:lnTo>
                  <a:lnTo>
                    <a:pt x="1060" y="162"/>
                  </a:lnTo>
                  <a:lnTo>
                    <a:pt x="1063" y="160"/>
                  </a:lnTo>
                  <a:lnTo>
                    <a:pt x="1065" y="159"/>
                  </a:lnTo>
                  <a:lnTo>
                    <a:pt x="1067" y="159"/>
                  </a:lnTo>
                  <a:lnTo>
                    <a:pt x="1110" y="159"/>
                  </a:lnTo>
                  <a:lnTo>
                    <a:pt x="1113" y="159"/>
                  </a:lnTo>
                  <a:lnTo>
                    <a:pt x="1115" y="158"/>
                  </a:lnTo>
                  <a:lnTo>
                    <a:pt x="1117" y="157"/>
                  </a:lnTo>
                  <a:lnTo>
                    <a:pt x="1118" y="156"/>
                  </a:lnTo>
                  <a:lnTo>
                    <a:pt x="1120" y="153"/>
                  </a:lnTo>
                  <a:lnTo>
                    <a:pt x="1121" y="152"/>
                  </a:lnTo>
                  <a:lnTo>
                    <a:pt x="1170" y="25"/>
                  </a:lnTo>
                  <a:lnTo>
                    <a:pt x="1171" y="23"/>
                  </a:lnTo>
                  <a:lnTo>
                    <a:pt x="1173" y="21"/>
                  </a:lnTo>
                  <a:lnTo>
                    <a:pt x="1175" y="20"/>
                  </a:lnTo>
                  <a:lnTo>
                    <a:pt x="1176" y="19"/>
                  </a:lnTo>
                  <a:lnTo>
                    <a:pt x="1179" y="18"/>
                  </a:lnTo>
                  <a:lnTo>
                    <a:pt x="1180" y="18"/>
                  </a:lnTo>
                  <a:lnTo>
                    <a:pt x="1265" y="18"/>
                  </a:lnTo>
                  <a:lnTo>
                    <a:pt x="1268" y="19"/>
                  </a:lnTo>
                  <a:lnTo>
                    <a:pt x="1270" y="19"/>
                  </a:lnTo>
                  <a:lnTo>
                    <a:pt x="1272" y="22"/>
                  </a:lnTo>
                  <a:lnTo>
                    <a:pt x="1273" y="25"/>
                  </a:lnTo>
                  <a:lnTo>
                    <a:pt x="1273" y="26"/>
                  </a:lnTo>
                  <a:lnTo>
                    <a:pt x="1273" y="152"/>
                  </a:lnTo>
                  <a:lnTo>
                    <a:pt x="1273" y="154"/>
                  </a:lnTo>
                  <a:lnTo>
                    <a:pt x="1274" y="156"/>
                  </a:lnTo>
                  <a:lnTo>
                    <a:pt x="1277" y="158"/>
                  </a:lnTo>
                  <a:lnTo>
                    <a:pt x="1279" y="159"/>
                  </a:lnTo>
                  <a:lnTo>
                    <a:pt x="1281" y="159"/>
                  </a:lnTo>
                  <a:lnTo>
                    <a:pt x="1374" y="159"/>
                  </a:lnTo>
                  <a:lnTo>
                    <a:pt x="1376" y="160"/>
                  </a:lnTo>
                  <a:lnTo>
                    <a:pt x="1378" y="161"/>
                  </a:lnTo>
                  <a:lnTo>
                    <a:pt x="1381" y="163"/>
                  </a:lnTo>
                  <a:lnTo>
                    <a:pt x="1381" y="166"/>
                  </a:lnTo>
                  <a:lnTo>
                    <a:pt x="1381" y="167"/>
                  </a:lnTo>
                  <a:lnTo>
                    <a:pt x="1381" y="263"/>
                  </a:lnTo>
                  <a:lnTo>
                    <a:pt x="1381" y="266"/>
                  </a:lnTo>
                  <a:lnTo>
                    <a:pt x="1380" y="268"/>
                  </a:lnTo>
                  <a:lnTo>
                    <a:pt x="1378" y="270"/>
                  </a:lnTo>
                  <a:lnTo>
                    <a:pt x="1375" y="271"/>
                  </a:lnTo>
                  <a:lnTo>
                    <a:pt x="1374" y="271"/>
                  </a:lnTo>
                  <a:lnTo>
                    <a:pt x="1281" y="271"/>
                  </a:lnTo>
                  <a:lnTo>
                    <a:pt x="1278" y="271"/>
                  </a:lnTo>
                  <a:lnTo>
                    <a:pt x="1276" y="272"/>
                  </a:lnTo>
                  <a:lnTo>
                    <a:pt x="1274" y="275"/>
                  </a:lnTo>
                  <a:lnTo>
                    <a:pt x="1273" y="277"/>
                  </a:lnTo>
                  <a:lnTo>
                    <a:pt x="1273" y="278"/>
                  </a:lnTo>
                  <a:lnTo>
                    <a:pt x="1273" y="419"/>
                  </a:lnTo>
                  <a:lnTo>
                    <a:pt x="1274" y="434"/>
                  </a:lnTo>
                  <a:lnTo>
                    <a:pt x="1275" y="446"/>
                  </a:lnTo>
                  <a:lnTo>
                    <a:pt x="1277" y="452"/>
                  </a:lnTo>
                  <a:lnTo>
                    <a:pt x="1279" y="456"/>
                  </a:lnTo>
                  <a:lnTo>
                    <a:pt x="1281" y="460"/>
                  </a:lnTo>
                  <a:lnTo>
                    <a:pt x="1284" y="463"/>
                  </a:lnTo>
                  <a:lnTo>
                    <a:pt x="1287" y="466"/>
                  </a:lnTo>
                  <a:lnTo>
                    <a:pt x="1291" y="469"/>
                  </a:lnTo>
                  <a:lnTo>
                    <a:pt x="1296" y="471"/>
                  </a:lnTo>
                  <a:lnTo>
                    <a:pt x="1301" y="472"/>
                  </a:lnTo>
                  <a:lnTo>
                    <a:pt x="1307" y="473"/>
                  </a:lnTo>
                  <a:lnTo>
                    <a:pt x="1313" y="474"/>
                  </a:lnTo>
                  <a:lnTo>
                    <a:pt x="1320" y="474"/>
                  </a:lnTo>
                  <a:lnTo>
                    <a:pt x="1328" y="475"/>
                  </a:lnTo>
                  <a:lnTo>
                    <a:pt x="1340" y="474"/>
                  </a:lnTo>
                  <a:lnTo>
                    <a:pt x="1351" y="473"/>
                  </a:lnTo>
                  <a:lnTo>
                    <a:pt x="1361" y="472"/>
                  </a:lnTo>
                  <a:lnTo>
                    <a:pt x="1366" y="471"/>
                  </a:lnTo>
                  <a:lnTo>
                    <a:pt x="1367" y="471"/>
                  </a:lnTo>
                  <a:lnTo>
                    <a:pt x="1368" y="471"/>
                  </a:lnTo>
                  <a:lnTo>
                    <a:pt x="1369" y="474"/>
                  </a:lnTo>
                  <a:lnTo>
                    <a:pt x="1370" y="477"/>
                  </a:lnTo>
                  <a:lnTo>
                    <a:pt x="1370" y="564"/>
                  </a:lnTo>
                  <a:lnTo>
                    <a:pt x="1369" y="569"/>
                  </a:lnTo>
                  <a:lnTo>
                    <a:pt x="1369" y="572"/>
                  </a:lnTo>
                  <a:lnTo>
                    <a:pt x="1368" y="575"/>
                  </a:lnTo>
                  <a:lnTo>
                    <a:pt x="1366" y="577"/>
                  </a:lnTo>
                  <a:lnTo>
                    <a:pt x="1364" y="578"/>
                  </a:lnTo>
                  <a:lnTo>
                    <a:pt x="1362" y="579"/>
                  </a:lnTo>
                  <a:lnTo>
                    <a:pt x="1358" y="580"/>
                  </a:lnTo>
                  <a:lnTo>
                    <a:pt x="1340" y="582"/>
                  </a:lnTo>
                  <a:lnTo>
                    <a:pt x="1317" y="583"/>
                  </a:lnTo>
                  <a:lnTo>
                    <a:pt x="1294" y="584"/>
                  </a:lnTo>
                  <a:lnTo>
                    <a:pt x="1274" y="585"/>
                  </a:lnTo>
                  <a:close/>
                  <a:moveTo>
                    <a:pt x="0" y="572"/>
                  </a:moveTo>
                  <a:lnTo>
                    <a:pt x="0" y="7"/>
                  </a:lnTo>
                  <a:lnTo>
                    <a:pt x="0" y="5"/>
                  </a:lnTo>
                  <a:lnTo>
                    <a:pt x="1" y="3"/>
                  </a:lnTo>
                  <a:lnTo>
                    <a:pt x="4" y="1"/>
                  </a:lnTo>
                  <a:lnTo>
                    <a:pt x="6" y="0"/>
                  </a:lnTo>
                  <a:lnTo>
                    <a:pt x="7" y="0"/>
                  </a:lnTo>
                  <a:lnTo>
                    <a:pt x="200" y="0"/>
                  </a:lnTo>
                  <a:lnTo>
                    <a:pt x="202" y="0"/>
                  </a:lnTo>
                  <a:lnTo>
                    <a:pt x="204" y="1"/>
                  </a:lnTo>
                  <a:lnTo>
                    <a:pt x="206" y="2"/>
                  </a:lnTo>
                  <a:lnTo>
                    <a:pt x="207" y="3"/>
                  </a:lnTo>
                  <a:lnTo>
                    <a:pt x="209" y="6"/>
                  </a:lnTo>
                  <a:lnTo>
                    <a:pt x="209" y="7"/>
                  </a:lnTo>
                  <a:lnTo>
                    <a:pt x="307" y="386"/>
                  </a:lnTo>
                  <a:lnTo>
                    <a:pt x="307" y="387"/>
                  </a:lnTo>
                  <a:lnTo>
                    <a:pt x="308" y="388"/>
                  </a:lnTo>
                  <a:lnTo>
                    <a:pt x="310" y="389"/>
                  </a:lnTo>
                  <a:lnTo>
                    <a:pt x="312" y="389"/>
                  </a:lnTo>
                  <a:lnTo>
                    <a:pt x="313" y="387"/>
                  </a:lnTo>
                  <a:lnTo>
                    <a:pt x="313" y="386"/>
                  </a:lnTo>
                  <a:lnTo>
                    <a:pt x="401" y="7"/>
                  </a:lnTo>
                  <a:lnTo>
                    <a:pt x="402" y="5"/>
                  </a:lnTo>
                  <a:lnTo>
                    <a:pt x="403" y="3"/>
                  </a:lnTo>
                  <a:lnTo>
                    <a:pt x="406" y="1"/>
                  </a:lnTo>
                  <a:lnTo>
                    <a:pt x="409" y="0"/>
                  </a:lnTo>
                  <a:lnTo>
                    <a:pt x="410" y="0"/>
                  </a:lnTo>
                  <a:lnTo>
                    <a:pt x="607" y="0"/>
                  </a:lnTo>
                  <a:lnTo>
                    <a:pt x="610" y="0"/>
                  </a:lnTo>
                  <a:lnTo>
                    <a:pt x="611" y="1"/>
                  </a:lnTo>
                  <a:lnTo>
                    <a:pt x="614" y="4"/>
                  </a:lnTo>
                  <a:lnTo>
                    <a:pt x="615" y="6"/>
                  </a:lnTo>
                  <a:lnTo>
                    <a:pt x="615" y="7"/>
                  </a:lnTo>
                  <a:lnTo>
                    <a:pt x="615" y="572"/>
                  </a:lnTo>
                  <a:lnTo>
                    <a:pt x="614" y="575"/>
                  </a:lnTo>
                  <a:lnTo>
                    <a:pt x="613" y="576"/>
                  </a:lnTo>
                  <a:lnTo>
                    <a:pt x="611" y="579"/>
                  </a:lnTo>
                  <a:lnTo>
                    <a:pt x="608" y="579"/>
                  </a:lnTo>
                  <a:lnTo>
                    <a:pt x="607" y="580"/>
                  </a:lnTo>
                  <a:lnTo>
                    <a:pt x="473" y="580"/>
                  </a:lnTo>
                  <a:lnTo>
                    <a:pt x="470" y="579"/>
                  </a:lnTo>
                  <a:lnTo>
                    <a:pt x="468" y="578"/>
                  </a:lnTo>
                  <a:lnTo>
                    <a:pt x="466" y="576"/>
                  </a:lnTo>
                  <a:lnTo>
                    <a:pt x="465" y="573"/>
                  </a:lnTo>
                  <a:lnTo>
                    <a:pt x="465" y="572"/>
                  </a:lnTo>
                  <a:lnTo>
                    <a:pt x="465" y="226"/>
                  </a:lnTo>
                  <a:lnTo>
                    <a:pt x="465" y="224"/>
                  </a:lnTo>
                  <a:lnTo>
                    <a:pt x="464" y="223"/>
                  </a:lnTo>
                  <a:lnTo>
                    <a:pt x="463" y="222"/>
                  </a:lnTo>
                  <a:lnTo>
                    <a:pt x="462" y="222"/>
                  </a:lnTo>
                  <a:lnTo>
                    <a:pt x="461" y="222"/>
                  </a:lnTo>
                  <a:lnTo>
                    <a:pt x="460" y="223"/>
                  </a:lnTo>
                  <a:lnTo>
                    <a:pt x="458" y="226"/>
                  </a:lnTo>
                  <a:lnTo>
                    <a:pt x="452" y="264"/>
                  </a:lnTo>
                  <a:lnTo>
                    <a:pt x="446" y="298"/>
                  </a:lnTo>
                  <a:lnTo>
                    <a:pt x="443" y="314"/>
                  </a:lnTo>
                  <a:lnTo>
                    <a:pt x="440" y="330"/>
                  </a:lnTo>
                  <a:lnTo>
                    <a:pt x="436" y="346"/>
                  </a:lnTo>
                  <a:lnTo>
                    <a:pt x="432" y="362"/>
                  </a:lnTo>
                  <a:lnTo>
                    <a:pt x="373" y="572"/>
                  </a:lnTo>
                  <a:lnTo>
                    <a:pt x="372" y="575"/>
                  </a:lnTo>
                  <a:lnTo>
                    <a:pt x="371" y="577"/>
                  </a:lnTo>
                  <a:lnTo>
                    <a:pt x="368" y="579"/>
                  </a:lnTo>
                  <a:lnTo>
                    <a:pt x="365" y="579"/>
                  </a:lnTo>
                  <a:lnTo>
                    <a:pt x="364" y="580"/>
                  </a:lnTo>
                  <a:lnTo>
                    <a:pt x="241" y="580"/>
                  </a:lnTo>
                  <a:lnTo>
                    <a:pt x="238" y="579"/>
                  </a:lnTo>
                  <a:lnTo>
                    <a:pt x="236" y="578"/>
                  </a:lnTo>
                  <a:lnTo>
                    <a:pt x="234" y="577"/>
                  </a:lnTo>
                  <a:lnTo>
                    <a:pt x="233" y="576"/>
                  </a:lnTo>
                  <a:lnTo>
                    <a:pt x="232" y="573"/>
                  </a:lnTo>
                  <a:lnTo>
                    <a:pt x="231" y="572"/>
                  </a:lnTo>
                  <a:lnTo>
                    <a:pt x="174" y="362"/>
                  </a:lnTo>
                  <a:lnTo>
                    <a:pt x="169" y="345"/>
                  </a:lnTo>
                  <a:lnTo>
                    <a:pt x="165" y="330"/>
                  </a:lnTo>
                  <a:lnTo>
                    <a:pt x="159" y="301"/>
                  </a:lnTo>
                  <a:lnTo>
                    <a:pt x="153" y="268"/>
                  </a:lnTo>
                  <a:lnTo>
                    <a:pt x="146" y="224"/>
                  </a:lnTo>
                  <a:lnTo>
                    <a:pt x="146" y="223"/>
                  </a:lnTo>
                  <a:lnTo>
                    <a:pt x="145" y="222"/>
                  </a:lnTo>
                  <a:lnTo>
                    <a:pt x="142" y="221"/>
                  </a:lnTo>
                  <a:lnTo>
                    <a:pt x="140" y="222"/>
                  </a:lnTo>
                  <a:lnTo>
                    <a:pt x="140" y="223"/>
                  </a:lnTo>
                  <a:lnTo>
                    <a:pt x="139" y="224"/>
                  </a:lnTo>
                  <a:lnTo>
                    <a:pt x="139" y="572"/>
                  </a:lnTo>
                  <a:lnTo>
                    <a:pt x="139" y="575"/>
                  </a:lnTo>
                  <a:lnTo>
                    <a:pt x="138" y="576"/>
                  </a:lnTo>
                  <a:lnTo>
                    <a:pt x="136" y="579"/>
                  </a:lnTo>
                  <a:lnTo>
                    <a:pt x="133" y="579"/>
                  </a:lnTo>
                  <a:lnTo>
                    <a:pt x="132" y="580"/>
                  </a:lnTo>
                  <a:lnTo>
                    <a:pt x="8" y="580"/>
                  </a:lnTo>
                  <a:lnTo>
                    <a:pt x="5" y="579"/>
                  </a:lnTo>
                  <a:lnTo>
                    <a:pt x="3" y="578"/>
                  </a:lnTo>
                  <a:lnTo>
                    <a:pt x="1" y="576"/>
                  </a:lnTo>
                  <a:lnTo>
                    <a:pt x="0" y="573"/>
                  </a:lnTo>
                  <a:lnTo>
                    <a:pt x="0" y="572"/>
                  </a:lnTo>
                  <a:close/>
                  <a:moveTo>
                    <a:pt x="1063" y="408"/>
                  </a:moveTo>
                  <a:lnTo>
                    <a:pt x="1062" y="410"/>
                  </a:lnTo>
                  <a:lnTo>
                    <a:pt x="1062" y="412"/>
                  </a:lnTo>
                  <a:lnTo>
                    <a:pt x="1061" y="413"/>
                  </a:lnTo>
                  <a:lnTo>
                    <a:pt x="1060" y="414"/>
                  </a:lnTo>
                  <a:lnTo>
                    <a:pt x="1058" y="414"/>
                  </a:lnTo>
                  <a:lnTo>
                    <a:pt x="1057" y="414"/>
                  </a:lnTo>
                  <a:lnTo>
                    <a:pt x="801" y="414"/>
                  </a:lnTo>
                  <a:lnTo>
                    <a:pt x="799" y="415"/>
                  </a:lnTo>
                  <a:lnTo>
                    <a:pt x="797" y="415"/>
                  </a:lnTo>
                  <a:lnTo>
                    <a:pt x="796" y="417"/>
                  </a:lnTo>
                  <a:lnTo>
                    <a:pt x="795" y="418"/>
                  </a:lnTo>
                  <a:lnTo>
                    <a:pt x="795" y="421"/>
                  </a:lnTo>
                  <a:lnTo>
                    <a:pt x="795" y="422"/>
                  </a:lnTo>
                  <a:lnTo>
                    <a:pt x="796" y="430"/>
                  </a:lnTo>
                  <a:lnTo>
                    <a:pt x="799" y="438"/>
                  </a:lnTo>
                  <a:lnTo>
                    <a:pt x="801" y="445"/>
                  </a:lnTo>
                  <a:lnTo>
                    <a:pt x="804" y="451"/>
                  </a:lnTo>
                  <a:lnTo>
                    <a:pt x="808" y="457"/>
                  </a:lnTo>
                  <a:lnTo>
                    <a:pt x="812" y="462"/>
                  </a:lnTo>
                  <a:lnTo>
                    <a:pt x="817" y="466"/>
                  </a:lnTo>
                  <a:lnTo>
                    <a:pt x="822" y="470"/>
                  </a:lnTo>
                  <a:lnTo>
                    <a:pt x="827" y="473"/>
                  </a:lnTo>
                  <a:lnTo>
                    <a:pt x="833" y="476"/>
                  </a:lnTo>
                  <a:lnTo>
                    <a:pt x="840" y="478"/>
                  </a:lnTo>
                  <a:lnTo>
                    <a:pt x="846" y="480"/>
                  </a:lnTo>
                  <a:lnTo>
                    <a:pt x="854" y="481"/>
                  </a:lnTo>
                  <a:lnTo>
                    <a:pt x="861" y="482"/>
                  </a:lnTo>
                  <a:lnTo>
                    <a:pt x="878" y="482"/>
                  </a:lnTo>
                  <a:lnTo>
                    <a:pt x="886" y="482"/>
                  </a:lnTo>
                  <a:lnTo>
                    <a:pt x="894" y="481"/>
                  </a:lnTo>
                  <a:lnTo>
                    <a:pt x="903" y="480"/>
                  </a:lnTo>
                  <a:lnTo>
                    <a:pt x="911" y="479"/>
                  </a:lnTo>
                  <a:lnTo>
                    <a:pt x="928" y="475"/>
                  </a:lnTo>
                  <a:lnTo>
                    <a:pt x="943" y="470"/>
                  </a:lnTo>
                  <a:lnTo>
                    <a:pt x="958" y="464"/>
                  </a:lnTo>
                  <a:lnTo>
                    <a:pt x="971" y="459"/>
                  </a:lnTo>
                  <a:lnTo>
                    <a:pt x="983" y="453"/>
                  </a:lnTo>
                  <a:lnTo>
                    <a:pt x="992" y="448"/>
                  </a:lnTo>
                  <a:lnTo>
                    <a:pt x="994" y="447"/>
                  </a:lnTo>
                  <a:lnTo>
                    <a:pt x="996" y="447"/>
                  </a:lnTo>
                  <a:lnTo>
                    <a:pt x="998" y="447"/>
                  </a:lnTo>
                  <a:lnTo>
                    <a:pt x="999" y="448"/>
                  </a:lnTo>
                  <a:lnTo>
                    <a:pt x="1002" y="450"/>
                  </a:lnTo>
                  <a:lnTo>
                    <a:pt x="1050" y="531"/>
                  </a:lnTo>
                  <a:lnTo>
                    <a:pt x="1052" y="535"/>
                  </a:lnTo>
                  <a:lnTo>
                    <a:pt x="1052" y="537"/>
                  </a:lnTo>
                  <a:lnTo>
                    <a:pt x="1051" y="538"/>
                  </a:lnTo>
                  <a:lnTo>
                    <a:pt x="1051" y="540"/>
                  </a:lnTo>
                  <a:lnTo>
                    <a:pt x="1050" y="540"/>
                  </a:lnTo>
                  <a:lnTo>
                    <a:pt x="1048" y="542"/>
                  </a:lnTo>
                  <a:lnTo>
                    <a:pt x="1038" y="547"/>
                  </a:lnTo>
                  <a:lnTo>
                    <a:pt x="1028" y="553"/>
                  </a:lnTo>
                  <a:lnTo>
                    <a:pt x="1018" y="558"/>
                  </a:lnTo>
                  <a:lnTo>
                    <a:pt x="1007" y="562"/>
                  </a:lnTo>
                  <a:lnTo>
                    <a:pt x="996" y="567"/>
                  </a:lnTo>
                  <a:lnTo>
                    <a:pt x="985" y="570"/>
                  </a:lnTo>
                  <a:lnTo>
                    <a:pt x="974" y="574"/>
                  </a:lnTo>
                  <a:lnTo>
                    <a:pt x="963" y="577"/>
                  </a:lnTo>
                  <a:lnTo>
                    <a:pt x="951" y="580"/>
                  </a:lnTo>
                  <a:lnTo>
                    <a:pt x="939" y="582"/>
                  </a:lnTo>
                  <a:lnTo>
                    <a:pt x="927" y="584"/>
                  </a:lnTo>
                  <a:lnTo>
                    <a:pt x="915" y="585"/>
                  </a:lnTo>
                  <a:lnTo>
                    <a:pt x="903" y="587"/>
                  </a:lnTo>
                  <a:lnTo>
                    <a:pt x="891" y="587"/>
                  </a:lnTo>
                  <a:lnTo>
                    <a:pt x="866" y="588"/>
                  </a:lnTo>
                  <a:lnTo>
                    <a:pt x="844" y="588"/>
                  </a:lnTo>
                  <a:lnTo>
                    <a:pt x="823" y="586"/>
                  </a:lnTo>
                  <a:lnTo>
                    <a:pt x="813" y="584"/>
                  </a:lnTo>
                  <a:lnTo>
                    <a:pt x="802" y="583"/>
                  </a:lnTo>
                  <a:lnTo>
                    <a:pt x="792" y="580"/>
                  </a:lnTo>
                  <a:lnTo>
                    <a:pt x="782" y="578"/>
                  </a:lnTo>
                  <a:lnTo>
                    <a:pt x="772" y="575"/>
                  </a:lnTo>
                  <a:lnTo>
                    <a:pt x="762" y="572"/>
                  </a:lnTo>
                  <a:lnTo>
                    <a:pt x="753" y="568"/>
                  </a:lnTo>
                  <a:lnTo>
                    <a:pt x="744" y="564"/>
                  </a:lnTo>
                  <a:lnTo>
                    <a:pt x="735" y="559"/>
                  </a:lnTo>
                  <a:lnTo>
                    <a:pt x="726" y="554"/>
                  </a:lnTo>
                  <a:lnTo>
                    <a:pt x="718" y="549"/>
                  </a:lnTo>
                  <a:lnTo>
                    <a:pt x="710" y="543"/>
                  </a:lnTo>
                  <a:lnTo>
                    <a:pt x="702" y="537"/>
                  </a:lnTo>
                  <a:lnTo>
                    <a:pt x="694" y="530"/>
                  </a:lnTo>
                  <a:lnTo>
                    <a:pt x="687" y="522"/>
                  </a:lnTo>
                  <a:lnTo>
                    <a:pt x="681" y="514"/>
                  </a:lnTo>
                  <a:lnTo>
                    <a:pt x="675" y="505"/>
                  </a:lnTo>
                  <a:lnTo>
                    <a:pt x="669" y="496"/>
                  </a:lnTo>
                  <a:lnTo>
                    <a:pt x="664" y="486"/>
                  </a:lnTo>
                  <a:lnTo>
                    <a:pt x="659" y="476"/>
                  </a:lnTo>
                  <a:lnTo>
                    <a:pt x="654" y="465"/>
                  </a:lnTo>
                  <a:lnTo>
                    <a:pt x="652" y="459"/>
                  </a:lnTo>
                  <a:lnTo>
                    <a:pt x="651" y="454"/>
                  </a:lnTo>
                  <a:lnTo>
                    <a:pt x="647" y="441"/>
                  </a:lnTo>
                  <a:lnTo>
                    <a:pt x="645" y="429"/>
                  </a:lnTo>
                  <a:lnTo>
                    <a:pt x="642" y="415"/>
                  </a:lnTo>
                  <a:lnTo>
                    <a:pt x="642" y="408"/>
                  </a:lnTo>
                  <a:lnTo>
                    <a:pt x="641" y="401"/>
                  </a:lnTo>
                  <a:lnTo>
                    <a:pt x="640" y="386"/>
                  </a:lnTo>
                  <a:lnTo>
                    <a:pt x="640" y="370"/>
                  </a:lnTo>
                  <a:lnTo>
                    <a:pt x="640" y="355"/>
                  </a:lnTo>
                  <a:lnTo>
                    <a:pt x="641" y="340"/>
                  </a:lnTo>
                  <a:lnTo>
                    <a:pt x="643" y="326"/>
                  </a:lnTo>
                  <a:lnTo>
                    <a:pt x="646" y="313"/>
                  </a:lnTo>
                  <a:lnTo>
                    <a:pt x="649" y="300"/>
                  </a:lnTo>
                  <a:lnTo>
                    <a:pt x="653" y="288"/>
                  </a:lnTo>
                  <a:lnTo>
                    <a:pt x="657" y="276"/>
                  </a:lnTo>
                  <a:lnTo>
                    <a:pt x="662" y="265"/>
                  </a:lnTo>
                  <a:lnTo>
                    <a:pt x="668" y="255"/>
                  </a:lnTo>
                  <a:lnTo>
                    <a:pt x="674" y="245"/>
                  </a:lnTo>
                  <a:lnTo>
                    <a:pt x="680" y="236"/>
                  </a:lnTo>
                  <a:lnTo>
                    <a:pt x="687" y="227"/>
                  </a:lnTo>
                  <a:lnTo>
                    <a:pt x="694" y="219"/>
                  </a:lnTo>
                  <a:lnTo>
                    <a:pt x="702" y="212"/>
                  </a:lnTo>
                  <a:lnTo>
                    <a:pt x="710" y="204"/>
                  </a:lnTo>
                  <a:lnTo>
                    <a:pt x="718" y="198"/>
                  </a:lnTo>
                  <a:lnTo>
                    <a:pt x="727" y="192"/>
                  </a:lnTo>
                  <a:lnTo>
                    <a:pt x="735" y="186"/>
                  </a:lnTo>
                  <a:lnTo>
                    <a:pt x="744" y="181"/>
                  </a:lnTo>
                  <a:lnTo>
                    <a:pt x="753" y="177"/>
                  </a:lnTo>
                  <a:lnTo>
                    <a:pt x="762" y="172"/>
                  </a:lnTo>
                  <a:lnTo>
                    <a:pt x="771" y="169"/>
                  </a:lnTo>
                  <a:lnTo>
                    <a:pt x="781" y="165"/>
                  </a:lnTo>
                  <a:lnTo>
                    <a:pt x="790" y="162"/>
                  </a:lnTo>
                  <a:lnTo>
                    <a:pt x="799" y="160"/>
                  </a:lnTo>
                  <a:lnTo>
                    <a:pt x="808" y="158"/>
                  </a:lnTo>
                  <a:lnTo>
                    <a:pt x="817" y="156"/>
                  </a:lnTo>
                  <a:lnTo>
                    <a:pt x="826" y="154"/>
                  </a:lnTo>
                  <a:lnTo>
                    <a:pt x="844" y="152"/>
                  </a:lnTo>
                  <a:lnTo>
                    <a:pt x="852" y="152"/>
                  </a:lnTo>
                  <a:lnTo>
                    <a:pt x="860" y="152"/>
                  </a:lnTo>
                  <a:lnTo>
                    <a:pt x="868" y="152"/>
                  </a:lnTo>
                  <a:lnTo>
                    <a:pt x="876" y="152"/>
                  </a:lnTo>
                  <a:lnTo>
                    <a:pt x="893" y="153"/>
                  </a:lnTo>
                  <a:lnTo>
                    <a:pt x="901" y="155"/>
                  </a:lnTo>
                  <a:lnTo>
                    <a:pt x="910" y="156"/>
                  </a:lnTo>
                  <a:lnTo>
                    <a:pt x="927" y="160"/>
                  </a:lnTo>
                  <a:lnTo>
                    <a:pt x="936" y="162"/>
                  </a:lnTo>
                  <a:lnTo>
                    <a:pt x="944" y="165"/>
                  </a:lnTo>
                  <a:lnTo>
                    <a:pt x="953" y="168"/>
                  </a:lnTo>
                  <a:lnTo>
                    <a:pt x="961" y="172"/>
                  </a:lnTo>
                  <a:lnTo>
                    <a:pt x="969" y="177"/>
                  </a:lnTo>
                  <a:lnTo>
                    <a:pt x="977" y="181"/>
                  </a:lnTo>
                  <a:lnTo>
                    <a:pt x="985" y="187"/>
                  </a:lnTo>
                  <a:lnTo>
                    <a:pt x="993" y="193"/>
                  </a:lnTo>
                  <a:lnTo>
                    <a:pt x="1000" y="199"/>
                  </a:lnTo>
                  <a:lnTo>
                    <a:pt x="1007" y="207"/>
                  </a:lnTo>
                  <a:lnTo>
                    <a:pt x="1014" y="215"/>
                  </a:lnTo>
                  <a:lnTo>
                    <a:pt x="1021" y="223"/>
                  </a:lnTo>
                  <a:lnTo>
                    <a:pt x="1027" y="233"/>
                  </a:lnTo>
                  <a:lnTo>
                    <a:pt x="1032" y="243"/>
                  </a:lnTo>
                  <a:lnTo>
                    <a:pt x="1035" y="248"/>
                  </a:lnTo>
                  <a:lnTo>
                    <a:pt x="1038" y="253"/>
                  </a:lnTo>
                  <a:lnTo>
                    <a:pt x="1043" y="265"/>
                  </a:lnTo>
                  <a:lnTo>
                    <a:pt x="1047" y="278"/>
                  </a:lnTo>
                  <a:lnTo>
                    <a:pt x="1051" y="291"/>
                  </a:lnTo>
                  <a:lnTo>
                    <a:pt x="1054" y="305"/>
                  </a:lnTo>
                  <a:lnTo>
                    <a:pt x="1057" y="320"/>
                  </a:lnTo>
                  <a:lnTo>
                    <a:pt x="1060" y="336"/>
                  </a:lnTo>
                  <a:lnTo>
                    <a:pt x="1061" y="354"/>
                  </a:lnTo>
                  <a:lnTo>
                    <a:pt x="1062" y="372"/>
                  </a:lnTo>
                  <a:lnTo>
                    <a:pt x="1063" y="391"/>
                  </a:lnTo>
                  <a:lnTo>
                    <a:pt x="1063" y="408"/>
                  </a:lnTo>
                  <a:close/>
                  <a:moveTo>
                    <a:pt x="918" y="326"/>
                  </a:moveTo>
                  <a:lnTo>
                    <a:pt x="921" y="325"/>
                  </a:lnTo>
                  <a:lnTo>
                    <a:pt x="922" y="325"/>
                  </a:lnTo>
                  <a:lnTo>
                    <a:pt x="923" y="323"/>
                  </a:lnTo>
                  <a:lnTo>
                    <a:pt x="924" y="322"/>
                  </a:lnTo>
                  <a:lnTo>
                    <a:pt x="925" y="319"/>
                  </a:lnTo>
                  <a:lnTo>
                    <a:pt x="924" y="318"/>
                  </a:lnTo>
                  <a:lnTo>
                    <a:pt x="923" y="311"/>
                  </a:lnTo>
                  <a:lnTo>
                    <a:pt x="922" y="304"/>
                  </a:lnTo>
                  <a:lnTo>
                    <a:pt x="920" y="297"/>
                  </a:lnTo>
                  <a:lnTo>
                    <a:pt x="917" y="291"/>
                  </a:lnTo>
                  <a:lnTo>
                    <a:pt x="915" y="286"/>
                  </a:lnTo>
                  <a:lnTo>
                    <a:pt x="911" y="281"/>
                  </a:lnTo>
                  <a:lnTo>
                    <a:pt x="908" y="277"/>
                  </a:lnTo>
                  <a:lnTo>
                    <a:pt x="904" y="273"/>
                  </a:lnTo>
                  <a:lnTo>
                    <a:pt x="900" y="270"/>
                  </a:lnTo>
                  <a:lnTo>
                    <a:pt x="895" y="267"/>
                  </a:lnTo>
                  <a:lnTo>
                    <a:pt x="890" y="265"/>
                  </a:lnTo>
                  <a:lnTo>
                    <a:pt x="885" y="263"/>
                  </a:lnTo>
                  <a:lnTo>
                    <a:pt x="879" y="262"/>
                  </a:lnTo>
                  <a:lnTo>
                    <a:pt x="873" y="261"/>
                  </a:lnTo>
                  <a:lnTo>
                    <a:pt x="866" y="260"/>
                  </a:lnTo>
                  <a:lnTo>
                    <a:pt x="860" y="260"/>
                  </a:lnTo>
                  <a:lnTo>
                    <a:pt x="854" y="260"/>
                  </a:lnTo>
                  <a:lnTo>
                    <a:pt x="849" y="261"/>
                  </a:lnTo>
                  <a:lnTo>
                    <a:pt x="844" y="262"/>
                  </a:lnTo>
                  <a:lnTo>
                    <a:pt x="839" y="263"/>
                  </a:lnTo>
                  <a:lnTo>
                    <a:pt x="834" y="265"/>
                  </a:lnTo>
                  <a:lnTo>
                    <a:pt x="830" y="267"/>
                  </a:lnTo>
                  <a:lnTo>
                    <a:pt x="826" y="270"/>
                  </a:lnTo>
                  <a:lnTo>
                    <a:pt x="821" y="273"/>
                  </a:lnTo>
                  <a:lnTo>
                    <a:pt x="818" y="277"/>
                  </a:lnTo>
                  <a:lnTo>
                    <a:pt x="814" y="281"/>
                  </a:lnTo>
                  <a:lnTo>
                    <a:pt x="810" y="286"/>
                  </a:lnTo>
                  <a:lnTo>
                    <a:pt x="807" y="291"/>
                  </a:lnTo>
                  <a:lnTo>
                    <a:pt x="804" y="297"/>
                  </a:lnTo>
                  <a:lnTo>
                    <a:pt x="802" y="304"/>
                  </a:lnTo>
                  <a:lnTo>
                    <a:pt x="799" y="311"/>
                  </a:lnTo>
                  <a:lnTo>
                    <a:pt x="797" y="318"/>
                  </a:lnTo>
                  <a:lnTo>
                    <a:pt x="797" y="321"/>
                  </a:lnTo>
                  <a:lnTo>
                    <a:pt x="797" y="323"/>
                  </a:lnTo>
                  <a:lnTo>
                    <a:pt x="798" y="324"/>
                  </a:lnTo>
                  <a:lnTo>
                    <a:pt x="799" y="325"/>
                  </a:lnTo>
                  <a:lnTo>
                    <a:pt x="800" y="326"/>
                  </a:lnTo>
                  <a:lnTo>
                    <a:pt x="802" y="326"/>
                  </a:lnTo>
                  <a:lnTo>
                    <a:pt x="918" y="326"/>
                  </a:lnTo>
                  <a:close/>
                  <a:moveTo>
                    <a:pt x="1595" y="588"/>
                  </a:moveTo>
                  <a:lnTo>
                    <a:pt x="1577" y="588"/>
                  </a:lnTo>
                  <a:lnTo>
                    <a:pt x="1560" y="587"/>
                  </a:lnTo>
                  <a:lnTo>
                    <a:pt x="1543" y="585"/>
                  </a:lnTo>
                  <a:lnTo>
                    <a:pt x="1528" y="584"/>
                  </a:lnTo>
                  <a:lnTo>
                    <a:pt x="1513" y="581"/>
                  </a:lnTo>
                  <a:lnTo>
                    <a:pt x="1499" y="578"/>
                  </a:lnTo>
                  <a:lnTo>
                    <a:pt x="1485" y="575"/>
                  </a:lnTo>
                  <a:lnTo>
                    <a:pt x="1472" y="571"/>
                  </a:lnTo>
                  <a:lnTo>
                    <a:pt x="1460" y="567"/>
                  </a:lnTo>
                  <a:lnTo>
                    <a:pt x="1449" y="563"/>
                  </a:lnTo>
                  <a:lnTo>
                    <a:pt x="1438" y="558"/>
                  </a:lnTo>
                  <a:lnTo>
                    <a:pt x="1427" y="553"/>
                  </a:lnTo>
                  <a:lnTo>
                    <a:pt x="1418" y="548"/>
                  </a:lnTo>
                  <a:lnTo>
                    <a:pt x="1409" y="543"/>
                  </a:lnTo>
                  <a:lnTo>
                    <a:pt x="1393" y="532"/>
                  </a:lnTo>
                  <a:lnTo>
                    <a:pt x="1391" y="531"/>
                  </a:lnTo>
                  <a:lnTo>
                    <a:pt x="1390" y="529"/>
                  </a:lnTo>
                  <a:lnTo>
                    <a:pt x="1389" y="527"/>
                  </a:lnTo>
                  <a:lnTo>
                    <a:pt x="1389" y="525"/>
                  </a:lnTo>
                  <a:lnTo>
                    <a:pt x="1390" y="523"/>
                  </a:lnTo>
                  <a:lnTo>
                    <a:pt x="1391" y="522"/>
                  </a:lnTo>
                  <a:lnTo>
                    <a:pt x="1440" y="446"/>
                  </a:lnTo>
                  <a:lnTo>
                    <a:pt x="1442" y="444"/>
                  </a:lnTo>
                  <a:lnTo>
                    <a:pt x="1443" y="444"/>
                  </a:lnTo>
                  <a:lnTo>
                    <a:pt x="1444" y="443"/>
                  </a:lnTo>
                  <a:lnTo>
                    <a:pt x="1446" y="443"/>
                  </a:lnTo>
                  <a:lnTo>
                    <a:pt x="1448" y="444"/>
                  </a:lnTo>
                  <a:lnTo>
                    <a:pt x="1450" y="445"/>
                  </a:lnTo>
                  <a:lnTo>
                    <a:pt x="1465" y="456"/>
                  </a:lnTo>
                  <a:lnTo>
                    <a:pt x="1483" y="465"/>
                  </a:lnTo>
                  <a:lnTo>
                    <a:pt x="1501" y="473"/>
                  </a:lnTo>
                  <a:lnTo>
                    <a:pt x="1510" y="476"/>
                  </a:lnTo>
                  <a:lnTo>
                    <a:pt x="1520" y="479"/>
                  </a:lnTo>
                  <a:lnTo>
                    <a:pt x="1529" y="482"/>
                  </a:lnTo>
                  <a:lnTo>
                    <a:pt x="1539" y="485"/>
                  </a:lnTo>
                  <a:lnTo>
                    <a:pt x="1558" y="489"/>
                  </a:lnTo>
                  <a:lnTo>
                    <a:pt x="1576" y="491"/>
                  </a:lnTo>
                  <a:lnTo>
                    <a:pt x="1594" y="492"/>
                  </a:lnTo>
                  <a:lnTo>
                    <a:pt x="1604" y="491"/>
                  </a:lnTo>
                  <a:lnTo>
                    <a:pt x="1613" y="490"/>
                  </a:lnTo>
                  <a:lnTo>
                    <a:pt x="1622" y="488"/>
                  </a:lnTo>
                  <a:lnTo>
                    <a:pt x="1629" y="486"/>
                  </a:lnTo>
                  <a:lnTo>
                    <a:pt x="1632" y="484"/>
                  </a:lnTo>
                  <a:lnTo>
                    <a:pt x="1635" y="482"/>
                  </a:lnTo>
                  <a:lnTo>
                    <a:pt x="1638" y="480"/>
                  </a:lnTo>
                  <a:lnTo>
                    <a:pt x="1640" y="477"/>
                  </a:lnTo>
                  <a:lnTo>
                    <a:pt x="1642" y="474"/>
                  </a:lnTo>
                  <a:lnTo>
                    <a:pt x="1643" y="471"/>
                  </a:lnTo>
                  <a:lnTo>
                    <a:pt x="1644" y="468"/>
                  </a:lnTo>
                  <a:lnTo>
                    <a:pt x="1644" y="464"/>
                  </a:lnTo>
                  <a:lnTo>
                    <a:pt x="1644" y="461"/>
                  </a:lnTo>
                  <a:lnTo>
                    <a:pt x="1643" y="457"/>
                  </a:lnTo>
                  <a:lnTo>
                    <a:pt x="1642" y="454"/>
                  </a:lnTo>
                  <a:lnTo>
                    <a:pt x="1641" y="451"/>
                  </a:lnTo>
                  <a:lnTo>
                    <a:pt x="1640" y="449"/>
                  </a:lnTo>
                  <a:lnTo>
                    <a:pt x="1638" y="448"/>
                  </a:lnTo>
                  <a:lnTo>
                    <a:pt x="1636" y="445"/>
                  </a:lnTo>
                  <a:lnTo>
                    <a:pt x="1629" y="441"/>
                  </a:lnTo>
                  <a:lnTo>
                    <a:pt x="1620" y="437"/>
                  </a:lnTo>
                  <a:lnTo>
                    <a:pt x="1609" y="434"/>
                  </a:lnTo>
                  <a:lnTo>
                    <a:pt x="1595" y="432"/>
                  </a:lnTo>
                  <a:lnTo>
                    <a:pt x="1579" y="429"/>
                  </a:lnTo>
                  <a:lnTo>
                    <a:pt x="1551" y="425"/>
                  </a:lnTo>
                  <a:lnTo>
                    <a:pt x="1537" y="422"/>
                  </a:lnTo>
                  <a:lnTo>
                    <a:pt x="1522" y="419"/>
                  </a:lnTo>
                  <a:lnTo>
                    <a:pt x="1508" y="415"/>
                  </a:lnTo>
                  <a:lnTo>
                    <a:pt x="1493" y="411"/>
                  </a:lnTo>
                  <a:lnTo>
                    <a:pt x="1480" y="405"/>
                  </a:lnTo>
                  <a:lnTo>
                    <a:pt x="1466" y="398"/>
                  </a:lnTo>
                  <a:lnTo>
                    <a:pt x="1460" y="395"/>
                  </a:lnTo>
                  <a:lnTo>
                    <a:pt x="1454" y="391"/>
                  </a:lnTo>
                  <a:lnTo>
                    <a:pt x="1448" y="386"/>
                  </a:lnTo>
                  <a:lnTo>
                    <a:pt x="1443" y="382"/>
                  </a:lnTo>
                  <a:lnTo>
                    <a:pt x="1438" y="377"/>
                  </a:lnTo>
                  <a:lnTo>
                    <a:pt x="1433" y="371"/>
                  </a:lnTo>
                  <a:lnTo>
                    <a:pt x="1428" y="366"/>
                  </a:lnTo>
                  <a:lnTo>
                    <a:pt x="1424" y="359"/>
                  </a:lnTo>
                  <a:lnTo>
                    <a:pt x="1420" y="353"/>
                  </a:lnTo>
                  <a:lnTo>
                    <a:pt x="1417" y="346"/>
                  </a:lnTo>
                  <a:lnTo>
                    <a:pt x="1414" y="338"/>
                  </a:lnTo>
                  <a:lnTo>
                    <a:pt x="1411" y="330"/>
                  </a:lnTo>
                  <a:lnTo>
                    <a:pt x="1410" y="322"/>
                  </a:lnTo>
                  <a:lnTo>
                    <a:pt x="1408" y="313"/>
                  </a:lnTo>
                  <a:lnTo>
                    <a:pt x="1408" y="308"/>
                  </a:lnTo>
                  <a:lnTo>
                    <a:pt x="1407" y="304"/>
                  </a:lnTo>
                  <a:lnTo>
                    <a:pt x="1407" y="294"/>
                  </a:lnTo>
                  <a:lnTo>
                    <a:pt x="1407" y="285"/>
                  </a:lnTo>
                  <a:lnTo>
                    <a:pt x="1408" y="277"/>
                  </a:lnTo>
                  <a:lnTo>
                    <a:pt x="1409" y="268"/>
                  </a:lnTo>
                  <a:lnTo>
                    <a:pt x="1410" y="261"/>
                  </a:lnTo>
                  <a:lnTo>
                    <a:pt x="1412" y="253"/>
                  </a:lnTo>
                  <a:lnTo>
                    <a:pt x="1415" y="246"/>
                  </a:lnTo>
                  <a:lnTo>
                    <a:pt x="1417" y="239"/>
                  </a:lnTo>
                  <a:lnTo>
                    <a:pt x="1420" y="232"/>
                  </a:lnTo>
                  <a:lnTo>
                    <a:pt x="1424" y="225"/>
                  </a:lnTo>
                  <a:lnTo>
                    <a:pt x="1428" y="219"/>
                  </a:lnTo>
                  <a:lnTo>
                    <a:pt x="1436" y="208"/>
                  </a:lnTo>
                  <a:lnTo>
                    <a:pt x="1441" y="202"/>
                  </a:lnTo>
                  <a:lnTo>
                    <a:pt x="1446" y="197"/>
                  </a:lnTo>
                  <a:lnTo>
                    <a:pt x="1457" y="188"/>
                  </a:lnTo>
                  <a:lnTo>
                    <a:pt x="1463" y="183"/>
                  </a:lnTo>
                  <a:lnTo>
                    <a:pt x="1469" y="179"/>
                  </a:lnTo>
                  <a:lnTo>
                    <a:pt x="1483" y="172"/>
                  </a:lnTo>
                  <a:lnTo>
                    <a:pt x="1490" y="169"/>
                  </a:lnTo>
                  <a:lnTo>
                    <a:pt x="1497" y="166"/>
                  </a:lnTo>
                  <a:lnTo>
                    <a:pt x="1512" y="161"/>
                  </a:lnTo>
                  <a:lnTo>
                    <a:pt x="1528" y="157"/>
                  </a:lnTo>
                  <a:lnTo>
                    <a:pt x="1544" y="154"/>
                  </a:lnTo>
                  <a:lnTo>
                    <a:pt x="1561" y="152"/>
                  </a:lnTo>
                  <a:lnTo>
                    <a:pt x="1579" y="152"/>
                  </a:lnTo>
                  <a:lnTo>
                    <a:pt x="1595" y="152"/>
                  </a:lnTo>
                  <a:lnTo>
                    <a:pt x="1611" y="153"/>
                  </a:lnTo>
                  <a:lnTo>
                    <a:pt x="1626" y="154"/>
                  </a:lnTo>
                  <a:lnTo>
                    <a:pt x="1641" y="156"/>
                  </a:lnTo>
                  <a:lnTo>
                    <a:pt x="1654" y="158"/>
                  </a:lnTo>
                  <a:lnTo>
                    <a:pt x="1667" y="160"/>
                  </a:lnTo>
                  <a:lnTo>
                    <a:pt x="1679" y="163"/>
                  </a:lnTo>
                  <a:lnTo>
                    <a:pt x="1691" y="167"/>
                  </a:lnTo>
                  <a:lnTo>
                    <a:pt x="1702" y="170"/>
                  </a:lnTo>
                  <a:lnTo>
                    <a:pt x="1713" y="174"/>
                  </a:lnTo>
                  <a:lnTo>
                    <a:pt x="1723" y="179"/>
                  </a:lnTo>
                  <a:lnTo>
                    <a:pt x="1733" y="183"/>
                  </a:lnTo>
                  <a:lnTo>
                    <a:pt x="1742" y="188"/>
                  </a:lnTo>
                  <a:lnTo>
                    <a:pt x="1751" y="194"/>
                  </a:lnTo>
                  <a:lnTo>
                    <a:pt x="1768" y="205"/>
                  </a:lnTo>
                  <a:lnTo>
                    <a:pt x="1770" y="207"/>
                  </a:lnTo>
                  <a:lnTo>
                    <a:pt x="1771" y="209"/>
                  </a:lnTo>
                  <a:lnTo>
                    <a:pt x="1772" y="211"/>
                  </a:lnTo>
                  <a:lnTo>
                    <a:pt x="1772" y="212"/>
                  </a:lnTo>
                  <a:lnTo>
                    <a:pt x="1771" y="215"/>
                  </a:lnTo>
                  <a:lnTo>
                    <a:pt x="1770" y="216"/>
                  </a:lnTo>
                  <a:lnTo>
                    <a:pt x="1722" y="288"/>
                  </a:lnTo>
                  <a:lnTo>
                    <a:pt x="1720" y="290"/>
                  </a:lnTo>
                  <a:lnTo>
                    <a:pt x="1718" y="292"/>
                  </a:lnTo>
                  <a:lnTo>
                    <a:pt x="1716" y="292"/>
                  </a:lnTo>
                  <a:lnTo>
                    <a:pt x="1715" y="292"/>
                  </a:lnTo>
                  <a:lnTo>
                    <a:pt x="1711" y="292"/>
                  </a:lnTo>
                  <a:lnTo>
                    <a:pt x="1708" y="290"/>
                  </a:lnTo>
                  <a:lnTo>
                    <a:pt x="1693" y="282"/>
                  </a:lnTo>
                  <a:lnTo>
                    <a:pt x="1677" y="274"/>
                  </a:lnTo>
                  <a:lnTo>
                    <a:pt x="1662" y="268"/>
                  </a:lnTo>
                  <a:lnTo>
                    <a:pt x="1647" y="263"/>
                  </a:lnTo>
                  <a:lnTo>
                    <a:pt x="1633" y="258"/>
                  </a:lnTo>
                  <a:lnTo>
                    <a:pt x="1619" y="255"/>
                  </a:lnTo>
                  <a:lnTo>
                    <a:pt x="1612" y="254"/>
                  </a:lnTo>
                  <a:lnTo>
                    <a:pt x="1606" y="254"/>
                  </a:lnTo>
                  <a:lnTo>
                    <a:pt x="1593" y="253"/>
                  </a:lnTo>
                  <a:lnTo>
                    <a:pt x="1584" y="253"/>
                  </a:lnTo>
                  <a:lnTo>
                    <a:pt x="1576" y="254"/>
                  </a:lnTo>
                  <a:lnTo>
                    <a:pt x="1568" y="256"/>
                  </a:lnTo>
                  <a:lnTo>
                    <a:pt x="1562" y="259"/>
                  </a:lnTo>
                  <a:lnTo>
                    <a:pt x="1560" y="261"/>
                  </a:lnTo>
                  <a:lnTo>
                    <a:pt x="1557" y="263"/>
                  </a:lnTo>
                  <a:lnTo>
                    <a:pt x="1554" y="267"/>
                  </a:lnTo>
                  <a:lnTo>
                    <a:pt x="1552" y="270"/>
                  </a:lnTo>
                  <a:lnTo>
                    <a:pt x="1551" y="273"/>
                  </a:lnTo>
                  <a:lnTo>
                    <a:pt x="1551" y="276"/>
                  </a:lnTo>
                  <a:lnTo>
                    <a:pt x="1550" y="280"/>
                  </a:lnTo>
                  <a:lnTo>
                    <a:pt x="1551" y="283"/>
                  </a:lnTo>
                  <a:lnTo>
                    <a:pt x="1551" y="286"/>
                  </a:lnTo>
                  <a:lnTo>
                    <a:pt x="1553" y="289"/>
                  </a:lnTo>
                  <a:lnTo>
                    <a:pt x="1555" y="292"/>
                  </a:lnTo>
                  <a:lnTo>
                    <a:pt x="1557" y="295"/>
                  </a:lnTo>
                  <a:lnTo>
                    <a:pt x="1560" y="297"/>
                  </a:lnTo>
                  <a:lnTo>
                    <a:pt x="1563" y="299"/>
                  </a:lnTo>
                  <a:lnTo>
                    <a:pt x="1567" y="301"/>
                  </a:lnTo>
                  <a:lnTo>
                    <a:pt x="1576" y="304"/>
                  </a:lnTo>
                  <a:lnTo>
                    <a:pt x="1587" y="307"/>
                  </a:lnTo>
                  <a:lnTo>
                    <a:pt x="1600" y="309"/>
                  </a:lnTo>
                  <a:lnTo>
                    <a:pt x="1615" y="312"/>
                  </a:lnTo>
                  <a:lnTo>
                    <a:pt x="1642" y="316"/>
                  </a:lnTo>
                  <a:lnTo>
                    <a:pt x="1657" y="318"/>
                  </a:lnTo>
                  <a:lnTo>
                    <a:pt x="1672" y="321"/>
                  </a:lnTo>
                  <a:lnTo>
                    <a:pt x="1686" y="325"/>
                  </a:lnTo>
                  <a:lnTo>
                    <a:pt x="1701" y="329"/>
                  </a:lnTo>
                  <a:lnTo>
                    <a:pt x="1715" y="334"/>
                  </a:lnTo>
                  <a:lnTo>
                    <a:pt x="1728" y="340"/>
                  </a:lnTo>
                  <a:lnTo>
                    <a:pt x="1740" y="348"/>
                  </a:lnTo>
                  <a:lnTo>
                    <a:pt x="1746" y="352"/>
                  </a:lnTo>
                  <a:lnTo>
                    <a:pt x="1752" y="356"/>
                  </a:lnTo>
                  <a:lnTo>
                    <a:pt x="1757" y="361"/>
                  </a:lnTo>
                  <a:lnTo>
                    <a:pt x="1762" y="366"/>
                  </a:lnTo>
                  <a:lnTo>
                    <a:pt x="1766" y="371"/>
                  </a:lnTo>
                  <a:lnTo>
                    <a:pt x="1771" y="377"/>
                  </a:lnTo>
                  <a:lnTo>
                    <a:pt x="1774" y="383"/>
                  </a:lnTo>
                  <a:lnTo>
                    <a:pt x="1778" y="390"/>
                  </a:lnTo>
                  <a:lnTo>
                    <a:pt x="1781" y="397"/>
                  </a:lnTo>
                  <a:lnTo>
                    <a:pt x="1783" y="404"/>
                  </a:lnTo>
                  <a:lnTo>
                    <a:pt x="1785" y="412"/>
                  </a:lnTo>
                  <a:lnTo>
                    <a:pt x="1787" y="420"/>
                  </a:lnTo>
                  <a:lnTo>
                    <a:pt x="1787" y="425"/>
                  </a:lnTo>
                  <a:lnTo>
                    <a:pt x="1787" y="429"/>
                  </a:lnTo>
                  <a:lnTo>
                    <a:pt x="1788" y="438"/>
                  </a:lnTo>
                  <a:lnTo>
                    <a:pt x="1787" y="449"/>
                  </a:lnTo>
                  <a:lnTo>
                    <a:pt x="1787" y="458"/>
                  </a:lnTo>
                  <a:lnTo>
                    <a:pt x="1785" y="468"/>
                  </a:lnTo>
                  <a:lnTo>
                    <a:pt x="1783" y="477"/>
                  </a:lnTo>
                  <a:lnTo>
                    <a:pt x="1781" y="485"/>
                  </a:lnTo>
                  <a:lnTo>
                    <a:pt x="1778" y="494"/>
                  </a:lnTo>
                  <a:lnTo>
                    <a:pt x="1775" y="501"/>
                  </a:lnTo>
                  <a:lnTo>
                    <a:pt x="1771" y="509"/>
                  </a:lnTo>
                  <a:lnTo>
                    <a:pt x="1767" y="516"/>
                  </a:lnTo>
                  <a:lnTo>
                    <a:pt x="1763" y="523"/>
                  </a:lnTo>
                  <a:lnTo>
                    <a:pt x="1758" y="529"/>
                  </a:lnTo>
                  <a:lnTo>
                    <a:pt x="1752" y="535"/>
                  </a:lnTo>
                  <a:lnTo>
                    <a:pt x="1747" y="540"/>
                  </a:lnTo>
                  <a:lnTo>
                    <a:pt x="1741" y="546"/>
                  </a:lnTo>
                  <a:lnTo>
                    <a:pt x="1734" y="550"/>
                  </a:lnTo>
                  <a:lnTo>
                    <a:pt x="1728" y="555"/>
                  </a:lnTo>
                  <a:lnTo>
                    <a:pt x="1721" y="559"/>
                  </a:lnTo>
                  <a:lnTo>
                    <a:pt x="1714" y="563"/>
                  </a:lnTo>
                  <a:lnTo>
                    <a:pt x="1699" y="570"/>
                  </a:lnTo>
                  <a:lnTo>
                    <a:pt x="1683" y="576"/>
                  </a:lnTo>
                  <a:lnTo>
                    <a:pt x="1675" y="578"/>
                  </a:lnTo>
                  <a:lnTo>
                    <a:pt x="1666" y="580"/>
                  </a:lnTo>
                  <a:lnTo>
                    <a:pt x="1649" y="584"/>
                  </a:lnTo>
                  <a:lnTo>
                    <a:pt x="1631" y="586"/>
                  </a:lnTo>
                  <a:lnTo>
                    <a:pt x="1613" y="588"/>
                  </a:lnTo>
                  <a:lnTo>
                    <a:pt x="1595" y="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Tree>
    <p:extLst>
      <p:ext uri="{BB962C8B-B14F-4D97-AF65-F5344CB8AC3E}">
        <p14:creationId xmlns:p14="http://schemas.microsoft.com/office/powerpoint/2010/main" val="1906754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header / picture">
    <p:bg>
      <p:bgPr>
        <a:solidFill>
          <a:schemeClr val="bg1"/>
        </a:solidFill>
        <a:effectLst/>
      </p:bgPr>
    </p:bg>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B8D7F2AE-549E-6B2F-EBDD-3493100E1AB1}"/>
              </a:ext>
            </a:extLst>
          </p:cNvPr>
          <p:cNvSpPr>
            <a:spLocks noGrp="1"/>
          </p:cNvSpPr>
          <p:nvPr>
            <p:ph type="pic" sz="quarter" idx="17"/>
          </p:nvPr>
        </p:nvSpPr>
        <p:spPr>
          <a:xfrm>
            <a:off x="6240016" y="0"/>
            <a:ext cx="5951984" cy="6858000"/>
          </a:xfrm>
          <a:solidFill>
            <a:schemeClr val="bg1">
              <a:lumMod val="95000"/>
            </a:schemeClr>
          </a:solidFill>
        </p:spPr>
        <p:txBody>
          <a:bodyPr/>
          <a:lstStyle>
            <a:lvl1pPr marL="0" indent="0">
              <a:buFontTx/>
              <a:buNone/>
              <a:defRPr sz="1000"/>
            </a:lvl1pPr>
          </a:lstStyle>
          <a:p>
            <a:r>
              <a:rPr lang="en-US"/>
              <a:t>Click icon to add picture</a:t>
            </a:r>
            <a:endParaRPr lang="fi-FI" dirty="0"/>
          </a:p>
        </p:txBody>
      </p:sp>
      <p:sp>
        <p:nvSpPr>
          <p:cNvPr id="2" name="Title 1"/>
          <p:cNvSpPr>
            <a:spLocks noGrp="1"/>
          </p:cNvSpPr>
          <p:nvPr>
            <p:ph type="title"/>
          </p:nvPr>
        </p:nvSpPr>
        <p:spPr>
          <a:xfrm>
            <a:off x="766763" y="2714310"/>
            <a:ext cx="4681165" cy="1286506"/>
          </a:xfrm>
        </p:spPr>
        <p:txBody>
          <a:bodyPr wrap="square" anchor="ctr" anchorCtr="0">
            <a:spAutoFit/>
          </a:bodyPr>
          <a:lstStyle>
            <a:lvl1pPr algn="l">
              <a:lnSpc>
                <a:spcPct val="95000"/>
              </a:lnSpc>
              <a:defRPr sz="4400" b="0" cap="none" spc="0" baseline="0">
                <a:solidFill>
                  <a:schemeClr val="tx1"/>
                </a:solidFill>
              </a:defRPr>
            </a:lvl1pPr>
          </a:lstStyle>
          <a:p>
            <a:r>
              <a:rPr lang="en-US"/>
              <a:t>Click to edit Master title style</a:t>
            </a:r>
            <a:endParaRPr lang="fi-FI" dirty="0"/>
          </a:p>
        </p:txBody>
      </p:sp>
      <p:sp>
        <p:nvSpPr>
          <p:cNvPr id="4" name="Date Placeholder 3"/>
          <p:cNvSpPr>
            <a:spLocks noGrp="1"/>
          </p:cNvSpPr>
          <p:nvPr>
            <p:ph type="dt" sz="half" idx="10"/>
          </p:nvPr>
        </p:nvSpPr>
        <p:spPr/>
        <p:txBody>
          <a:bodyPr/>
          <a:lstStyle>
            <a:lvl1pPr>
              <a:defRPr>
                <a:noFill/>
              </a:defRPr>
            </a:lvl1pPr>
          </a:lstStyle>
          <a:p>
            <a:fld id="{0EFE15CB-DF76-4428-AA1A-F64EDAEF0077}" type="datetime1">
              <a:rPr lang="en-GB" smtClean="0"/>
              <a:t>22/10/2025</a:t>
            </a:fld>
            <a:endParaRPr lang="fi-FI"/>
          </a:p>
        </p:txBody>
      </p:sp>
      <p:sp>
        <p:nvSpPr>
          <p:cNvPr id="5" name="Footer Placeholder 4"/>
          <p:cNvSpPr>
            <a:spLocks noGrp="1"/>
          </p:cNvSpPr>
          <p:nvPr>
            <p:ph type="ftr" sz="quarter" idx="11"/>
          </p:nvPr>
        </p:nvSpPr>
        <p:spPr/>
        <p:txBody>
          <a:bodyPr/>
          <a:lstStyle>
            <a:lvl1pPr>
              <a:defRPr>
                <a:noFill/>
              </a:defRPr>
            </a:lvl1pPr>
          </a:lstStyle>
          <a:p>
            <a:r>
              <a:rPr lang="fi-FI"/>
              <a:t>Presentation name / Author</a:t>
            </a:r>
          </a:p>
        </p:txBody>
      </p:sp>
      <p:sp>
        <p:nvSpPr>
          <p:cNvPr id="6" name="Slide Number Placeholder 5"/>
          <p:cNvSpPr>
            <a:spLocks noGrp="1"/>
          </p:cNvSpPr>
          <p:nvPr>
            <p:ph type="sldNum" sz="quarter" idx="12"/>
          </p:nvPr>
        </p:nvSpPr>
        <p:spPr/>
        <p:txBody>
          <a:bodyPr/>
          <a:lstStyle>
            <a:lvl1pPr>
              <a:defRPr>
                <a:noFill/>
              </a:defRPr>
            </a:lvl1pPr>
          </a:lstStyle>
          <a:p>
            <a:fld id="{49A25110-65A2-4B67-BF3F-8D6D3162EF46}" type="slidenum">
              <a:rPr lang="fi-FI" smtClean="0"/>
              <a:pPr/>
              <a:t>‹#›</a:t>
            </a:fld>
            <a:endParaRPr lang="fi-FI"/>
          </a:p>
        </p:txBody>
      </p:sp>
    </p:spTree>
    <p:extLst>
      <p:ext uri="{BB962C8B-B14F-4D97-AF65-F5344CB8AC3E}">
        <p14:creationId xmlns:p14="http://schemas.microsoft.com/office/powerpoint/2010/main" val="3245174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ection header / picture, ligh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20" hasCustomPrompt="1"/>
          </p:nvPr>
        </p:nvSpPr>
        <p:spPr>
          <a:xfrm>
            <a:off x="0" y="0"/>
            <a:ext cx="12192000" cy="6858000"/>
          </a:xfrm>
          <a:solidFill>
            <a:schemeClr val="bg1">
              <a:lumMod val="95000"/>
            </a:schemeClr>
          </a:solidFill>
        </p:spPr>
        <p:txBody>
          <a:bodyPr/>
          <a:lstStyle>
            <a:lvl1pPr marL="0" marR="0" indent="0" algn="l" defTabSz="1219170" rtl="0" eaLnBrk="1" fontAlgn="auto" latinLnBrk="0" hangingPunct="1">
              <a:lnSpc>
                <a:spcPct val="100000"/>
              </a:lnSpc>
              <a:spcBef>
                <a:spcPts val="400"/>
              </a:spcBef>
              <a:spcAft>
                <a:spcPts val="0"/>
              </a:spcAft>
              <a:buClr>
                <a:schemeClr val="tx1"/>
              </a:buClr>
              <a:buSzTx/>
              <a:buFontTx/>
              <a:buNone/>
              <a:tabLst/>
              <a:defRPr sz="1000"/>
            </a:lvl1pPr>
          </a:lstStyle>
          <a:p>
            <a:r>
              <a:rPr lang="en-US" dirty="0"/>
              <a:t>Select this placeholder and insert picture from insert menu</a:t>
            </a:r>
          </a:p>
        </p:txBody>
      </p:sp>
      <p:sp>
        <p:nvSpPr>
          <p:cNvPr id="4" name="Date Placeholder 3"/>
          <p:cNvSpPr>
            <a:spLocks noGrp="1"/>
          </p:cNvSpPr>
          <p:nvPr>
            <p:ph type="dt" sz="half" idx="10"/>
          </p:nvPr>
        </p:nvSpPr>
        <p:spPr/>
        <p:txBody>
          <a:bodyPr/>
          <a:lstStyle>
            <a:lvl1pPr>
              <a:defRPr>
                <a:noFill/>
              </a:defRPr>
            </a:lvl1pPr>
          </a:lstStyle>
          <a:p>
            <a:fld id="{0EFE15CB-DF76-4428-AA1A-F64EDAEF0077}" type="datetime1">
              <a:rPr lang="en-GB" smtClean="0"/>
              <a:t>22/10/2025</a:t>
            </a:fld>
            <a:endParaRPr lang="fi-FI"/>
          </a:p>
        </p:txBody>
      </p:sp>
      <p:sp>
        <p:nvSpPr>
          <p:cNvPr id="5" name="Footer Placeholder 4"/>
          <p:cNvSpPr>
            <a:spLocks noGrp="1"/>
          </p:cNvSpPr>
          <p:nvPr>
            <p:ph type="ftr" sz="quarter" idx="11"/>
          </p:nvPr>
        </p:nvSpPr>
        <p:spPr/>
        <p:txBody>
          <a:bodyPr/>
          <a:lstStyle>
            <a:lvl1pPr>
              <a:defRPr>
                <a:noFill/>
              </a:defRPr>
            </a:lvl1pPr>
          </a:lstStyle>
          <a:p>
            <a:r>
              <a:rPr lang="fi-FI"/>
              <a:t>Presentation name / Author</a:t>
            </a:r>
          </a:p>
        </p:txBody>
      </p:sp>
      <p:sp>
        <p:nvSpPr>
          <p:cNvPr id="6" name="Slide Number Placeholder 5"/>
          <p:cNvSpPr>
            <a:spLocks noGrp="1"/>
          </p:cNvSpPr>
          <p:nvPr>
            <p:ph type="sldNum" sz="quarter" idx="12"/>
          </p:nvPr>
        </p:nvSpPr>
        <p:spPr/>
        <p:txBody>
          <a:bodyPr/>
          <a:lstStyle>
            <a:lvl1pPr>
              <a:defRPr>
                <a:noFill/>
              </a:defRPr>
            </a:lvl1pPr>
          </a:lstStyle>
          <a:p>
            <a:fld id="{49A25110-65A2-4B67-BF3F-8D6D3162EF46}" type="slidenum">
              <a:rPr lang="fi-FI" smtClean="0"/>
              <a:pPr/>
              <a:t>‹#›</a:t>
            </a:fld>
            <a:endParaRPr lang="fi-FI"/>
          </a:p>
        </p:txBody>
      </p:sp>
      <p:sp>
        <p:nvSpPr>
          <p:cNvPr id="10" name="Title 1"/>
          <p:cNvSpPr>
            <a:spLocks noGrp="1"/>
          </p:cNvSpPr>
          <p:nvPr>
            <p:ph type="title"/>
          </p:nvPr>
        </p:nvSpPr>
        <p:spPr>
          <a:xfrm>
            <a:off x="766762" y="3035936"/>
            <a:ext cx="10658475" cy="643253"/>
          </a:xfrm>
        </p:spPr>
        <p:txBody>
          <a:bodyPr anchor="ctr" anchorCtr="0">
            <a:spAutoFit/>
          </a:bodyPr>
          <a:lstStyle>
            <a:lvl1pPr algn="l">
              <a:lnSpc>
                <a:spcPct val="95000"/>
              </a:lnSpc>
              <a:defRPr sz="4400" b="0" cap="none" spc="0" baseline="0">
                <a:solidFill>
                  <a:schemeClr val="tx1"/>
                </a:solidFill>
              </a:defRPr>
            </a:lvl1pPr>
          </a:lstStyle>
          <a:p>
            <a:r>
              <a:rPr lang="en-US"/>
              <a:t>Click to edit Master title style</a:t>
            </a:r>
            <a:endParaRPr lang="fi-FI" dirty="0"/>
          </a:p>
        </p:txBody>
      </p:sp>
      <p:sp>
        <p:nvSpPr>
          <p:cNvPr id="8" name="Text Placeholder 2">
            <a:extLst>
              <a:ext uri="{FF2B5EF4-FFF2-40B4-BE49-F238E27FC236}">
                <a16:creationId xmlns:a16="http://schemas.microsoft.com/office/drawing/2014/main" id="{7262A486-F76B-4A43-83A4-B2EDA93D3059}"/>
              </a:ext>
            </a:extLst>
          </p:cNvPr>
          <p:cNvSpPr>
            <a:spLocks noGrp="1" noChangeAspect="1"/>
          </p:cNvSpPr>
          <p:nvPr>
            <p:ph type="body" sz="quarter" idx="22"/>
          </p:nvPr>
        </p:nvSpPr>
        <p:spPr>
          <a:xfrm>
            <a:off x="335360" y="6093296"/>
            <a:ext cx="1243542" cy="432000"/>
          </a:xfrm>
          <a:blipFill>
            <a:blip r:embed="rId2"/>
            <a:stretch>
              <a:fillRect/>
            </a:stretch>
          </a:blipFill>
        </p:spPr>
        <p:txBody>
          <a:bodyPr/>
          <a:lstStyle>
            <a:lvl1pPr>
              <a:defRPr sz="100">
                <a:noFill/>
              </a:defRPr>
            </a:lvl1pPr>
          </a:lstStyle>
          <a:p>
            <a:pPr lvl="0"/>
            <a:r>
              <a:rPr lang="en-US"/>
              <a:t>Click to edit Master text styles</a:t>
            </a:r>
          </a:p>
        </p:txBody>
      </p:sp>
    </p:spTree>
    <p:extLst>
      <p:ext uri="{BB962C8B-B14F-4D97-AF65-F5344CB8AC3E}">
        <p14:creationId xmlns:p14="http://schemas.microsoft.com/office/powerpoint/2010/main" val="1764733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header / picture, dark">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20" hasCustomPrompt="1"/>
          </p:nvPr>
        </p:nvSpPr>
        <p:spPr>
          <a:xfrm>
            <a:off x="0" y="0"/>
            <a:ext cx="12192000" cy="6858000"/>
          </a:xfrm>
          <a:solidFill>
            <a:schemeClr val="accent2">
              <a:lumMod val="60000"/>
              <a:lumOff val="40000"/>
            </a:schemeClr>
          </a:solidFill>
        </p:spPr>
        <p:txBody>
          <a:bodyPr/>
          <a:lstStyle>
            <a:lvl1pPr marL="0" marR="0" indent="0" algn="l" defTabSz="1219170" rtl="0" eaLnBrk="1" fontAlgn="auto" latinLnBrk="0" hangingPunct="1">
              <a:lnSpc>
                <a:spcPct val="100000"/>
              </a:lnSpc>
              <a:spcBef>
                <a:spcPts val="400"/>
              </a:spcBef>
              <a:spcAft>
                <a:spcPts val="0"/>
              </a:spcAft>
              <a:buClr>
                <a:schemeClr val="tx1"/>
              </a:buClr>
              <a:buSzTx/>
              <a:buFontTx/>
              <a:buNone/>
              <a:tabLst/>
              <a:defRPr sz="1000">
                <a:solidFill>
                  <a:schemeClr val="bg1"/>
                </a:solidFill>
              </a:defRPr>
            </a:lvl1pPr>
          </a:lstStyle>
          <a:p>
            <a:r>
              <a:rPr lang="en-US" dirty="0"/>
              <a:t>Select this placeholder and insert picture from insert menu</a:t>
            </a:r>
          </a:p>
        </p:txBody>
      </p:sp>
      <p:sp>
        <p:nvSpPr>
          <p:cNvPr id="4" name="Date Placeholder 3"/>
          <p:cNvSpPr>
            <a:spLocks noGrp="1"/>
          </p:cNvSpPr>
          <p:nvPr>
            <p:ph type="dt" sz="half" idx="10"/>
          </p:nvPr>
        </p:nvSpPr>
        <p:spPr/>
        <p:txBody>
          <a:bodyPr/>
          <a:lstStyle>
            <a:lvl1pPr>
              <a:defRPr>
                <a:noFill/>
              </a:defRPr>
            </a:lvl1pPr>
          </a:lstStyle>
          <a:p>
            <a:fld id="{0EFE15CB-DF76-4428-AA1A-F64EDAEF0077}" type="datetime1">
              <a:rPr lang="en-GB" smtClean="0"/>
              <a:t>22/10/2025</a:t>
            </a:fld>
            <a:endParaRPr lang="fi-FI"/>
          </a:p>
        </p:txBody>
      </p:sp>
      <p:sp>
        <p:nvSpPr>
          <p:cNvPr id="5" name="Footer Placeholder 4"/>
          <p:cNvSpPr>
            <a:spLocks noGrp="1"/>
          </p:cNvSpPr>
          <p:nvPr>
            <p:ph type="ftr" sz="quarter" idx="11"/>
          </p:nvPr>
        </p:nvSpPr>
        <p:spPr/>
        <p:txBody>
          <a:bodyPr/>
          <a:lstStyle>
            <a:lvl1pPr>
              <a:defRPr>
                <a:noFill/>
              </a:defRPr>
            </a:lvl1pPr>
          </a:lstStyle>
          <a:p>
            <a:r>
              <a:rPr lang="fi-FI"/>
              <a:t>Presentation name / Author</a:t>
            </a:r>
          </a:p>
        </p:txBody>
      </p:sp>
      <p:sp>
        <p:nvSpPr>
          <p:cNvPr id="6" name="Slide Number Placeholder 5"/>
          <p:cNvSpPr>
            <a:spLocks noGrp="1"/>
          </p:cNvSpPr>
          <p:nvPr>
            <p:ph type="sldNum" sz="quarter" idx="12"/>
          </p:nvPr>
        </p:nvSpPr>
        <p:spPr/>
        <p:txBody>
          <a:bodyPr/>
          <a:lstStyle>
            <a:lvl1pPr>
              <a:defRPr>
                <a:noFill/>
              </a:defRPr>
            </a:lvl1pPr>
          </a:lstStyle>
          <a:p>
            <a:fld id="{49A25110-65A2-4B67-BF3F-8D6D3162EF46}" type="slidenum">
              <a:rPr lang="fi-FI" smtClean="0"/>
              <a:pPr/>
              <a:t>‹#›</a:t>
            </a:fld>
            <a:endParaRPr lang="fi-FI"/>
          </a:p>
        </p:txBody>
      </p:sp>
      <p:sp>
        <p:nvSpPr>
          <p:cNvPr id="10" name="Title 1"/>
          <p:cNvSpPr>
            <a:spLocks noGrp="1"/>
          </p:cNvSpPr>
          <p:nvPr>
            <p:ph type="title"/>
          </p:nvPr>
        </p:nvSpPr>
        <p:spPr>
          <a:xfrm>
            <a:off x="766762" y="3035936"/>
            <a:ext cx="10658475" cy="643253"/>
          </a:xfrm>
        </p:spPr>
        <p:txBody>
          <a:bodyPr anchor="ctr" anchorCtr="0">
            <a:spAutoFit/>
          </a:bodyPr>
          <a:lstStyle>
            <a:lvl1pPr algn="l">
              <a:lnSpc>
                <a:spcPct val="95000"/>
              </a:lnSpc>
              <a:defRPr sz="4400" b="0" cap="none" spc="0" baseline="0">
                <a:solidFill>
                  <a:schemeClr val="bg1"/>
                </a:solidFill>
              </a:defRPr>
            </a:lvl1pPr>
          </a:lstStyle>
          <a:p>
            <a:r>
              <a:rPr lang="en-US"/>
              <a:t>Click to edit Master title style</a:t>
            </a:r>
            <a:endParaRPr lang="fi-FI" dirty="0"/>
          </a:p>
        </p:txBody>
      </p:sp>
      <p:sp>
        <p:nvSpPr>
          <p:cNvPr id="14" name="Text Placeholder 2"/>
          <p:cNvSpPr>
            <a:spLocks noGrp="1" noChangeAspect="1"/>
          </p:cNvSpPr>
          <p:nvPr>
            <p:ph type="body" sz="quarter" idx="21"/>
          </p:nvPr>
        </p:nvSpPr>
        <p:spPr>
          <a:xfrm>
            <a:off x="335360" y="6093296"/>
            <a:ext cx="1243543" cy="432000"/>
          </a:xfrm>
          <a:blipFill>
            <a:blip r:embed="rId2"/>
            <a:stretch>
              <a:fillRect/>
            </a:stretch>
          </a:blipFill>
        </p:spPr>
        <p:txBody>
          <a:bodyPr/>
          <a:lstStyle>
            <a:lvl1pPr>
              <a:defRPr sz="100">
                <a:noFill/>
              </a:defRPr>
            </a:lvl1pPr>
          </a:lstStyle>
          <a:p>
            <a:pPr lvl="0"/>
            <a:r>
              <a:rPr lang="en-US"/>
              <a:t>Click to edit Master text styles</a:t>
            </a:r>
          </a:p>
        </p:txBody>
      </p:sp>
    </p:spTree>
    <p:extLst>
      <p:ext uri="{BB962C8B-B14F-4D97-AF65-F5344CB8AC3E}">
        <p14:creationId xmlns:p14="http://schemas.microsoft.com/office/powerpoint/2010/main" val="1181103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3" name="Content Placeholder 2"/>
          <p:cNvSpPr>
            <a:spLocks noGrp="1"/>
          </p:cNvSpPr>
          <p:nvPr>
            <p:ph idx="1"/>
          </p:nvPr>
        </p:nvSpPr>
        <p:spPr>
          <a:xfrm>
            <a:off x="766762" y="1773238"/>
            <a:ext cx="106584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 name="Date Placeholder 3"/>
          <p:cNvSpPr>
            <a:spLocks noGrp="1"/>
          </p:cNvSpPr>
          <p:nvPr>
            <p:ph type="dt" sz="half" idx="10"/>
          </p:nvPr>
        </p:nvSpPr>
        <p:spPr/>
        <p:txBody>
          <a:bodyPr/>
          <a:lstStyle/>
          <a:p>
            <a:fld id="{17BAFCE9-2058-4A67-ABB3-D3F6F25E3C1C}" type="datetime1">
              <a:rPr lang="en-GB" smtClean="0"/>
              <a:t>22/10/2025</a:t>
            </a:fld>
            <a:endParaRPr lang="fi-FI" dirty="0"/>
          </a:p>
        </p:txBody>
      </p:sp>
      <p:sp>
        <p:nvSpPr>
          <p:cNvPr id="5" name="Footer Placeholder 4"/>
          <p:cNvSpPr>
            <a:spLocks noGrp="1"/>
          </p:cNvSpPr>
          <p:nvPr>
            <p:ph type="ftr" sz="quarter" idx="11"/>
          </p:nvPr>
        </p:nvSpPr>
        <p:spPr/>
        <p:txBody>
          <a:bodyPr/>
          <a:lstStyle/>
          <a:p>
            <a:r>
              <a:rPr lang="fi-FI"/>
              <a:t>Presentation name / Author</a:t>
            </a:r>
          </a:p>
        </p:txBody>
      </p:sp>
      <p:sp>
        <p:nvSpPr>
          <p:cNvPr id="6" name="Slide Number Placeholder 5"/>
          <p:cNvSpPr>
            <a:spLocks noGrp="1"/>
          </p:cNvSpPr>
          <p:nvPr>
            <p:ph type="sldNum" sz="quarter" idx="12"/>
          </p:nvPr>
        </p:nvSpPr>
        <p:spPr/>
        <p:txBody>
          <a:bodyPr/>
          <a:lstStyle/>
          <a:p>
            <a:fld id="{49A25110-65A2-4B67-BF3F-8D6D3162EF46}" type="slidenum">
              <a:rPr lang="fi-FI" smtClean="0"/>
              <a:t>‹#›</a:t>
            </a:fld>
            <a:endParaRPr lang="fi-FI"/>
          </a:p>
        </p:txBody>
      </p:sp>
      <p:sp>
        <p:nvSpPr>
          <p:cNvPr id="7" name="Title 6"/>
          <p:cNvSpPr>
            <a:spLocks noGrp="1"/>
          </p:cNvSpPr>
          <p:nvPr>
            <p:ph type="title"/>
          </p:nvPr>
        </p:nvSpPr>
        <p:spPr/>
        <p:txBody>
          <a:bodyPr/>
          <a:lstStyle/>
          <a:p>
            <a:r>
              <a:rPr lang="en-US"/>
              <a:t>Click to edit Master title style</a:t>
            </a:r>
            <a:endParaRPr lang="fi-FI" dirty="0"/>
          </a:p>
        </p:txBody>
      </p:sp>
      <p:sp>
        <p:nvSpPr>
          <p:cNvPr id="8" name="Text Placeholder 7"/>
          <p:cNvSpPr>
            <a:spLocks noGrp="1"/>
          </p:cNvSpPr>
          <p:nvPr>
            <p:ph type="body" sz="quarter" idx="13"/>
          </p:nvPr>
        </p:nvSpPr>
        <p:spPr>
          <a:xfrm>
            <a:off x="334963" y="260350"/>
            <a:ext cx="11522075" cy="184666"/>
          </a:xfrm>
        </p:spPr>
        <p:txBody>
          <a:bodyPr>
            <a:spAutoFit/>
          </a:bodyPr>
          <a:lstStyle>
            <a:lvl1pPr marL="0" indent="0">
              <a:buFontTx/>
              <a:buNone/>
              <a:defRPr sz="1200">
                <a:solidFill>
                  <a:srgbClr val="686768"/>
                </a:solidFill>
              </a:defRPr>
            </a:lvl1pPr>
            <a:lvl2pPr marL="0" indent="0">
              <a:buFontTx/>
              <a:buNone/>
              <a:defRPr sz="1200"/>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a:t>Click to edit Master text styles</a:t>
            </a:r>
          </a:p>
        </p:txBody>
      </p:sp>
    </p:spTree>
    <p:extLst>
      <p:ext uri="{BB962C8B-B14F-4D97-AF65-F5344CB8AC3E}">
        <p14:creationId xmlns:p14="http://schemas.microsoft.com/office/powerpoint/2010/main" val="3193429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ent ">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C8505C9A-D124-494D-8298-5AF3C3B8D26C}" type="datetime1">
              <a:rPr lang="en-GB" smtClean="0"/>
              <a:t>22/10/2025</a:t>
            </a:fld>
            <a:endParaRPr lang="fi-FI"/>
          </a:p>
        </p:txBody>
      </p:sp>
      <p:sp>
        <p:nvSpPr>
          <p:cNvPr id="6" name="Footer Placeholder 5"/>
          <p:cNvSpPr>
            <a:spLocks noGrp="1"/>
          </p:cNvSpPr>
          <p:nvPr>
            <p:ph type="ftr" sz="quarter" idx="11"/>
          </p:nvPr>
        </p:nvSpPr>
        <p:spPr/>
        <p:txBody>
          <a:bodyPr/>
          <a:lstStyle/>
          <a:p>
            <a:r>
              <a:rPr lang="fi-FI"/>
              <a:t>Presentation name / Author</a:t>
            </a:r>
          </a:p>
        </p:txBody>
      </p:sp>
      <p:sp>
        <p:nvSpPr>
          <p:cNvPr id="7" name="Slide Number Placeholder 6"/>
          <p:cNvSpPr>
            <a:spLocks noGrp="1"/>
          </p:cNvSpPr>
          <p:nvPr>
            <p:ph type="sldNum" sz="quarter" idx="12"/>
          </p:nvPr>
        </p:nvSpPr>
        <p:spPr/>
        <p:txBody>
          <a:bodyPr/>
          <a:lstStyle/>
          <a:p>
            <a:fld id="{49A25110-65A2-4B67-BF3F-8D6D3162EF46}" type="slidenum">
              <a:rPr lang="fi-FI" smtClean="0"/>
              <a:t>‹#›</a:t>
            </a:fld>
            <a:endParaRPr lang="fi-FI"/>
          </a:p>
        </p:txBody>
      </p:sp>
      <p:sp>
        <p:nvSpPr>
          <p:cNvPr id="8" name="Title 7"/>
          <p:cNvSpPr>
            <a:spLocks noGrp="1"/>
          </p:cNvSpPr>
          <p:nvPr>
            <p:ph type="title"/>
          </p:nvPr>
        </p:nvSpPr>
        <p:spPr/>
        <p:txBody>
          <a:bodyPr/>
          <a:lstStyle/>
          <a:p>
            <a:r>
              <a:rPr lang="en-US"/>
              <a:t>Click to edit Master title style</a:t>
            </a:r>
            <a:endParaRPr lang="fi-FI"/>
          </a:p>
        </p:txBody>
      </p:sp>
      <p:sp>
        <p:nvSpPr>
          <p:cNvPr id="9" name="Content Placeholder 8"/>
          <p:cNvSpPr>
            <a:spLocks noGrp="1"/>
          </p:cNvSpPr>
          <p:nvPr>
            <p:ph sz="quarter" idx="13"/>
          </p:nvPr>
        </p:nvSpPr>
        <p:spPr>
          <a:xfrm>
            <a:off x="766763" y="1773238"/>
            <a:ext cx="51847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0" name="Content Placeholder 8"/>
          <p:cNvSpPr>
            <a:spLocks noGrp="1"/>
          </p:cNvSpPr>
          <p:nvPr>
            <p:ph sz="quarter" idx="14"/>
          </p:nvPr>
        </p:nvSpPr>
        <p:spPr>
          <a:xfrm>
            <a:off x="6240017" y="1773238"/>
            <a:ext cx="5185221"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11" name="Text Placeholder 7"/>
          <p:cNvSpPr>
            <a:spLocks noGrp="1"/>
          </p:cNvSpPr>
          <p:nvPr>
            <p:ph type="body" sz="quarter" idx="15"/>
          </p:nvPr>
        </p:nvSpPr>
        <p:spPr>
          <a:xfrm>
            <a:off x="334963" y="260350"/>
            <a:ext cx="11522075" cy="184666"/>
          </a:xfrm>
        </p:spPr>
        <p:txBody>
          <a:bodyPr>
            <a:spAutoFit/>
          </a:bodyPr>
          <a:lstStyle>
            <a:lvl1pPr marL="0" indent="0">
              <a:buFontTx/>
              <a:buNone/>
              <a:defRPr sz="1200">
                <a:solidFill>
                  <a:srgbClr val="686768"/>
                </a:solidFill>
              </a:defRPr>
            </a:lvl1pPr>
            <a:lvl2pPr marL="0" indent="0">
              <a:buFontTx/>
              <a:buNone/>
              <a:defRPr sz="1200"/>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a:t>Click to edit Master text styles</a:t>
            </a:r>
          </a:p>
        </p:txBody>
      </p:sp>
    </p:spTree>
    <p:extLst>
      <p:ext uri="{BB962C8B-B14F-4D97-AF65-F5344CB8AC3E}">
        <p14:creationId xmlns:p14="http://schemas.microsoft.com/office/powerpoint/2010/main" val="3570363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mparison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fi-FI"/>
          </a:p>
        </p:txBody>
      </p:sp>
      <p:sp>
        <p:nvSpPr>
          <p:cNvPr id="3" name="Text Placeholder 2"/>
          <p:cNvSpPr>
            <a:spLocks noGrp="1"/>
          </p:cNvSpPr>
          <p:nvPr>
            <p:ph type="body" idx="1"/>
          </p:nvPr>
        </p:nvSpPr>
        <p:spPr>
          <a:xfrm>
            <a:off x="766763" y="1773238"/>
            <a:ext cx="5185221" cy="647650"/>
          </a:xfrm>
        </p:spPr>
        <p:txBody>
          <a:bodyPr anchor="t" anchorCtr="0"/>
          <a:lstStyle>
            <a:lvl1pPr marL="0" indent="0">
              <a:lnSpc>
                <a:spcPct val="95000"/>
              </a:lnSpc>
              <a:spcBef>
                <a:spcPts val="0"/>
              </a:spcBef>
              <a:buNone/>
              <a:defRPr sz="2000" b="1" spc="-40"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7" name="Date Placeholder 6"/>
          <p:cNvSpPr>
            <a:spLocks noGrp="1"/>
          </p:cNvSpPr>
          <p:nvPr>
            <p:ph type="dt" sz="half" idx="10"/>
          </p:nvPr>
        </p:nvSpPr>
        <p:spPr/>
        <p:txBody>
          <a:bodyPr/>
          <a:lstStyle/>
          <a:p>
            <a:fld id="{9E2C6DE6-F0C7-4C73-B07C-BAB68D720FF8}" type="datetime1">
              <a:rPr lang="en-GB" smtClean="0"/>
              <a:t>22/10/2025</a:t>
            </a:fld>
            <a:endParaRPr lang="fi-FI"/>
          </a:p>
        </p:txBody>
      </p:sp>
      <p:sp>
        <p:nvSpPr>
          <p:cNvPr id="8" name="Footer Placeholder 7"/>
          <p:cNvSpPr>
            <a:spLocks noGrp="1"/>
          </p:cNvSpPr>
          <p:nvPr>
            <p:ph type="ftr" sz="quarter" idx="11"/>
          </p:nvPr>
        </p:nvSpPr>
        <p:spPr/>
        <p:txBody>
          <a:bodyPr/>
          <a:lstStyle/>
          <a:p>
            <a:r>
              <a:rPr lang="fi-FI"/>
              <a:t>Presentation name / Author</a:t>
            </a:r>
          </a:p>
        </p:txBody>
      </p:sp>
      <p:sp>
        <p:nvSpPr>
          <p:cNvPr id="9" name="Slide Number Placeholder 8"/>
          <p:cNvSpPr>
            <a:spLocks noGrp="1"/>
          </p:cNvSpPr>
          <p:nvPr>
            <p:ph type="sldNum" sz="quarter" idx="12"/>
          </p:nvPr>
        </p:nvSpPr>
        <p:spPr/>
        <p:txBody>
          <a:bodyPr/>
          <a:lstStyle/>
          <a:p>
            <a:fld id="{49A25110-65A2-4B67-BF3F-8D6D3162EF46}" type="slidenum">
              <a:rPr lang="fi-FI" smtClean="0"/>
              <a:t>‹#›</a:t>
            </a:fld>
            <a:endParaRPr lang="fi-FI"/>
          </a:p>
        </p:txBody>
      </p:sp>
      <p:sp>
        <p:nvSpPr>
          <p:cNvPr id="10" name="Text Placeholder 2"/>
          <p:cNvSpPr>
            <a:spLocks noGrp="1"/>
          </p:cNvSpPr>
          <p:nvPr>
            <p:ph type="body" idx="13"/>
          </p:nvPr>
        </p:nvSpPr>
        <p:spPr>
          <a:xfrm>
            <a:off x="6240016" y="1773238"/>
            <a:ext cx="5185222" cy="647650"/>
          </a:xfrm>
        </p:spPr>
        <p:txBody>
          <a:bodyPr anchor="t" anchorCtr="0"/>
          <a:lstStyle>
            <a:lvl1pPr marL="0" indent="0">
              <a:lnSpc>
                <a:spcPct val="95000"/>
              </a:lnSpc>
              <a:spcBef>
                <a:spcPts val="0"/>
              </a:spcBef>
              <a:buNone/>
              <a:defRPr sz="2000" b="1" spc="-40"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1" name="Content Placeholder 8"/>
          <p:cNvSpPr>
            <a:spLocks noGrp="1"/>
          </p:cNvSpPr>
          <p:nvPr>
            <p:ph sz="quarter" idx="14"/>
          </p:nvPr>
        </p:nvSpPr>
        <p:spPr>
          <a:xfrm>
            <a:off x="766763" y="2564904"/>
            <a:ext cx="5184775" cy="3385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2" name="Content Placeholder 8"/>
          <p:cNvSpPr>
            <a:spLocks noGrp="1"/>
          </p:cNvSpPr>
          <p:nvPr>
            <p:ph sz="quarter" idx="15"/>
          </p:nvPr>
        </p:nvSpPr>
        <p:spPr>
          <a:xfrm>
            <a:off x="6240017" y="2564904"/>
            <a:ext cx="5185221" cy="3385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13" name="Text Placeholder 7"/>
          <p:cNvSpPr>
            <a:spLocks noGrp="1"/>
          </p:cNvSpPr>
          <p:nvPr>
            <p:ph type="body" sz="quarter" idx="16"/>
          </p:nvPr>
        </p:nvSpPr>
        <p:spPr>
          <a:xfrm>
            <a:off x="334963" y="260350"/>
            <a:ext cx="11522075" cy="184666"/>
          </a:xfrm>
        </p:spPr>
        <p:txBody>
          <a:bodyPr>
            <a:spAutoFit/>
          </a:bodyPr>
          <a:lstStyle>
            <a:lvl1pPr marL="0" indent="0">
              <a:buFontTx/>
              <a:buNone/>
              <a:defRPr sz="1200">
                <a:solidFill>
                  <a:srgbClr val="686768"/>
                </a:solidFill>
              </a:defRPr>
            </a:lvl1pPr>
            <a:lvl2pPr marL="0" indent="0">
              <a:buFontTx/>
              <a:buNone/>
              <a:defRPr sz="1200"/>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a:t>Click to edit Master text styles</a:t>
            </a:r>
          </a:p>
        </p:txBody>
      </p:sp>
    </p:spTree>
    <p:extLst>
      <p:ext uri="{BB962C8B-B14F-4D97-AF65-F5344CB8AC3E}">
        <p14:creationId xmlns:p14="http://schemas.microsoft.com/office/powerpoint/2010/main" val="1193470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harts ">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22E22956-941A-4E50-9482-9CD6BD9F19C3}" type="datetime1">
              <a:rPr lang="en-GB" smtClean="0"/>
              <a:t>22/10/2025</a:t>
            </a:fld>
            <a:endParaRPr lang="fi-FI"/>
          </a:p>
        </p:txBody>
      </p:sp>
      <p:sp>
        <p:nvSpPr>
          <p:cNvPr id="8" name="Footer Placeholder 7"/>
          <p:cNvSpPr>
            <a:spLocks noGrp="1"/>
          </p:cNvSpPr>
          <p:nvPr>
            <p:ph type="ftr" sz="quarter" idx="11"/>
          </p:nvPr>
        </p:nvSpPr>
        <p:spPr/>
        <p:txBody>
          <a:bodyPr/>
          <a:lstStyle/>
          <a:p>
            <a:r>
              <a:rPr lang="fi-FI"/>
              <a:t>Presentation name / Author</a:t>
            </a:r>
          </a:p>
        </p:txBody>
      </p:sp>
      <p:sp>
        <p:nvSpPr>
          <p:cNvPr id="9" name="Slide Number Placeholder 8"/>
          <p:cNvSpPr>
            <a:spLocks noGrp="1"/>
          </p:cNvSpPr>
          <p:nvPr>
            <p:ph type="sldNum" sz="quarter" idx="12"/>
          </p:nvPr>
        </p:nvSpPr>
        <p:spPr/>
        <p:txBody>
          <a:bodyPr/>
          <a:lstStyle/>
          <a:p>
            <a:fld id="{49A25110-65A2-4B67-BF3F-8D6D3162EF46}" type="slidenum">
              <a:rPr lang="fi-FI" smtClean="0"/>
              <a:t>‹#›</a:t>
            </a:fld>
            <a:endParaRPr lang="fi-FI"/>
          </a:p>
        </p:txBody>
      </p:sp>
      <p:sp>
        <p:nvSpPr>
          <p:cNvPr id="11" name="Chart Placeholder 10"/>
          <p:cNvSpPr>
            <a:spLocks noGrp="1"/>
          </p:cNvSpPr>
          <p:nvPr>
            <p:ph type="chart" sz="quarter" idx="14"/>
          </p:nvPr>
        </p:nvSpPr>
        <p:spPr>
          <a:xfrm>
            <a:off x="766764" y="2564904"/>
            <a:ext cx="5185220" cy="3385046"/>
          </a:xfrm>
        </p:spPr>
        <p:txBody>
          <a:bodyPr/>
          <a:lstStyle>
            <a:lvl1pPr marL="0" indent="0">
              <a:buFontTx/>
              <a:buNone/>
              <a:defRPr sz="1000"/>
            </a:lvl1pPr>
          </a:lstStyle>
          <a:p>
            <a:r>
              <a:rPr lang="en-US"/>
              <a:t>Click icon to add chart</a:t>
            </a:r>
            <a:endParaRPr lang="fi-FI" dirty="0"/>
          </a:p>
        </p:txBody>
      </p:sp>
      <p:sp>
        <p:nvSpPr>
          <p:cNvPr id="13" name="Chart Placeholder 12"/>
          <p:cNvSpPr>
            <a:spLocks noGrp="1"/>
          </p:cNvSpPr>
          <p:nvPr>
            <p:ph type="chart" sz="quarter" idx="15"/>
          </p:nvPr>
        </p:nvSpPr>
        <p:spPr>
          <a:xfrm>
            <a:off x="6240015" y="2564904"/>
            <a:ext cx="5185223" cy="3385046"/>
          </a:xfrm>
        </p:spPr>
        <p:txBody>
          <a:bodyPr/>
          <a:lstStyle>
            <a:lvl1pPr marL="0" indent="0">
              <a:buFontTx/>
              <a:buNone/>
              <a:defRPr sz="1000"/>
            </a:lvl1pPr>
          </a:lstStyle>
          <a:p>
            <a:r>
              <a:rPr lang="en-US"/>
              <a:t>Click icon to add chart</a:t>
            </a:r>
            <a:endParaRPr lang="fi-FI" dirty="0"/>
          </a:p>
        </p:txBody>
      </p:sp>
      <p:sp>
        <p:nvSpPr>
          <p:cNvPr id="4" name="Title 3"/>
          <p:cNvSpPr>
            <a:spLocks noGrp="1"/>
          </p:cNvSpPr>
          <p:nvPr>
            <p:ph type="title"/>
          </p:nvPr>
        </p:nvSpPr>
        <p:spPr/>
        <p:txBody>
          <a:bodyPr/>
          <a:lstStyle/>
          <a:p>
            <a:r>
              <a:rPr lang="en-US"/>
              <a:t>Click to edit Master title style</a:t>
            </a:r>
            <a:endParaRPr lang="sv-SE"/>
          </a:p>
        </p:txBody>
      </p:sp>
      <p:sp>
        <p:nvSpPr>
          <p:cNvPr id="12" name="Text Placeholder 2"/>
          <p:cNvSpPr>
            <a:spLocks noGrp="1"/>
          </p:cNvSpPr>
          <p:nvPr>
            <p:ph type="body" idx="1"/>
          </p:nvPr>
        </p:nvSpPr>
        <p:spPr>
          <a:xfrm>
            <a:off x="766763" y="1773238"/>
            <a:ext cx="5185221" cy="647650"/>
          </a:xfrm>
        </p:spPr>
        <p:txBody>
          <a:bodyPr anchor="t" anchorCtr="0"/>
          <a:lstStyle>
            <a:lvl1pPr marL="0" indent="0">
              <a:lnSpc>
                <a:spcPct val="95000"/>
              </a:lnSpc>
              <a:spcBef>
                <a:spcPts val="0"/>
              </a:spcBef>
              <a:buNone/>
              <a:defRPr sz="2000" b="1" spc="-40"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4" name="Text Placeholder 2"/>
          <p:cNvSpPr>
            <a:spLocks noGrp="1"/>
          </p:cNvSpPr>
          <p:nvPr>
            <p:ph type="body" idx="13"/>
          </p:nvPr>
        </p:nvSpPr>
        <p:spPr>
          <a:xfrm>
            <a:off x="6240016" y="1773238"/>
            <a:ext cx="5185222" cy="647650"/>
          </a:xfrm>
        </p:spPr>
        <p:txBody>
          <a:bodyPr anchor="t" anchorCtr="0"/>
          <a:lstStyle>
            <a:lvl1pPr marL="0" indent="0">
              <a:lnSpc>
                <a:spcPct val="95000"/>
              </a:lnSpc>
              <a:spcBef>
                <a:spcPts val="0"/>
              </a:spcBef>
              <a:buNone/>
              <a:defRPr sz="2000" b="1" spc="-40"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5" name="Text Placeholder 7"/>
          <p:cNvSpPr>
            <a:spLocks noGrp="1"/>
          </p:cNvSpPr>
          <p:nvPr>
            <p:ph type="body" sz="quarter" idx="16"/>
          </p:nvPr>
        </p:nvSpPr>
        <p:spPr>
          <a:xfrm>
            <a:off x="334963" y="260350"/>
            <a:ext cx="11522075" cy="184666"/>
          </a:xfrm>
        </p:spPr>
        <p:txBody>
          <a:bodyPr>
            <a:spAutoFit/>
          </a:bodyPr>
          <a:lstStyle>
            <a:lvl1pPr marL="0" indent="0">
              <a:buFontTx/>
              <a:buNone/>
              <a:defRPr sz="1200">
                <a:solidFill>
                  <a:srgbClr val="686768"/>
                </a:solidFill>
              </a:defRPr>
            </a:lvl1pPr>
            <a:lvl2pPr marL="0" indent="0">
              <a:buFontTx/>
              <a:buNone/>
              <a:defRPr sz="1200"/>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a:t>Click to edit Master text styles</a:t>
            </a:r>
          </a:p>
        </p:txBody>
      </p:sp>
    </p:spTree>
    <p:extLst>
      <p:ext uri="{BB962C8B-B14F-4D97-AF65-F5344CB8AC3E}">
        <p14:creationId xmlns:p14="http://schemas.microsoft.com/office/powerpoint/2010/main" val="3079024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7"/>
          </p:nvPr>
        </p:nvSpPr>
        <p:spPr>
          <a:xfrm>
            <a:off x="1" y="1"/>
            <a:ext cx="4008438" cy="6858000"/>
          </a:xfrm>
          <a:solidFill>
            <a:schemeClr val="bg1">
              <a:lumMod val="95000"/>
            </a:schemeClr>
          </a:solidFill>
        </p:spPr>
        <p:txBody>
          <a:bodyPr/>
          <a:lstStyle>
            <a:lvl1pPr marL="0" indent="0">
              <a:buFontTx/>
              <a:buNone/>
              <a:defRPr sz="1000"/>
            </a:lvl1pPr>
          </a:lstStyle>
          <a:p>
            <a:r>
              <a:rPr lang="en-US"/>
              <a:t>Click icon to add picture</a:t>
            </a:r>
            <a:endParaRPr lang="fi-FI"/>
          </a:p>
        </p:txBody>
      </p:sp>
      <p:sp>
        <p:nvSpPr>
          <p:cNvPr id="9" name="Date Placeholder 8"/>
          <p:cNvSpPr>
            <a:spLocks noGrp="1"/>
          </p:cNvSpPr>
          <p:nvPr>
            <p:ph type="dt" sz="half" idx="14"/>
          </p:nvPr>
        </p:nvSpPr>
        <p:spPr>
          <a:xfrm>
            <a:off x="4799856" y="6381329"/>
            <a:ext cx="1224137" cy="216023"/>
          </a:xfrm>
        </p:spPr>
        <p:txBody>
          <a:bodyPr/>
          <a:lstStyle>
            <a:lvl1pPr>
              <a:defRPr>
                <a:noFill/>
              </a:defRPr>
            </a:lvl1pPr>
          </a:lstStyle>
          <a:p>
            <a:fld id="{A06CA5E9-B2BF-4462-83F1-3DD4D6BFB3CF}" type="datetime1">
              <a:rPr lang="en-GB" smtClean="0"/>
              <a:t>22/10/2025</a:t>
            </a:fld>
            <a:endParaRPr lang="fi-FI" dirty="0"/>
          </a:p>
        </p:txBody>
      </p:sp>
      <p:sp>
        <p:nvSpPr>
          <p:cNvPr id="10" name="Footer Placeholder 9"/>
          <p:cNvSpPr>
            <a:spLocks noGrp="1"/>
          </p:cNvSpPr>
          <p:nvPr>
            <p:ph type="ftr" sz="quarter" idx="15"/>
          </p:nvPr>
        </p:nvSpPr>
        <p:spPr>
          <a:xfrm>
            <a:off x="6023992" y="6381328"/>
            <a:ext cx="5401246" cy="216024"/>
          </a:xfrm>
        </p:spPr>
        <p:txBody>
          <a:bodyPr/>
          <a:lstStyle>
            <a:lvl1pPr>
              <a:defRPr>
                <a:noFill/>
              </a:defRPr>
            </a:lvl1pPr>
          </a:lstStyle>
          <a:p>
            <a:r>
              <a:rPr lang="fi-FI"/>
              <a:t>Presentation name / Author</a:t>
            </a:r>
            <a:endParaRPr lang="fi-FI" dirty="0"/>
          </a:p>
        </p:txBody>
      </p:sp>
      <p:sp>
        <p:nvSpPr>
          <p:cNvPr id="11" name="Slide Number Placeholder 10"/>
          <p:cNvSpPr>
            <a:spLocks noGrp="1"/>
          </p:cNvSpPr>
          <p:nvPr>
            <p:ph type="sldNum" sz="quarter" idx="16"/>
          </p:nvPr>
        </p:nvSpPr>
        <p:spPr/>
        <p:txBody>
          <a:bodyPr/>
          <a:lstStyle>
            <a:lvl1pPr>
              <a:defRPr>
                <a:noFill/>
              </a:defRPr>
            </a:lvl1pPr>
          </a:lstStyle>
          <a:p>
            <a:fld id="{49A25110-65A2-4B67-BF3F-8D6D3162EF46}" type="slidenum">
              <a:rPr lang="fi-FI" smtClean="0"/>
              <a:pPr/>
              <a:t>‹#›</a:t>
            </a:fld>
            <a:endParaRPr lang="fi-FI" dirty="0"/>
          </a:p>
        </p:txBody>
      </p:sp>
      <p:sp>
        <p:nvSpPr>
          <p:cNvPr id="12" name="Text Placeholder 7"/>
          <p:cNvSpPr>
            <a:spLocks noGrp="1"/>
          </p:cNvSpPr>
          <p:nvPr>
            <p:ph type="body" sz="quarter" idx="13" hasCustomPrompt="1"/>
          </p:nvPr>
        </p:nvSpPr>
        <p:spPr>
          <a:xfrm>
            <a:off x="4799856" y="5949950"/>
            <a:ext cx="6625382" cy="215354"/>
          </a:xfrm>
        </p:spPr>
        <p:txBody>
          <a:bodyPr vert="horz" lIns="0" tIns="0" rIns="0" bIns="0" rtlCol="0" anchor="b" anchorCtr="0">
            <a:noAutofit/>
          </a:bodyPr>
          <a:lstStyle>
            <a:lvl1pPr marL="0" indent="0">
              <a:lnSpc>
                <a:spcPct val="95000"/>
              </a:lnSpc>
              <a:spcBef>
                <a:spcPts val="0"/>
              </a:spcBef>
              <a:buFontTx/>
              <a:buNone/>
              <a:defRPr lang="fi-FI" sz="1600" spc="40" baseline="0" dirty="0">
                <a:solidFill>
                  <a:schemeClr val="tx1"/>
                </a:solidFill>
              </a:defRPr>
            </a:lvl1pPr>
          </a:lstStyle>
          <a:p>
            <a:pPr marL="0" lvl="0"/>
            <a:r>
              <a:rPr lang="en-US" dirty="0"/>
              <a:t>Date / Author</a:t>
            </a:r>
            <a:endParaRPr lang="fi-FI" dirty="0"/>
          </a:p>
        </p:txBody>
      </p:sp>
      <p:sp>
        <p:nvSpPr>
          <p:cNvPr id="13" name="Title 1"/>
          <p:cNvSpPr>
            <a:spLocks noGrp="1"/>
          </p:cNvSpPr>
          <p:nvPr>
            <p:ph type="ctrTitle"/>
          </p:nvPr>
        </p:nvSpPr>
        <p:spPr>
          <a:xfrm>
            <a:off x="4799856" y="1773238"/>
            <a:ext cx="6625382" cy="1943794"/>
          </a:xfrm>
        </p:spPr>
        <p:txBody>
          <a:bodyPr anchor="b" anchorCtr="0"/>
          <a:lstStyle>
            <a:lvl1pPr>
              <a:lnSpc>
                <a:spcPct val="95000"/>
              </a:lnSpc>
              <a:defRPr sz="4400" b="0" spc="0" baseline="0">
                <a:solidFill>
                  <a:schemeClr val="tx1"/>
                </a:solidFill>
              </a:defRPr>
            </a:lvl1pPr>
          </a:lstStyle>
          <a:p>
            <a:r>
              <a:rPr lang="en-US"/>
              <a:t>Click to edit Master title style</a:t>
            </a:r>
            <a:endParaRPr lang="fi-FI" dirty="0"/>
          </a:p>
        </p:txBody>
      </p:sp>
      <p:sp>
        <p:nvSpPr>
          <p:cNvPr id="14" name="Subtitle 2"/>
          <p:cNvSpPr>
            <a:spLocks noGrp="1"/>
          </p:cNvSpPr>
          <p:nvPr>
            <p:ph type="subTitle" idx="1"/>
          </p:nvPr>
        </p:nvSpPr>
        <p:spPr>
          <a:xfrm>
            <a:off x="4799855" y="3933055"/>
            <a:ext cx="6625383" cy="936105"/>
          </a:xfrm>
        </p:spPr>
        <p:txBody>
          <a:bodyPr/>
          <a:lstStyle>
            <a:lvl1pPr marL="0" indent="0" algn="l">
              <a:lnSpc>
                <a:spcPct val="95000"/>
              </a:lnSpc>
              <a:spcBef>
                <a:spcPts val="0"/>
              </a:spcBef>
              <a:buNone/>
              <a:defRPr b="0" spc="-40" baseline="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fi-FI" dirty="0"/>
          </a:p>
        </p:txBody>
      </p:sp>
      <p:grpSp>
        <p:nvGrpSpPr>
          <p:cNvPr id="15" name="Group 14"/>
          <p:cNvGrpSpPr>
            <a:grpSpLocks noChangeAspect="1"/>
          </p:cNvGrpSpPr>
          <p:nvPr/>
        </p:nvGrpSpPr>
        <p:grpSpPr>
          <a:xfrm>
            <a:off x="4439816" y="404776"/>
            <a:ext cx="2902289" cy="1008000"/>
            <a:chOff x="3279775" y="2451101"/>
            <a:chExt cx="5640388" cy="1958974"/>
          </a:xfrm>
          <a:solidFill>
            <a:schemeClr val="accent1"/>
          </a:solidFill>
        </p:grpSpPr>
        <p:sp>
          <p:nvSpPr>
            <p:cNvPr id="16" name="Freeform 6"/>
            <p:cNvSpPr>
              <a:spLocks/>
            </p:cNvSpPr>
            <p:nvPr/>
          </p:nvSpPr>
          <p:spPr bwMode="auto">
            <a:xfrm>
              <a:off x="3279775" y="2451101"/>
              <a:ext cx="1838325" cy="1944687"/>
            </a:xfrm>
            <a:custGeom>
              <a:avLst/>
              <a:gdLst>
                <a:gd name="T0" fmla="*/ 978 w 1158"/>
                <a:gd name="T1" fmla="*/ 608 h 1225"/>
                <a:gd name="T2" fmla="*/ 974 w 1158"/>
                <a:gd name="T3" fmla="*/ 610 h 1225"/>
                <a:gd name="T4" fmla="*/ 968 w 1158"/>
                <a:gd name="T5" fmla="*/ 608 h 1225"/>
                <a:gd name="T6" fmla="*/ 966 w 1158"/>
                <a:gd name="T7" fmla="*/ 134 h 1225"/>
                <a:gd name="T8" fmla="*/ 963 w 1158"/>
                <a:gd name="T9" fmla="*/ 128 h 1225"/>
                <a:gd name="T10" fmla="*/ 956 w 1158"/>
                <a:gd name="T11" fmla="*/ 128 h 1225"/>
                <a:gd name="T12" fmla="*/ 953 w 1158"/>
                <a:gd name="T13" fmla="*/ 132 h 1225"/>
                <a:gd name="T14" fmla="*/ 784 w 1158"/>
                <a:gd name="T15" fmla="*/ 603 h 1225"/>
                <a:gd name="T16" fmla="*/ 779 w 1158"/>
                <a:gd name="T17" fmla="*/ 607 h 1225"/>
                <a:gd name="T18" fmla="*/ 773 w 1158"/>
                <a:gd name="T19" fmla="*/ 605 h 1225"/>
                <a:gd name="T20" fmla="*/ 771 w 1158"/>
                <a:gd name="T21" fmla="*/ 466 h 1225"/>
                <a:gd name="T22" fmla="*/ 769 w 1158"/>
                <a:gd name="T23" fmla="*/ 461 h 1225"/>
                <a:gd name="T24" fmla="*/ 764 w 1158"/>
                <a:gd name="T25" fmla="*/ 459 h 1225"/>
                <a:gd name="T26" fmla="*/ 584 w 1158"/>
                <a:gd name="T27" fmla="*/ 614 h 1225"/>
                <a:gd name="T28" fmla="*/ 579 w 1158"/>
                <a:gd name="T29" fmla="*/ 616 h 1225"/>
                <a:gd name="T30" fmla="*/ 396 w 1158"/>
                <a:gd name="T31" fmla="*/ 461 h 1225"/>
                <a:gd name="T32" fmla="*/ 390 w 1158"/>
                <a:gd name="T33" fmla="*/ 460 h 1225"/>
                <a:gd name="T34" fmla="*/ 386 w 1158"/>
                <a:gd name="T35" fmla="*/ 464 h 1225"/>
                <a:gd name="T36" fmla="*/ 386 w 1158"/>
                <a:gd name="T37" fmla="*/ 603 h 1225"/>
                <a:gd name="T38" fmla="*/ 381 w 1158"/>
                <a:gd name="T39" fmla="*/ 607 h 1225"/>
                <a:gd name="T40" fmla="*/ 375 w 1158"/>
                <a:gd name="T41" fmla="*/ 605 h 1225"/>
                <a:gd name="T42" fmla="*/ 292 w 1158"/>
                <a:gd name="T43" fmla="*/ 378 h 1225"/>
                <a:gd name="T44" fmla="*/ 203 w 1158"/>
                <a:gd name="T45" fmla="*/ 130 h 1225"/>
                <a:gd name="T46" fmla="*/ 197 w 1158"/>
                <a:gd name="T47" fmla="*/ 128 h 1225"/>
                <a:gd name="T48" fmla="*/ 192 w 1158"/>
                <a:gd name="T49" fmla="*/ 132 h 1225"/>
                <a:gd name="T50" fmla="*/ 191 w 1158"/>
                <a:gd name="T51" fmla="*/ 606 h 1225"/>
                <a:gd name="T52" fmla="*/ 186 w 1158"/>
                <a:gd name="T53" fmla="*/ 610 h 1225"/>
                <a:gd name="T54" fmla="*/ 181 w 1158"/>
                <a:gd name="T55" fmla="*/ 609 h 1225"/>
                <a:gd name="T56" fmla="*/ 13 w 1158"/>
                <a:gd name="T57" fmla="*/ 5 h 1225"/>
                <a:gd name="T58" fmla="*/ 10 w 1158"/>
                <a:gd name="T59" fmla="*/ 1 h 1225"/>
                <a:gd name="T60" fmla="*/ 4 w 1158"/>
                <a:gd name="T61" fmla="*/ 1 h 1225"/>
                <a:gd name="T62" fmla="*/ 0 w 1158"/>
                <a:gd name="T63" fmla="*/ 7 h 1225"/>
                <a:gd name="T64" fmla="*/ 1 w 1158"/>
                <a:gd name="T65" fmla="*/ 552 h 1225"/>
                <a:gd name="T66" fmla="*/ 147 w 1158"/>
                <a:gd name="T67" fmla="*/ 644 h 1225"/>
                <a:gd name="T68" fmla="*/ 389 w 1158"/>
                <a:gd name="T69" fmla="*/ 646 h 1225"/>
                <a:gd name="T70" fmla="*/ 397 w 1158"/>
                <a:gd name="T71" fmla="*/ 649 h 1225"/>
                <a:gd name="T72" fmla="*/ 500 w 1158"/>
                <a:gd name="T73" fmla="*/ 909 h 1225"/>
                <a:gd name="T74" fmla="*/ 501 w 1158"/>
                <a:gd name="T75" fmla="*/ 917 h 1225"/>
                <a:gd name="T76" fmla="*/ 447 w 1158"/>
                <a:gd name="T77" fmla="*/ 1030 h 1225"/>
                <a:gd name="T78" fmla="*/ 519 w 1158"/>
                <a:gd name="T79" fmla="*/ 1218 h 1225"/>
                <a:gd name="T80" fmla="*/ 526 w 1158"/>
                <a:gd name="T81" fmla="*/ 1224 h 1225"/>
                <a:gd name="T82" fmla="*/ 629 w 1158"/>
                <a:gd name="T83" fmla="*/ 1225 h 1225"/>
                <a:gd name="T84" fmla="*/ 637 w 1158"/>
                <a:gd name="T85" fmla="*/ 1221 h 1225"/>
                <a:gd name="T86" fmla="*/ 710 w 1158"/>
                <a:gd name="T87" fmla="*/ 1036 h 1225"/>
                <a:gd name="T88" fmla="*/ 710 w 1158"/>
                <a:gd name="T89" fmla="*/ 1030 h 1225"/>
                <a:gd name="T90" fmla="*/ 657 w 1158"/>
                <a:gd name="T91" fmla="*/ 917 h 1225"/>
                <a:gd name="T92" fmla="*/ 758 w 1158"/>
                <a:gd name="T93" fmla="*/ 652 h 1225"/>
                <a:gd name="T94" fmla="*/ 765 w 1158"/>
                <a:gd name="T95" fmla="*/ 646 h 1225"/>
                <a:gd name="T96" fmla="*/ 1009 w 1158"/>
                <a:gd name="T97" fmla="*/ 645 h 1225"/>
                <a:gd name="T98" fmla="*/ 1155 w 1158"/>
                <a:gd name="T99" fmla="*/ 554 h 1225"/>
                <a:gd name="T100" fmla="*/ 1158 w 1158"/>
                <a:gd name="T101" fmla="*/ 549 h 1225"/>
                <a:gd name="T102" fmla="*/ 1158 w 1158"/>
                <a:gd name="T103" fmla="*/ 4 h 1225"/>
                <a:gd name="T104" fmla="*/ 1152 w 1158"/>
                <a:gd name="T105" fmla="*/ 0 h 1225"/>
                <a:gd name="T106" fmla="*/ 1146 w 1158"/>
                <a:gd name="T107" fmla="*/ 3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8" h="1225">
                  <a:moveTo>
                    <a:pt x="1145" y="5"/>
                  </a:moveTo>
                  <a:lnTo>
                    <a:pt x="979" y="605"/>
                  </a:lnTo>
                  <a:lnTo>
                    <a:pt x="978" y="608"/>
                  </a:lnTo>
                  <a:lnTo>
                    <a:pt x="977" y="608"/>
                  </a:lnTo>
                  <a:lnTo>
                    <a:pt x="976" y="609"/>
                  </a:lnTo>
                  <a:lnTo>
                    <a:pt x="974" y="610"/>
                  </a:lnTo>
                  <a:lnTo>
                    <a:pt x="972" y="610"/>
                  </a:lnTo>
                  <a:lnTo>
                    <a:pt x="970" y="609"/>
                  </a:lnTo>
                  <a:lnTo>
                    <a:pt x="968" y="608"/>
                  </a:lnTo>
                  <a:lnTo>
                    <a:pt x="967" y="606"/>
                  </a:lnTo>
                  <a:lnTo>
                    <a:pt x="966" y="603"/>
                  </a:lnTo>
                  <a:lnTo>
                    <a:pt x="966" y="134"/>
                  </a:lnTo>
                  <a:lnTo>
                    <a:pt x="966" y="132"/>
                  </a:lnTo>
                  <a:lnTo>
                    <a:pt x="964" y="130"/>
                  </a:lnTo>
                  <a:lnTo>
                    <a:pt x="963" y="128"/>
                  </a:lnTo>
                  <a:lnTo>
                    <a:pt x="961" y="128"/>
                  </a:lnTo>
                  <a:lnTo>
                    <a:pt x="958" y="128"/>
                  </a:lnTo>
                  <a:lnTo>
                    <a:pt x="956" y="128"/>
                  </a:lnTo>
                  <a:lnTo>
                    <a:pt x="955" y="129"/>
                  </a:lnTo>
                  <a:lnTo>
                    <a:pt x="955" y="130"/>
                  </a:lnTo>
                  <a:lnTo>
                    <a:pt x="953" y="132"/>
                  </a:lnTo>
                  <a:lnTo>
                    <a:pt x="916" y="240"/>
                  </a:lnTo>
                  <a:lnTo>
                    <a:pt x="865" y="378"/>
                  </a:lnTo>
                  <a:lnTo>
                    <a:pt x="784" y="603"/>
                  </a:lnTo>
                  <a:lnTo>
                    <a:pt x="782" y="605"/>
                  </a:lnTo>
                  <a:lnTo>
                    <a:pt x="781" y="606"/>
                  </a:lnTo>
                  <a:lnTo>
                    <a:pt x="779" y="607"/>
                  </a:lnTo>
                  <a:lnTo>
                    <a:pt x="776" y="607"/>
                  </a:lnTo>
                  <a:lnTo>
                    <a:pt x="774" y="606"/>
                  </a:lnTo>
                  <a:lnTo>
                    <a:pt x="773" y="605"/>
                  </a:lnTo>
                  <a:lnTo>
                    <a:pt x="772" y="603"/>
                  </a:lnTo>
                  <a:lnTo>
                    <a:pt x="771" y="600"/>
                  </a:lnTo>
                  <a:lnTo>
                    <a:pt x="771" y="466"/>
                  </a:lnTo>
                  <a:lnTo>
                    <a:pt x="771" y="464"/>
                  </a:lnTo>
                  <a:lnTo>
                    <a:pt x="770" y="462"/>
                  </a:lnTo>
                  <a:lnTo>
                    <a:pt x="769" y="461"/>
                  </a:lnTo>
                  <a:lnTo>
                    <a:pt x="767" y="460"/>
                  </a:lnTo>
                  <a:lnTo>
                    <a:pt x="766" y="459"/>
                  </a:lnTo>
                  <a:lnTo>
                    <a:pt x="764" y="459"/>
                  </a:lnTo>
                  <a:lnTo>
                    <a:pt x="762" y="460"/>
                  </a:lnTo>
                  <a:lnTo>
                    <a:pt x="761" y="461"/>
                  </a:lnTo>
                  <a:lnTo>
                    <a:pt x="584" y="614"/>
                  </a:lnTo>
                  <a:lnTo>
                    <a:pt x="583" y="615"/>
                  </a:lnTo>
                  <a:lnTo>
                    <a:pt x="581" y="615"/>
                  </a:lnTo>
                  <a:lnTo>
                    <a:pt x="579" y="616"/>
                  </a:lnTo>
                  <a:lnTo>
                    <a:pt x="576" y="615"/>
                  </a:lnTo>
                  <a:lnTo>
                    <a:pt x="573" y="614"/>
                  </a:lnTo>
                  <a:lnTo>
                    <a:pt x="396" y="461"/>
                  </a:lnTo>
                  <a:lnTo>
                    <a:pt x="393" y="459"/>
                  </a:lnTo>
                  <a:lnTo>
                    <a:pt x="391" y="460"/>
                  </a:lnTo>
                  <a:lnTo>
                    <a:pt x="390" y="460"/>
                  </a:lnTo>
                  <a:lnTo>
                    <a:pt x="388" y="461"/>
                  </a:lnTo>
                  <a:lnTo>
                    <a:pt x="387" y="462"/>
                  </a:lnTo>
                  <a:lnTo>
                    <a:pt x="386" y="464"/>
                  </a:lnTo>
                  <a:lnTo>
                    <a:pt x="386" y="466"/>
                  </a:lnTo>
                  <a:lnTo>
                    <a:pt x="386" y="601"/>
                  </a:lnTo>
                  <a:lnTo>
                    <a:pt x="386" y="603"/>
                  </a:lnTo>
                  <a:lnTo>
                    <a:pt x="384" y="605"/>
                  </a:lnTo>
                  <a:lnTo>
                    <a:pt x="383" y="606"/>
                  </a:lnTo>
                  <a:lnTo>
                    <a:pt x="381" y="607"/>
                  </a:lnTo>
                  <a:lnTo>
                    <a:pt x="379" y="607"/>
                  </a:lnTo>
                  <a:lnTo>
                    <a:pt x="377" y="606"/>
                  </a:lnTo>
                  <a:lnTo>
                    <a:pt x="375" y="605"/>
                  </a:lnTo>
                  <a:lnTo>
                    <a:pt x="374" y="603"/>
                  </a:lnTo>
                  <a:lnTo>
                    <a:pt x="340" y="511"/>
                  </a:lnTo>
                  <a:lnTo>
                    <a:pt x="292" y="378"/>
                  </a:lnTo>
                  <a:lnTo>
                    <a:pt x="242" y="240"/>
                  </a:lnTo>
                  <a:lnTo>
                    <a:pt x="205" y="132"/>
                  </a:lnTo>
                  <a:lnTo>
                    <a:pt x="203" y="130"/>
                  </a:lnTo>
                  <a:lnTo>
                    <a:pt x="202" y="128"/>
                  </a:lnTo>
                  <a:lnTo>
                    <a:pt x="200" y="128"/>
                  </a:lnTo>
                  <a:lnTo>
                    <a:pt x="197" y="128"/>
                  </a:lnTo>
                  <a:lnTo>
                    <a:pt x="195" y="128"/>
                  </a:lnTo>
                  <a:lnTo>
                    <a:pt x="194" y="130"/>
                  </a:lnTo>
                  <a:lnTo>
                    <a:pt x="192" y="132"/>
                  </a:lnTo>
                  <a:lnTo>
                    <a:pt x="192" y="134"/>
                  </a:lnTo>
                  <a:lnTo>
                    <a:pt x="192" y="604"/>
                  </a:lnTo>
                  <a:lnTo>
                    <a:pt x="191" y="606"/>
                  </a:lnTo>
                  <a:lnTo>
                    <a:pt x="190" y="608"/>
                  </a:lnTo>
                  <a:lnTo>
                    <a:pt x="188" y="609"/>
                  </a:lnTo>
                  <a:lnTo>
                    <a:pt x="186" y="610"/>
                  </a:lnTo>
                  <a:lnTo>
                    <a:pt x="184" y="610"/>
                  </a:lnTo>
                  <a:lnTo>
                    <a:pt x="182" y="609"/>
                  </a:lnTo>
                  <a:lnTo>
                    <a:pt x="181" y="609"/>
                  </a:lnTo>
                  <a:lnTo>
                    <a:pt x="180" y="608"/>
                  </a:lnTo>
                  <a:lnTo>
                    <a:pt x="179" y="605"/>
                  </a:lnTo>
                  <a:lnTo>
                    <a:pt x="13" y="5"/>
                  </a:lnTo>
                  <a:lnTo>
                    <a:pt x="12" y="3"/>
                  </a:lnTo>
                  <a:lnTo>
                    <a:pt x="11" y="2"/>
                  </a:lnTo>
                  <a:lnTo>
                    <a:pt x="10" y="1"/>
                  </a:lnTo>
                  <a:lnTo>
                    <a:pt x="8" y="1"/>
                  </a:lnTo>
                  <a:lnTo>
                    <a:pt x="6" y="0"/>
                  </a:lnTo>
                  <a:lnTo>
                    <a:pt x="4" y="1"/>
                  </a:lnTo>
                  <a:lnTo>
                    <a:pt x="2" y="3"/>
                  </a:lnTo>
                  <a:lnTo>
                    <a:pt x="1" y="4"/>
                  </a:lnTo>
                  <a:lnTo>
                    <a:pt x="0" y="7"/>
                  </a:lnTo>
                  <a:lnTo>
                    <a:pt x="0" y="546"/>
                  </a:lnTo>
                  <a:lnTo>
                    <a:pt x="0" y="549"/>
                  </a:lnTo>
                  <a:lnTo>
                    <a:pt x="1" y="552"/>
                  </a:lnTo>
                  <a:lnTo>
                    <a:pt x="3" y="554"/>
                  </a:lnTo>
                  <a:lnTo>
                    <a:pt x="5" y="555"/>
                  </a:lnTo>
                  <a:lnTo>
                    <a:pt x="147" y="644"/>
                  </a:lnTo>
                  <a:lnTo>
                    <a:pt x="150" y="645"/>
                  </a:lnTo>
                  <a:lnTo>
                    <a:pt x="153" y="646"/>
                  </a:lnTo>
                  <a:lnTo>
                    <a:pt x="389" y="646"/>
                  </a:lnTo>
                  <a:lnTo>
                    <a:pt x="392" y="646"/>
                  </a:lnTo>
                  <a:lnTo>
                    <a:pt x="395" y="647"/>
                  </a:lnTo>
                  <a:lnTo>
                    <a:pt x="397" y="649"/>
                  </a:lnTo>
                  <a:lnTo>
                    <a:pt x="398" y="651"/>
                  </a:lnTo>
                  <a:lnTo>
                    <a:pt x="399" y="652"/>
                  </a:lnTo>
                  <a:lnTo>
                    <a:pt x="500" y="909"/>
                  </a:lnTo>
                  <a:lnTo>
                    <a:pt x="501" y="912"/>
                  </a:lnTo>
                  <a:lnTo>
                    <a:pt x="501" y="914"/>
                  </a:lnTo>
                  <a:lnTo>
                    <a:pt x="501" y="917"/>
                  </a:lnTo>
                  <a:lnTo>
                    <a:pt x="500" y="920"/>
                  </a:lnTo>
                  <a:lnTo>
                    <a:pt x="448" y="1028"/>
                  </a:lnTo>
                  <a:lnTo>
                    <a:pt x="447" y="1030"/>
                  </a:lnTo>
                  <a:lnTo>
                    <a:pt x="447" y="1032"/>
                  </a:lnTo>
                  <a:lnTo>
                    <a:pt x="447" y="1036"/>
                  </a:lnTo>
                  <a:lnTo>
                    <a:pt x="519" y="1218"/>
                  </a:lnTo>
                  <a:lnTo>
                    <a:pt x="520" y="1221"/>
                  </a:lnTo>
                  <a:lnTo>
                    <a:pt x="523" y="1223"/>
                  </a:lnTo>
                  <a:lnTo>
                    <a:pt x="526" y="1224"/>
                  </a:lnTo>
                  <a:lnTo>
                    <a:pt x="529" y="1225"/>
                  </a:lnTo>
                  <a:lnTo>
                    <a:pt x="579" y="1225"/>
                  </a:lnTo>
                  <a:lnTo>
                    <a:pt x="629" y="1225"/>
                  </a:lnTo>
                  <a:lnTo>
                    <a:pt x="632" y="1224"/>
                  </a:lnTo>
                  <a:lnTo>
                    <a:pt x="635" y="1223"/>
                  </a:lnTo>
                  <a:lnTo>
                    <a:pt x="637" y="1221"/>
                  </a:lnTo>
                  <a:lnTo>
                    <a:pt x="638" y="1219"/>
                  </a:lnTo>
                  <a:lnTo>
                    <a:pt x="638" y="1218"/>
                  </a:lnTo>
                  <a:lnTo>
                    <a:pt x="710" y="1036"/>
                  </a:lnTo>
                  <a:lnTo>
                    <a:pt x="711" y="1034"/>
                  </a:lnTo>
                  <a:lnTo>
                    <a:pt x="711" y="1032"/>
                  </a:lnTo>
                  <a:lnTo>
                    <a:pt x="710" y="1030"/>
                  </a:lnTo>
                  <a:lnTo>
                    <a:pt x="710" y="1028"/>
                  </a:lnTo>
                  <a:lnTo>
                    <a:pt x="657" y="920"/>
                  </a:lnTo>
                  <a:lnTo>
                    <a:pt x="657" y="917"/>
                  </a:lnTo>
                  <a:lnTo>
                    <a:pt x="656" y="914"/>
                  </a:lnTo>
                  <a:lnTo>
                    <a:pt x="657" y="909"/>
                  </a:lnTo>
                  <a:lnTo>
                    <a:pt x="758" y="652"/>
                  </a:lnTo>
                  <a:lnTo>
                    <a:pt x="760" y="650"/>
                  </a:lnTo>
                  <a:lnTo>
                    <a:pt x="762" y="647"/>
                  </a:lnTo>
                  <a:lnTo>
                    <a:pt x="765" y="646"/>
                  </a:lnTo>
                  <a:lnTo>
                    <a:pt x="768" y="646"/>
                  </a:lnTo>
                  <a:lnTo>
                    <a:pt x="1006" y="646"/>
                  </a:lnTo>
                  <a:lnTo>
                    <a:pt x="1009" y="645"/>
                  </a:lnTo>
                  <a:lnTo>
                    <a:pt x="1011" y="644"/>
                  </a:lnTo>
                  <a:lnTo>
                    <a:pt x="1153" y="555"/>
                  </a:lnTo>
                  <a:lnTo>
                    <a:pt x="1155" y="554"/>
                  </a:lnTo>
                  <a:lnTo>
                    <a:pt x="1156" y="553"/>
                  </a:lnTo>
                  <a:lnTo>
                    <a:pt x="1157" y="552"/>
                  </a:lnTo>
                  <a:lnTo>
                    <a:pt x="1158" y="549"/>
                  </a:lnTo>
                  <a:lnTo>
                    <a:pt x="1158" y="546"/>
                  </a:lnTo>
                  <a:lnTo>
                    <a:pt x="1158" y="7"/>
                  </a:lnTo>
                  <a:lnTo>
                    <a:pt x="1158" y="4"/>
                  </a:lnTo>
                  <a:lnTo>
                    <a:pt x="1156" y="3"/>
                  </a:lnTo>
                  <a:lnTo>
                    <a:pt x="1154" y="1"/>
                  </a:lnTo>
                  <a:lnTo>
                    <a:pt x="1152" y="0"/>
                  </a:lnTo>
                  <a:lnTo>
                    <a:pt x="1150" y="1"/>
                  </a:lnTo>
                  <a:lnTo>
                    <a:pt x="1148" y="1"/>
                  </a:lnTo>
                  <a:lnTo>
                    <a:pt x="1146" y="3"/>
                  </a:lnTo>
                  <a:lnTo>
                    <a:pt x="1145" y="4"/>
                  </a:lnTo>
                  <a:lnTo>
                    <a:pt x="1145" y="5"/>
                  </a:lnTo>
                  <a:close/>
                </a:path>
              </a:pathLst>
            </a:custGeom>
            <a:solidFill>
              <a:srgbClr val="62A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7" name="Freeform 7"/>
            <p:cNvSpPr>
              <a:spLocks noEditPoints="1"/>
            </p:cNvSpPr>
            <p:nvPr/>
          </p:nvSpPr>
          <p:spPr bwMode="auto">
            <a:xfrm>
              <a:off x="5386388" y="3476625"/>
              <a:ext cx="3533775" cy="933450"/>
            </a:xfrm>
            <a:custGeom>
              <a:avLst/>
              <a:gdLst>
                <a:gd name="T0" fmla="*/ 1976 w 2226"/>
                <a:gd name="T1" fmla="*/ 407 h 588"/>
                <a:gd name="T2" fmla="*/ 1967 w 2226"/>
                <a:gd name="T3" fmla="*/ 463 h 588"/>
                <a:gd name="T4" fmla="*/ 2059 w 2226"/>
                <a:gd name="T5" fmla="*/ 452 h 588"/>
                <a:gd name="T6" fmla="*/ 2077 w 2226"/>
                <a:gd name="T7" fmla="*/ 579 h 588"/>
                <a:gd name="T8" fmla="*/ 2048 w 2226"/>
                <a:gd name="T9" fmla="*/ 537 h 588"/>
                <a:gd name="T10" fmla="*/ 1914 w 2226"/>
                <a:gd name="T11" fmla="*/ 585 h 588"/>
                <a:gd name="T12" fmla="*/ 1811 w 2226"/>
                <a:gd name="T13" fmla="*/ 508 h 588"/>
                <a:gd name="T14" fmla="*/ 1836 w 2226"/>
                <a:gd name="T15" fmla="*/ 383 h 588"/>
                <a:gd name="T16" fmla="*/ 2013 w 2226"/>
                <a:gd name="T17" fmla="*/ 311 h 588"/>
                <a:gd name="T18" fmla="*/ 2045 w 2226"/>
                <a:gd name="T19" fmla="*/ 271 h 588"/>
                <a:gd name="T20" fmla="*/ 1907 w 2226"/>
                <a:gd name="T21" fmla="*/ 300 h 588"/>
                <a:gd name="T22" fmla="*/ 1866 w 2226"/>
                <a:gd name="T23" fmla="*/ 195 h 588"/>
                <a:gd name="T24" fmla="*/ 2086 w 2226"/>
                <a:gd name="T25" fmla="*/ 154 h 588"/>
                <a:gd name="T26" fmla="*/ 2190 w 2226"/>
                <a:gd name="T27" fmla="*/ 214 h 588"/>
                <a:gd name="T28" fmla="*/ 2217 w 2226"/>
                <a:gd name="T29" fmla="*/ 512 h 588"/>
                <a:gd name="T30" fmla="*/ 1994 w 2226"/>
                <a:gd name="T31" fmla="*/ 3 h 588"/>
                <a:gd name="T32" fmla="*/ 1869 w 2226"/>
                <a:gd name="T33" fmla="*/ 7 h 588"/>
                <a:gd name="T34" fmla="*/ 2172 w 2226"/>
                <a:gd name="T35" fmla="*/ 123 h 588"/>
                <a:gd name="T36" fmla="*/ 1190 w 2226"/>
                <a:gd name="T37" fmla="*/ 576 h 588"/>
                <a:gd name="T38" fmla="*/ 1121 w 2226"/>
                <a:gd name="T39" fmla="*/ 502 h 588"/>
                <a:gd name="T40" fmla="*/ 1059 w 2226"/>
                <a:gd name="T41" fmla="*/ 264 h 588"/>
                <a:gd name="T42" fmla="*/ 1170 w 2226"/>
                <a:gd name="T43" fmla="*/ 25 h 588"/>
                <a:gd name="T44" fmla="*/ 1274 w 2226"/>
                <a:gd name="T45" fmla="*/ 156 h 588"/>
                <a:gd name="T46" fmla="*/ 1374 w 2226"/>
                <a:gd name="T47" fmla="*/ 271 h 588"/>
                <a:gd name="T48" fmla="*/ 1291 w 2226"/>
                <a:gd name="T49" fmla="*/ 469 h 588"/>
                <a:gd name="T50" fmla="*/ 1370 w 2226"/>
                <a:gd name="T51" fmla="*/ 564 h 588"/>
                <a:gd name="T52" fmla="*/ 1 w 2226"/>
                <a:gd name="T53" fmla="*/ 3 h 588"/>
                <a:gd name="T54" fmla="*/ 312 w 2226"/>
                <a:gd name="T55" fmla="*/ 389 h 588"/>
                <a:gd name="T56" fmla="*/ 615 w 2226"/>
                <a:gd name="T57" fmla="*/ 572 h 588"/>
                <a:gd name="T58" fmla="*/ 463 w 2226"/>
                <a:gd name="T59" fmla="*/ 222 h 588"/>
                <a:gd name="T60" fmla="*/ 365 w 2226"/>
                <a:gd name="T61" fmla="*/ 579 h 588"/>
                <a:gd name="T62" fmla="*/ 146 w 2226"/>
                <a:gd name="T63" fmla="*/ 223 h 588"/>
                <a:gd name="T64" fmla="*/ 1 w 2226"/>
                <a:gd name="T65" fmla="*/ 576 h 588"/>
                <a:gd name="T66" fmla="*/ 795 w 2226"/>
                <a:gd name="T67" fmla="*/ 421 h 588"/>
                <a:gd name="T68" fmla="*/ 861 w 2226"/>
                <a:gd name="T69" fmla="*/ 482 h 588"/>
                <a:gd name="T70" fmla="*/ 999 w 2226"/>
                <a:gd name="T71" fmla="*/ 448 h 588"/>
                <a:gd name="T72" fmla="*/ 974 w 2226"/>
                <a:gd name="T73" fmla="*/ 574 h 588"/>
                <a:gd name="T74" fmla="*/ 772 w 2226"/>
                <a:gd name="T75" fmla="*/ 575 h 588"/>
                <a:gd name="T76" fmla="*/ 659 w 2226"/>
                <a:gd name="T77" fmla="*/ 476 h 588"/>
                <a:gd name="T78" fmla="*/ 649 w 2226"/>
                <a:gd name="T79" fmla="*/ 300 h 588"/>
                <a:gd name="T80" fmla="*/ 753 w 2226"/>
                <a:gd name="T81" fmla="*/ 177 h 588"/>
                <a:gd name="T82" fmla="*/ 901 w 2226"/>
                <a:gd name="T83" fmla="*/ 155 h 588"/>
                <a:gd name="T84" fmla="*/ 1027 w 2226"/>
                <a:gd name="T85" fmla="*/ 233 h 588"/>
                <a:gd name="T86" fmla="*/ 921 w 2226"/>
                <a:gd name="T87" fmla="*/ 325 h 588"/>
                <a:gd name="T88" fmla="*/ 895 w 2226"/>
                <a:gd name="T89" fmla="*/ 267 h 588"/>
                <a:gd name="T90" fmla="*/ 818 w 2226"/>
                <a:gd name="T91" fmla="*/ 277 h 588"/>
                <a:gd name="T92" fmla="*/ 1595 w 2226"/>
                <a:gd name="T93" fmla="*/ 588 h 588"/>
                <a:gd name="T94" fmla="*/ 1393 w 2226"/>
                <a:gd name="T95" fmla="*/ 532 h 588"/>
                <a:gd name="T96" fmla="*/ 1483 w 2226"/>
                <a:gd name="T97" fmla="*/ 465 h 588"/>
                <a:gd name="T98" fmla="*/ 1638 w 2226"/>
                <a:gd name="T99" fmla="*/ 480 h 588"/>
                <a:gd name="T100" fmla="*/ 1609 w 2226"/>
                <a:gd name="T101" fmla="*/ 434 h 588"/>
                <a:gd name="T102" fmla="*/ 1433 w 2226"/>
                <a:gd name="T103" fmla="*/ 371 h 588"/>
                <a:gd name="T104" fmla="*/ 1410 w 2226"/>
                <a:gd name="T105" fmla="*/ 261 h 588"/>
                <a:gd name="T106" fmla="*/ 1497 w 2226"/>
                <a:gd name="T107" fmla="*/ 166 h 588"/>
                <a:gd name="T108" fmla="*/ 1713 w 2226"/>
                <a:gd name="T109" fmla="*/ 174 h 588"/>
                <a:gd name="T110" fmla="*/ 1716 w 2226"/>
                <a:gd name="T111" fmla="*/ 292 h 588"/>
                <a:gd name="T112" fmla="*/ 1568 w 2226"/>
                <a:gd name="T113" fmla="*/ 256 h 588"/>
                <a:gd name="T114" fmla="*/ 1563 w 2226"/>
                <a:gd name="T115" fmla="*/ 299 h 588"/>
                <a:gd name="T116" fmla="*/ 1752 w 2226"/>
                <a:gd name="T117" fmla="*/ 356 h 588"/>
                <a:gd name="T118" fmla="*/ 1787 w 2226"/>
                <a:gd name="T119" fmla="*/ 458 h 588"/>
                <a:gd name="T120" fmla="*/ 1721 w 2226"/>
                <a:gd name="T121" fmla="*/ 55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26" h="588">
                  <a:moveTo>
                    <a:pt x="2065" y="439"/>
                  </a:moveTo>
                  <a:lnTo>
                    <a:pt x="2065" y="391"/>
                  </a:lnTo>
                  <a:lnTo>
                    <a:pt x="2064" y="389"/>
                  </a:lnTo>
                  <a:lnTo>
                    <a:pt x="2063" y="388"/>
                  </a:lnTo>
                  <a:lnTo>
                    <a:pt x="2061" y="387"/>
                  </a:lnTo>
                  <a:lnTo>
                    <a:pt x="2060" y="387"/>
                  </a:lnTo>
                  <a:lnTo>
                    <a:pt x="2047" y="388"/>
                  </a:lnTo>
                  <a:lnTo>
                    <a:pt x="2035" y="389"/>
                  </a:lnTo>
                  <a:lnTo>
                    <a:pt x="2024" y="390"/>
                  </a:lnTo>
                  <a:lnTo>
                    <a:pt x="2014" y="392"/>
                  </a:lnTo>
                  <a:lnTo>
                    <a:pt x="2004" y="395"/>
                  </a:lnTo>
                  <a:lnTo>
                    <a:pt x="1996" y="397"/>
                  </a:lnTo>
                  <a:lnTo>
                    <a:pt x="1988" y="400"/>
                  </a:lnTo>
                  <a:lnTo>
                    <a:pt x="1981" y="403"/>
                  </a:lnTo>
                  <a:lnTo>
                    <a:pt x="1976" y="407"/>
                  </a:lnTo>
                  <a:lnTo>
                    <a:pt x="1971" y="411"/>
                  </a:lnTo>
                  <a:lnTo>
                    <a:pt x="1966" y="415"/>
                  </a:lnTo>
                  <a:lnTo>
                    <a:pt x="1963" y="420"/>
                  </a:lnTo>
                  <a:lnTo>
                    <a:pt x="1960" y="425"/>
                  </a:lnTo>
                  <a:lnTo>
                    <a:pt x="1958" y="430"/>
                  </a:lnTo>
                  <a:lnTo>
                    <a:pt x="1957" y="435"/>
                  </a:lnTo>
                  <a:lnTo>
                    <a:pt x="1957" y="441"/>
                  </a:lnTo>
                  <a:lnTo>
                    <a:pt x="1957" y="445"/>
                  </a:lnTo>
                  <a:lnTo>
                    <a:pt x="1958" y="448"/>
                  </a:lnTo>
                  <a:lnTo>
                    <a:pt x="1958" y="451"/>
                  </a:lnTo>
                  <a:lnTo>
                    <a:pt x="1959" y="454"/>
                  </a:lnTo>
                  <a:lnTo>
                    <a:pt x="1961" y="457"/>
                  </a:lnTo>
                  <a:lnTo>
                    <a:pt x="1963" y="459"/>
                  </a:lnTo>
                  <a:lnTo>
                    <a:pt x="1965" y="461"/>
                  </a:lnTo>
                  <a:lnTo>
                    <a:pt x="1967" y="463"/>
                  </a:lnTo>
                  <a:lnTo>
                    <a:pt x="1972" y="467"/>
                  </a:lnTo>
                  <a:lnTo>
                    <a:pt x="1975" y="468"/>
                  </a:lnTo>
                  <a:lnTo>
                    <a:pt x="1978" y="469"/>
                  </a:lnTo>
                  <a:lnTo>
                    <a:pt x="1984" y="470"/>
                  </a:lnTo>
                  <a:lnTo>
                    <a:pt x="1991" y="471"/>
                  </a:lnTo>
                  <a:lnTo>
                    <a:pt x="2005" y="470"/>
                  </a:lnTo>
                  <a:lnTo>
                    <a:pt x="2011" y="470"/>
                  </a:lnTo>
                  <a:lnTo>
                    <a:pt x="2017" y="469"/>
                  </a:lnTo>
                  <a:lnTo>
                    <a:pt x="2023" y="468"/>
                  </a:lnTo>
                  <a:lnTo>
                    <a:pt x="2028" y="467"/>
                  </a:lnTo>
                  <a:lnTo>
                    <a:pt x="2037" y="464"/>
                  </a:lnTo>
                  <a:lnTo>
                    <a:pt x="2045" y="461"/>
                  </a:lnTo>
                  <a:lnTo>
                    <a:pt x="2051" y="458"/>
                  </a:lnTo>
                  <a:lnTo>
                    <a:pt x="2056" y="454"/>
                  </a:lnTo>
                  <a:lnTo>
                    <a:pt x="2059" y="452"/>
                  </a:lnTo>
                  <a:lnTo>
                    <a:pt x="2061" y="450"/>
                  </a:lnTo>
                  <a:lnTo>
                    <a:pt x="2063" y="447"/>
                  </a:lnTo>
                  <a:lnTo>
                    <a:pt x="2064" y="443"/>
                  </a:lnTo>
                  <a:lnTo>
                    <a:pt x="2065" y="440"/>
                  </a:lnTo>
                  <a:lnTo>
                    <a:pt x="2065" y="439"/>
                  </a:lnTo>
                  <a:close/>
                  <a:moveTo>
                    <a:pt x="2225" y="572"/>
                  </a:moveTo>
                  <a:lnTo>
                    <a:pt x="2226" y="575"/>
                  </a:lnTo>
                  <a:lnTo>
                    <a:pt x="2225" y="577"/>
                  </a:lnTo>
                  <a:lnTo>
                    <a:pt x="2225" y="578"/>
                  </a:lnTo>
                  <a:lnTo>
                    <a:pt x="2224" y="579"/>
                  </a:lnTo>
                  <a:lnTo>
                    <a:pt x="2221" y="579"/>
                  </a:lnTo>
                  <a:lnTo>
                    <a:pt x="2220" y="579"/>
                  </a:lnTo>
                  <a:lnTo>
                    <a:pt x="2081" y="579"/>
                  </a:lnTo>
                  <a:lnTo>
                    <a:pt x="2079" y="579"/>
                  </a:lnTo>
                  <a:lnTo>
                    <a:pt x="2077" y="579"/>
                  </a:lnTo>
                  <a:lnTo>
                    <a:pt x="2074" y="577"/>
                  </a:lnTo>
                  <a:lnTo>
                    <a:pt x="2073" y="574"/>
                  </a:lnTo>
                  <a:lnTo>
                    <a:pt x="2072" y="572"/>
                  </a:lnTo>
                  <a:lnTo>
                    <a:pt x="2069" y="560"/>
                  </a:lnTo>
                  <a:lnTo>
                    <a:pt x="2067" y="548"/>
                  </a:lnTo>
                  <a:lnTo>
                    <a:pt x="2065" y="537"/>
                  </a:lnTo>
                  <a:lnTo>
                    <a:pt x="2065" y="526"/>
                  </a:lnTo>
                  <a:lnTo>
                    <a:pt x="2064" y="524"/>
                  </a:lnTo>
                  <a:lnTo>
                    <a:pt x="2064" y="522"/>
                  </a:lnTo>
                  <a:lnTo>
                    <a:pt x="2063" y="522"/>
                  </a:lnTo>
                  <a:lnTo>
                    <a:pt x="2062" y="522"/>
                  </a:lnTo>
                  <a:lnTo>
                    <a:pt x="2061" y="523"/>
                  </a:lnTo>
                  <a:lnTo>
                    <a:pt x="2060" y="524"/>
                  </a:lnTo>
                  <a:lnTo>
                    <a:pt x="2054" y="531"/>
                  </a:lnTo>
                  <a:lnTo>
                    <a:pt x="2048" y="537"/>
                  </a:lnTo>
                  <a:lnTo>
                    <a:pt x="2042" y="544"/>
                  </a:lnTo>
                  <a:lnTo>
                    <a:pt x="2035" y="549"/>
                  </a:lnTo>
                  <a:lnTo>
                    <a:pt x="2028" y="555"/>
                  </a:lnTo>
                  <a:lnTo>
                    <a:pt x="2021" y="560"/>
                  </a:lnTo>
                  <a:lnTo>
                    <a:pt x="2013" y="564"/>
                  </a:lnTo>
                  <a:lnTo>
                    <a:pt x="2005" y="569"/>
                  </a:lnTo>
                  <a:lnTo>
                    <a:pt x="1996" y="573"/>
                  </a:lnTo>
                  <a:lnTo>
                    <a:pt x="1987" y="576"/>
                  </a:lnTo>
                  <a:lnTo>
                    <a:pt x="1978" y="579"/>
                  </a:lnTo>
                  <a:lnTo>
                    <a:pt x="1968" y="581"/>
                  </a:lnTo>
                  <a:lnTo>
                    <a:pt x="1958" y="583"/>
                  </a:lnTo>
                  <a:lnTo>
                    <a:pt x="1948" y="584"/>
                  </a:lnTo>
                  <a:lnTo>
                    <a:pt x="1937" y="585"/>
                  </a:lnTo>
                  <a:lnTo>
                    <a:pt x="1925" y="586"/>
                  </a:lnTo>
                  <a:lnTo>
                    <a:pt x="1914" y="585"/>
                  </a:lnTo>
                  <a:lnTo>
                    <a:pt x="1903" y="584"/>
                  </a:lnTo>
                  <a:lnTo>
                    <a:pt x="1892" y="582"/>
                  </a:lnTo>
                  <a:lnTo>
                    <a:pt x="1881" y="579"/>
                  </a:lnTo>
                  <a:lnTo>
                    <a:pt x="1871" y="574"/>
                  </a:lnTo>
                  <a:lnTo>
                    <a:pt x="1861" y="570"/>
                  </a:lnTo>
                  <a:lnTo>
                    <a:pt x="1856" y="567"/>
                  </a:lnTo>
                  <a:lnTo>
                    <a:pt x="1851" y="564"/>
                  </a:lnTo>
                  <a:lnTo>
                    <a:pt x="1843" y="557"/>
                  </a:lnTo>
                  <a:lnTo>
                    <a:pt x="1835" y="549"/>
                  </a:lnTo>
                  <a:lnTo>
                    <a:pt x="1827" y="540"/>
                  </a:lnTo>
                  <a:lnTo>
                    <a:pt x="1824" y="536"/>
                  </a:lnTo>
                  <a:lnTo>
                    <a:pt x="1821" y="531"/>
                  </a:lnTo>
                  <a:lnTo>
                    <a:pt x="1816" y="520"/>
                  </a:lnTo>
                  <a:lnTo>
                    <a:pt x="1813" y="514"/>
                  </a:lnTo>
                  <a:lnTo>
                    <a:pt x="1811" y="508"/>
                  </a:lnTo>
                  <a:lnTo>
                    <a:pt x="1808" y="495"/>
                  </a:lnTo>
                  <a:lnTo>
                    <a:pt x="1806" y="481"/>
                  </a:lnTo>
                  <a:lnTo>
                    <a:pt x="1806" y="474"/>
                  </a:lnTo>
                  <a:lnTo>
                    <a:pt x="1805" y="466"/>
                  </a:lnTo>
                  <a:lnTo>
                    <a:pt x="1806" y="458"/>
                  </a:lnTo>
                  <a:lnTo>
                    <a:pt x="1806" y="449"/>
                  </a:lnTo>
                  <a:lnTo>
                    <a:pt x="1808" y="441"/>
                  </a:lnTo>
                  <a:lnTo>
                    <a:pt x="1809" y="433"/>
                  </a:lnTo>
                  <a:lnTo>
                    <a:pt x="1812" y="425"/>
                  </a:lnTo>
                  <a:lnTo>
                    <a:pt x="1814" y="418"/>
                  </a:lnTo>
                  <a:lnTo>
                    <a:pt x="1818" y="410"/>
                  </a:lnTo>
                  <a:lnTo>
                    <a:pt x="1822" y="403"/>
                  </a:lnTo>
                  <a:lnTo>
                    <a:pt x="1826" y="396"/>
                  </a:lnTo>
                  <a:lnTo>
                    <a:pt x="1831" y="390"/>
                  </a:lnTo>
                  <a:lnTo>
                    <a:pt x="1836" y="383"/>
                  </a:lnTo>
                  <a:lnTo>
                    <a:pt x="1842" y="377"/>
                  </a:lnTo>
                  <a:lnTo>
                    <a:pt x="1848" y="371"/>
                  </a:lnTo>
                  <a:lnTo>
                    <a:pt x="1855" y="365"/>
                  </a:lnTo>
                  <a:lnTo>
                    <a:pt x="1862" y="360"/>
                  </a:lnTo>
                  <a:lnTo>
                    <a:pt x="1869" y="355"/>
                  </a:lnTo>
                  <a:lnTo>
                    <a:pt x="1886" y="345"/>
                  </a:lnTo>
                  <a:lnTo>
                    <a:pt x="1895" y="341"/>
                  </a:lnTo>
                  <a:lnTo>
                    <a:pt x="1905" y="337"/>
                  </a:lnTo>
                  <a:lnTo>
                    <a:pt x="1915" y="333"/>
                  </a:lnTo>
                  <a:lnTo>
                    <a:pt x="1926" y="329"/>
                  </a:lnTo>
                  <a:lnTo>
                    <a:pt x="1948" y="323"/>
                  </a:lnTo>
                  <a:lnTo>
                    <a:pt x="1960" y="320"/>
                  </a:lnTo>
                  <a:lnTo>
                    <a:pt x="1973" y="317"/>
                  </a:lnTo>
                  <a:lnTo>
                    <a:pt x="1999" y="313"/>
                  </a:lnTo>
                  <a:lnTo>
                    <a:pt x="2013" y="311"/>
                  </a:lnTo>
                  <a:lnTo>
                    <a:pt x="2027" y="310"/>
                  </a:lnTo>
                  <a:lnTo>
                    <a:pt x="2057" y="308"/>
                  </a:lnTo>
                  <a:lnTo>
                    <a:pt x="2061" y="307"/>
                  </a:lnTo>
                  <a:lnTo>
                    <a:pt x="2064" y="306"/>
                  </a:lnTo>
                  <a:lnTo>
                    <a:pt x="2065" y="305"/>
                  </a:lnTo>
                  <a:lnTo>
                    <a:pt x="2065" y="302"/>
                  </a:lnTo>
                  <a:lnTo>
                    <a:pt x="2064" y="295"/>
                  </a:lnTo>
                  <a:lnTo>
                    <a:pt x="2063" y="291"/>
                  </a:lnTo>
                  <a:lnTo>
                    <a:pt x="2063" y="288"/>
                  </a:lnTo>
                  <a:lnTo>
                    <a:pt x="2061" y="285"/>
                  </a:lnTo>
                  <a:lnTo>
                    <a:pt x="2060" y="282"/>
                  </a:lnTo>
                  <a:lnTo>
                    <a:pt x="2055" y="277"/>
                  </a:lnTo>
                  <a:lnTo>
                    <a:pt x="2052" y="275"/>
                  </a:lnTo>
                  <a:lnTo>
                    <a:pt x="2049" y="273"/>
                  </a:lnTo>
                  <a:lnTo>
                    <a:pt x="2045" y="271"/>
                  </a:lnTo>
                  <a:lnTo>
                    <a:pt x="2041" y="269"/>
                  </a:lnTo>
                  <a:lnTo>
                    <a:pt x="2031" y="267"/>
                  </a:lnTo>
                  <a:lnTo>
                    <a:pt x="2025" y="267"/>
                  </a:lnTo>
                  <a:lnTo>
                    <a:pt x="2018" y="267"/>
                  </a:lnTo>
                  <a:lnTo>
                    <a:pt x="2009" y="267"/>
                  </a:lnTo>
                  <a:lnTo>
                    <a:pt x="2000" y="268"/>
                  </a:lnTo>
                  <a:lnTo>
                    <a:pt x="1992" y="269"/>
                  </a:lnTo>
                  <a:lnTo>
                    <a:pt x="1983" y="270"/>
                  </a:lnTo>
                  <a:lnTo>
                    <a:pt x="1974" y="272"/>
                  </a:lnTo>
                  <a:lnTo>
                    <a:pt x="1966" y="274"/>
                  </a:lnTo>
                  <a:lnTo>
                    <a:pt x="1958" y="277"/>
                  </a:lnTo>
                  <a:lnTo>
                    <a:pt x="1950" y="280"/>
                  </a:lnTo>
                  <a:lnTo>
                    <a:pt x="1934" y="286"/>
                  </a:lnTo>
                  <a:lnTo>
                    <a:pt x="1920" y="293"/>
                  </a:lnTo>
                  <a:lnTo>
                    <a:pt x="1907" y="300"/>
                  </a:lnTo>
                  <a:lnTo>
                    <a:pt x="1895" y="308"/>
                  </a:lnTo>
                  <a:lnTo>
                    <a:pt x="1893" y="309"/>
                  </a:lnTo>
                  <a:lnTo>
                    <a:pt x="1891" y="309"/>
                  </a:lnTo>
                  <a:lnTo>
                    <a:pt x="1889" y="309"/>
                  </a:lnTo>
                  <a:lnTo>
                    <a:pt x="1888" y="309"/>
                  </a:lnTo>
                  <a:lnTo>
                    <a:pt x="1886" y="307"/>
                  </a:lnTo>
                  <a:lnTo>
                    <a:pt x="1885" y="306"/>
                  </a:lnTo>
                  <a:lnTo>
                    <a:pt x="1830" y="230"/>
                  </a:lnTo>
                  <a:lnTo>
                    <a:pt x="1828" y="227"/>
                  </a:lnTo>
                  <a:lnTo>
                    <a:pt x="1828" y="225"/>
                  </a:lnTo>
                  <a:lnTo>
                    <a:pt x="1829" y="224"/>
                  </a:lnTo>
                  <a:lnTo>
                    <a:pt x="1830" y="221"/>
                  </a:lnTo>
                  <a:lnTo>
                    <a:pt x="1831" y="220"/>
                  </a:lnTo>
                  <a:lnTo>
                    <a:pt x="1847" y="207"/>
                  </a:lnTo>
                  <a:lnTo>
                    <a:pt x="1866" y="195"/>
                  </a:lnTo>
                  <a:lnTo>
                    <a:pt x="1876" y="189"/>
                  </a:lnTo>
                  <a:lnTo>
                    <a:pt x="1887" y="184"/>
                  </a:lnTo>
                  <a:lnTo>
                    <a:pt x="1899" y="178"/>
                  </a:lnTo>
                  <a:lnTo>
                    <a:pt x="1912" y="173"/>
                  </a:lnTo>
                  <a:lnTo>
                    <a:pt x="1925" y="169"/>
                  </a:lnTo>
                  <a:lnTo>
                    <a:pt x="1939" y="165"/>
                  </a:lnTo>
                  <a:lnTo>
                    <a:pt x="1954" y="161"/>
                  </a:lnTo>
                  <a:lnTo>
                    <a:pt x="1970" y="158"/>
                  </a:lnTo>
                  <a:lnTo>
                    <a:pt x="1987" y="155"/>
                  </a:lnTo>
                  <a:lnTo>
                    <a:pt x="2005" y="153"/>
                  </a:lnTo>
                  <a:lnTo>
                    <a:pt x="2023" y="152"/>
                  </a:lnTo>
                  <a:lnTo>
                    <a:pt x="2043" y="152"/>
                  </a:lnTo>
                  <a:lnTo>
                    <a:pt x="2054" y="152"/>
                  </a:lnTo>
                  <a:lnTo>
                    <a:pt x="2065" y="152"/>
                  </a:lnTo>
                  <a:lnTo>
                    <a:pt x="2086" y="154"/>
                  </a:lnTo>
                  <a:lnTo>
                    <a:pt x="2096" y="156"/>
                  </a:lnTo>
                  <a:lnTo>
                    <a:pt x="2105" y="158"/>
                  </a:lnTo>
                  <a:lnTo>
                    <a:pt x="2114" y="160"/>
                  </a:lnTo>
                  <a:lnTo>
                    <a:pt x="2122" y="163"/>
                  </a:lnTo>
                  <a:lnTo>
                    <a:pt x="2130" y="166"/>
                  </a:lnTo>
                  <a:lnTo>
                    <a:pt x="2138" y="169"/>
                  </a:lnTo>
                  <a:lnTo>
                    <a:pt x="2145" y="172"/>
                  </a:lnTo>
                  <a:lnTo>
                    <a:pt x="2152" y="176"/>
                  </a:lnTo>
                  <a:lnTo>
                    <a:pt x="2159" y="181"/>
                  </a:lnTo>
                  <a:lnTo>
                    <a:pt x="2165" y="185"/>
                  </a:lnTo>
                  <a:lnTo>
                    <a:pt x="2170" y="190"/>
                  </a:lnTo>
                  <a:lnTo>
                    <a:pt x="2176" y="196"/>
                  </a:lnTo>
                  <a:lnTo>
                    <a:pt x="2181" y="201"/>
                  </a:lnTo>
                  <a:lnTo>
                    <a:pt x="2186" y="207"/>
                  </a:lnTo>
                  <a:lnTo>
                    <a:pt x="2190" y="214"/>
                  </a:lnTo>
                  <a:lnTo>
                    <a:pt x="2194" y="220"/>
                  </a:lnTo>
                  <a:lnTo>
                    <a:pt x="2197" y="227"/>
                  </a:lnTo>
                  <a:lnTo>
                    <a:pt x="2201" y="235"/>
                  </a:lnTo>
                  <a:lnTo>
                    <a:pt x="2204" y="242"/>
                  </a:lnTo>
                  <a:lnTo>
                    <a:pt x="2206" y="251"/>
                  </a:lnTo>
                  <a:lnTo>
                    <a:pt x="2209" y="259"/>
                  </a:lnTo>
                  <a:lnTo>
                    <a:pt x="2211" y="268"/>
                  </a:lnTo>
                  <a:lnTo>
                    <a:pt x="2212" y="277"/>
                  </a:lnTo>
                  <a:lnTo>
                    <a:pt x="2214" y="287"/>
                  </a:lnTo>
                  <a:lnTo>
                    <a:pt x="2215" y="296"/>
                  </a:lnTo>
                  <a:lnTo>
                    <a:pt x="2215" y="307"/>
                  </a:lnTo>
                  <a:lnTo>
                    <a:pt x="2216" y="317"/>
                  </a:lnTo>
                  <a:lnTo>
                    <a:pt x="2216" y="328"/>
                  </a:lnTo>
                  <a:lnTo>
                    <a:pt x="2216" y="478"/>
                  </a:lnTo>
                  <a:lnTo>
                    <a:pt x="2217" y="512"/>
                  </a:lnTo>
                  <a:lnTo>
                    <a:pt x="2218" y="539"/>
                  </a:lnTo>
                  <a:lnTo>
                    <a:pt x="2220" y="549"/>
                  </a:lnTo>
                  <a:lnTo>
                    <a:pt x="2221" y="559"/>
                  </a:lnTo>
                  <a:lnTo>
                    <a:pt x="2223" y="566"/>
                  </a:lnTo>
                  <a:lnTo>
                    <a:pt x="2225" y="572"/>
                  </a:lnTo>
                  <a:close/>
                  <a:moveTo>
                    <a:pt x="1869" y="7"/>
                  </a:moveTo>
                  <a:lnTo>
                    <a:pt x="1869" y="5"/>
                  </a:lnTo>
                  <a:lnTo>
                    <a:pt x="1870" y="3"/>
                  </a:lnTo>
                  <a:lnTo>
                    <a:pt x="1873" y="0"/>
                  </a:lnTo>
                  <a:lnTo>
                    <a:pt x="1875" y="0"/>
                  </a:lnTo>
                  <a:lnTo>
                    <a:pt x="1877" y="0"/>
                  </a:lnTo>
                  <a:lnTo>
                    <a:pt x="1987" y="0"/>
                  </a:lnTo>
                  <a:lnTo>
                    <a:pt x="1989" y="0"/>
                  </a:lnTo>
                  <a:lnTo>
                    <a:pt x="1991" y="1"/>
                  </a:lnTo>
                  <a:lnTo>
                    <a:pt x="1994" y="3"/>
                  </a:lnTo>
                  <a:lnTo>
                    <a:pt x="1994" y="6"/>
                  </a:lnTo>
                  <a:lnTo>
                    <a:pt x="1995" y="7"/>
                  </a:lnTo>
                  <a:lnTo>
                    <a:pt x="1995" y="121"/>
                  </a:lnTo>
                  <a:lnTo>
                    <a:pt x="1994" y="123"/>
                  </a:lnTo>
                  <a:lnTo>
                    <a:pt x="1993" y="125"/>
                  </a:lnTo>
                  <a:lnTo>
                    <a:pt x="1991" y="128"/>
                  </a:lnTo>
                  <a:lnTo>
                    <a:pt x="1988" y="128"/>
                  </a:lnTo>
                  <a:lnTo>
                    <a:pt x="1987" y="129"/>
                  </a:lnTo>
                  <a:lnTo>
                    <a:pt x="1877" y="129"/>
                  </a:lnTo>
                  <a:lnTo>
                    <a:pt x="1874" y="128"/>
                  </a:lnTo>
                  <a:lnTo>
                    <a:pt x="1872" y="127"/>
                  </a:lnTo>
                  <a:lnTo>
                    <a:pt x="1870" y="125"/>
                  </a:lnTo>
                  <a:lnTo>
                    <a:pt x="1869" y="122"/>
                  </a:lnTo>
                  <a:lnTo>
                    <a:pt x="1869" y="121"/>
                  </a:lnTo>
                  <a:lnTo>
                    <a:pt x="1869" y="7"/>
                  </a:lnTo>
                  <a:close/>
                  <a:moveTo>
                    <a:pt x="2047" y="121"/>
                  </a:moveTo>
                  <a:lnTo>
                    <a:pt x="2047" y="7"/>
                  </a:lnTo>
                  <a:lnTo>
                    <a:pt x="2047" y="5"/>
                  </a:lnTo>
                  <a:lnTo>
                    <a:pt x="2048" y="3"/>
                  </a:lnTo>
                  <a:lnTo>
                    <a:pt x="2051" y="0"/>
                  </a:lnTo>
                  <a:lnTo>
                    <a:pt x="2053" y="0"/>
                  </a:lnTo>
                  <a:lnTo>
                    <a:pt x="2054" y="0"/>
                  </a:lnTo>
                  <a:lnTo>
                    <a:pt x="2165" y="0"/>
                  </a:lnTo>
                  <a:lnTo>
                    <a:pt x="2167" y="0"/>
                  </a:lnTo>
                  <a:lnTo>
                    <a:pt x="2169" y="1"/>
                  </a:lnTo>
                  <a:lnTo>
                    <a:pt x="2171" y="3"/>
                  </a:lnTo>
                  <a:lnTo>
                    <a:pt x="2172" y="6"/>
                  </a:lnTo>
                  <a:lnTo>
                    <a:pt x="2172" y="7"/>
                  </a:lnTo>
                  <a:lnTo>
                    <a:pt x="2172" y="121"/>
                  </a:lnTo>
                  <a:lnTo>
                    <a:pt x="2172" y="123"/>
                  </a:lnTo>
                  <a:lnTo>
                    <a:pt x="2171" y="125"/>
                  </a:lnTo>
                  <a:lnTo>
                    <a:pt x="2169" y="127"/>
                  </a:lnTo>
                  <a:lnTo>
                    <a:pt x="2166" y="128"/>
                  </a:lnTo>
                  <a:lnTo>
                    <a:pt x="2165" y="128"/>
                  </a:lnTo>
                  <a:lnTo>
                    <a:pt x="2054" y="128"/>
                  </a:lnTo>
                  <a:lnTo>
                    <a:pt x="2052" y="128"/>
                  </a:lnTo>
                  <a:lnTo>
                    <a:pt x="2050" y="127"/>
                  </a:lnTo>
                  <a:lnTo>
                    <a:pt x="2048" y="125"/>
                  </a:lnTo>
                  <a:lnTo>
                    <a:pt x="2047" y="122"/>
                  </a:lnTo>
                  <a:lnTo>
                    <a:pt x="2047" y="121"/>
                  </a:lnTo>
                  <a:close/>
                  <a:moveTo>
                    <a:pt x="1274" y="585"/>
                  </a:moveTo>
                  <a:lnTo>
                    <a:pt x="1249" y="584"/>
                  </a:lnTo>
                  <a:lnTo>
                    <a:pt x="1226" y="583"/>
                  </a:lnTo>
                  <a:lnTo>
                    <a:pt x="1207" y="580"/>
                  </a:lnTo>
                  <a:lnTo>
                    <a:pt x="1190" y="576"/>
                  </a:lnTo>
                  <a:lnTo>
                    <a:pt x="1175" y="571"/>
                  </a:lnTo>
                  <a:lnTo>
                    <a:pt x="1168" y="568"/>
                  </a:lnTo>
                  <a:lnTo>
                    <a:pt x="1162" y="565"/>
                  </a:lnTo>
                  <a:lnTo>
                    <a:pt x="1156" y="561"/>
                  </a:lnTo>
                  <a:lnTo>
                    <a:pt x="1151" y="558"/>
                  </a:lnTo>
                  <a:lnTo>
                    <a:pt x="1149" y="556"/>
                  </a:lnTo>
                  <a:lnTo>
                    <a:pt x="1147" y="554"/>
                  </a:lnTo>
                  <a:lnTo>
                    <a:pt x="1143" y="550"/>
                  </a:lnTo>
                  <a:lnTo>
                    <a:pt x="1139" y="545"/>
                  </a:lnTo>
                  <a:lnTo>
                    <a:pt x="1135" y="541"/>
                  </a:lnTo>
                  <a:lnTo>
                    <a:pt x="1130" y="531"/>
                  </a:lnTo>
                  <a:lnTo>
                    <a:pt x="1127" y="525"/>
                  </a:lnTo>
                  <a:lnTo>
                    <a:pt x="1125" y="520"/>
                  </a:lnTo>
                  <a:lnTo>
                    <a:pt x="1122" y="508"/>
                  </a:lnTo>
                  <a:lnTo>
                    <a:pt x="1121" y="502"/>
                  </a:lnTo>
                  <a:lnTo>
                    <a:pt x="1120" y="496"/>
                  </a:lnTo>
                  <a:lnTo>
                    <a:pt x="1119" y="482"/>
                  </a:lnTo>
                  <a:lnTo>
                    <a:pt x="1118" y="468"/>
                  </a:lnTo>
                  <a:lnTo>
                    <a:pt x="1118" y="453"/>
                  </a:lnTo>
                  <a:lnTo>
                    <a:pt x="1118" y="278"/>
                  </a:lnTo>
                  <a:lnTo>
                    <a:pt x="1117" y="276"/>
                  </a:lnTo>
                  <a:lnTo>
                    <a:pt x="1117" y="274"/>
                  </a:lnTo>
                  <a:lnTo>
                    <a:pt x="1114" y="272"/>
                  </a:lnTo>
                  <a:lnTo>
                    <a:pt x="1111" y="271"/>
                  </a:lnTo>
                  <a:lnTo>
                    <a:pt x="1110" y="271"/>
                  </a:lnTo>
                  <a:lnTo>
                    <a:pt x="1067" y="271"/>
                  </a:lnTo>
                  <a:lnTo>
                    <a:pt x="1064" y="270"/>
                  </a:lnTo>
                  <a:lnTo>
                    <a:pt x="1062" y="269"/>
                  </a:lnTo>
                  <a:lnTo>
                    <a:pt x="1060" y="267"/>
                  </a:lnTo>
                  <a:lnTo>
                    <a:pt x="1059" y="264"/>
                  </a:lnTo>
                  <a:lnTo>
                    <a:pt x="1059" y="263"/>
                  </a:lnTo>
                  <a:lnTo>
                    <a:pt x="1059" y="167"/>
                  </a:lnTo>
                  <a:lnTo>
                    <a:pt x="1059" y="164"/>
                  </a:lnTo>
                  <a:lnTo>
                    <a:pt x="1060" y="162"/>
                  </a:lnTo>
                  <a:lnTo>
                    <a:pt x="1063" y="160"/>
                  </a:lnTo>
                  <a:lnTo>
                    <a:pt x="1065" y="159"/>
                  </a:lnTo>
                  <a:lnTo>
                    <a:pt x="1067" y="159"/>
                  </a:lnTo>
                  <a:lnTo>
                    <a:pt x="1110" y="159"/>
                  </a:lnTo>
                  <a:lnTo>
                    <a:pt x="1113" y="159"/>
                  </a:lnTo>
                  <a:lnTo>
                    <a:pt x="1115" y="158"/>
                  </a:lnTo>
                  <a:lnTo>
                    <a:pt x="1117" y="157"/>
                  </a:lnTo>
                  <a:lnTo>
                    <a:pt x="1118" y="156"/>
                  </a:lnTo>
                  <a:lnTo>
                    <a:pt x="1120" y="153"/>
                  </a:lnTo>
                  <a:lnTo>
                    <a:pt x="1121" y="152"/>
                  </a:lnTo>
                  <a:lnTo>
                    <a:pt x="1170" y="25"/>
                  </a:lnTo>
                  <a:lnTo>
                    <a:pt x="1171" y="23"/>
                  </a:lnTo>
                  <a:lnTo>
                    <a:pt x="1173" y="21"/>
                  </a:lnTo>
                  <a:lnTo>
                    <a:pt x="1175" y="20"/>
                  </a:lnTo>
                  <a:lnTo>
                    <a:pt x="1176" y="19"/>
                  </a:lnTo>
                  <a:lnTo>
                    <a:pt x="1179" y="18"/>
                  </a:lnTo>
                  <a:lnTo>
                    <a:pt x="1180" y="18"/>
                  </a:lnTo>
                  <a:lnTo>
                    <a:pt x="1265" y="18"/>
                  </a:lnTo>
                  <a:lnTo>
                    <a:pt x="1268" y="19"/>
                  </a:lnTo>
                  <a:lnTo>
                    <a:pt x="1270" y="19"/>
                  </a:lnTo>
                  <a:lnTo>
                    <a:pt x="1272" y="22"/>
                  </a:lnTo>
                  <a:lnTo>
                    <a:pt x="1273" y="25"/>
                  </a:lnTo>
                  <a:lnTo>
                    <a:pt x="1273" y="26"/>
                  </a:lnTo>
                  <a:lnTo>
                    <a:pt x="1273" y="152"/>
                  </a:lnTo>
                  <a:lnTo>
                    <a:pt x="1273" y="154"/>
                  </a:lnTo>
                  <a:lnTo>
                    <a:pt x="1274" y="156"/>
                  </a:lnTo>
                  <a:lnTo>
                    <a:pt x="1277" y="158"/>
                  </a:lnTo>
                  <a:lnTo>
                    <a:pt x="1279" y="159"/>
                  </a:lnTo>
                  <a:lnTo>
                    <a:pt x="1281" y="159"/>
                  </a:lnTo>
                  <a:lnTo>
                    <a:pt x="1374" y="159"/>
                  </a:lnTo>
                  <a:lnTo>
                    <a:pt x="1376" y="160"/>
                  </a:lnTo>
                  <a:lnTo>
                    <a:pt x="1378" y="161"/>
                  </a:lnTo>
                  <a:lnTo>
                    <a:pt x="1381" y="163"/>
                  </a:lnTo>
                  <a:lnTo>
                    <a:pt x="1381" y="166"/>
                  </a:lnTo>
                  <a:lnTo>
                    <a:pt x="1381" y="167"/>
                  </a:lnTo>
                  <a:lnTo>
                    <a:pt x="1381" y="263"/>
                  </a:lnTo>
                  <a:lnTo>
                    <a:pt x="1381" y="266"/>
                  </a:lnTo>
                  <a:lnTo>
                    <a:pt x="1380" y="268"/>
                  </a:lnTo>
                  <a:lnTo>
                    <a:pt x="1378" y="270"/>
                  </a:lnTo>
                  <a:lnTo>
                    <a:pt x="1375" y="271"/>
                  </a:lnTo>
                  <a:lnTo>
                    <a:pt x="1374" y="271"/>
                  </a:lnTo>
                  <a:lnTo>
                    <a:pt x="1281" y="271"/>
                  </a:lnTo>
                  <a:lnTo>
                    <a:pt x="1278" y="271"/>
                  </a:lnTo>
                  <a:lnTo>
                    <a:pt x="1276" y="272"/>
                  </a:lnTo>
                  <a:lnTo>
                    <a:pt x="1274" y="275"/>
                  </a:lnTo>
                  <a:lnTo>
                    <a:pt x="1273" y="277"/>
                  </a:lnTo>
                  <a:lnTo>
                    <a:pt x="1273" y="278"/>
                  </a:lnTo>
                  <a:lnTo>
                    <a:pt x="1273" y="419"/>
                  </a:lnTo>
                  <a:lnTo>
                    <a:pt x="1274" y="434"/>
                  </a:lnTo>
                  <a:lnTo>
                    <a:pt x="1275" y="446"/>
                  </a:lnTo>
                  <a:lnTo>
                    <a:pt x="1277" y="452"/>
                  </a:lnTo>
                  <a:lnTo>
                    <a:pt x="1279" y="456"/>
                  </a:lnTo>
                  <a:lnTo>
                    <a:pt x="1281" y="460"/>
                  </a:lnTo>
                  <a:lnTo>
                    <a:pt x="1284" y="463"/>
                  </a:lnTo>
                  <a:lnTo>
                    <a:pt x="1287" y="466"/>
                  </a:lnTo>
                  <a:lnTo>
                    <a:pt x="1291" y="469"/>
                  </a:lnTo>
                  <a:lnTo>
                    <a:pt x="1296" y="471"/>
                  </a:lnTo>
                  <a:lnTo>
                    <a:pt x="1301" y="472"/>
                  </a:lnTo>
                  <a:lnTo>
                    <a:pt x="1307" y="473"/>
                  </a:lnTo>
                  <a:lnTo>
                    <a:pt x="1313" y="474"/>
                  </a:lnTo>
                  <a:lnTo>
                    <a:pt x="1320" y="474"/>
                  </a:lnTo>
                  <a:lnTo>
                    <a:pt x="1328" y="475"/>
                  </a:lnTo>
                  <a:lnTo>
                    <a:pt x="1340" y="474"/>
                  </a:lnTo>
                  <a:lnTo>
                    <a:pt x="1351" y="473"/>
                  </a:lnTo>
                  <a:lnTo>
                    <a:pt x="1361" y="472"/>
                  </a:lnTo>
                  <a:lnTo>
                    <a:pt x="1366" y="471"/>
                  </a:lnTo>
                  <a:lnTo>
                    <a:pt x="1367" y="471"/>
                  </a:lnTo>
                  <a:lnTo>
                    <a:pt x="1368" y="471"/>
                  </a:lnTo>
                  <a:lnTo>
                    <a:pt x="1369" y="474"/>
                  </a:lnTo>
                  <a:lnTo>
                    <a:pt x="1370" y="477"/>
                  </a:lnTo>
                  <a:lnTo>
                    <a:pt x="1370" y="564"/>
                  </a:lnTo>
                  <a:lnTo>
                    <a:pt x="1369" y="569"/>
                  </a:lnTo>
                  <a:lnTo>
                    <a:pt x="1369" y="572"/>
                  </a:lnTo>
                  <a:lnTo>
                    <a:pt x="1368" y="575"/>
                  </a:lnTo>
                  <a:lnTo>
                    <a:pt x="1366" y="577"/>
                  </a:lnTo>
                  <a:lnTo>
                    <a:pt x="1364" y="578"/>
                  </a:lnTo>
                  <a:lnTo>
                    <a:pt x="1362" y="579"/>
                  </a:lnTo>
                  <a:lnTo>
                    <a:pt x="1358" y="580"/>
                  </a:lnTo>
                  <a:lnTo>
                    <a:pt x="1340" y="582"/>
                  </a:lnTo>
                  <a:lnTo>
                    <a:pt x="1317" y="583"/>
                  </a:lnTo>
                  <a:lnTo>
                    <a:pt x="1294" y="584"/>
                  </a:lnTo>
                  <a:lnTo>
                    <a:pt x="1274" y="585"/>
                  </a:lnTo>
                  <a:close/>
                  <a:moveTo>
                    <a:pt x="0" y="572"/>
                  </a:moveTo>
                  <a:lnTo>
                    <a:pt x="0" y="7"/>
                  </a:lnTo>
                  <a:lnTo>
                    <a:pt x="0" y="5"/>
                  </a:lnTo>
                  <a:lnTo>
                    <a:pt x="1" y="3"/>
                  </a:lnTo>
                  <a:lnTo>
                    <a:pt x="4" y="1"/>
                  </a:lnTo>
                  <a:lnTo>
                    <a:pt x="6" y="0"/>
                  </a:lnTo>
                  <a:lnTo>
                    <a:pt x="7" y="0"/>
                  </a:lnTo>
                  <a:lnTo>
                    <a:pt x="200" y="0"/>
                  </a:lnTo>
                  <a:lnTo>
                    <a:pt x="202" y="0"/>
                  </a:lnTo>
                  <a:lnTo>
                    <a:pt x="204" y="1"/>
                  </a:lnTo>
                  <a:lnTo>
                    <a:pt x="206" y="2"/>
                  </a:lnTo>
                  <a:lnTo>
                    <a:pt x="207" y="3"/>
                  </a:lnTo>
                  <a:lnTo>
                    <a:pt x="209" y="6"/>
                  </a:lnTo>
                  <a:lnTo>
                    <a:pt x="209" y="7"/>
                  </a:lnTo>
                  <a:lnTo>
                    <a:pt x="307" y="386"/>
                  </a:lnTo>
                  <a:lnTo>
                    <a:pt x="307" y="387"/>
                  </a:lnTo>
                  <a:lnTo>
                    <a:pt x="308" y="388"/>
                  </a:lnTo>
                  <a:lnTo>
                    <a:pt x="310" y="389"/>
                  </a:lnTo>
                  <a:lnTo>
                    <a:pt x="312" y="389"/>
                  </a:lnTo>
                  <a:lnTo>
                    <a:pt x="313" y="387"/>
                  </a:lnTo>
                  <a:lnTo>
                    <a:pt x="313" y="386"/>
                  </a:lnTo>
                  <a:lnTo>
                    <a:pt x="401" y="7"/>
                  </a:lnTo>
                  <a:lnTo>
                    <a:pt x="402" y="5"/>
                  </a:lnTo>
                  <a:lnTo>
                    <a:pt x="403" y="3"/>
                  </a:lnTo>
                  <a:lnTo>
                    <a:pt x="406" y="1"/>
                  </a:lnTo>
                  <a:lnTo>
                    <a:pt x="409" y="0"/>
                  </a:lnTo>
                  <a:lnTo>
                    <a:pt x="410" y="0"/>
                  </a:lnTo>
                  <a:lnTo>
                    <a:pt x="607" y="0"/>
                  </a:lnTo>
                  <a:lnTo>
                    <a:pt x="610" y="0"/>
                  </a:lnTo>
                  <a:lnTo>
                    <a:pt x="611" y="1"/>
                  </a:lnTo>
                  <a:lnTo>
                    <a:pt x="614" y="4"/>
                  </a:lnTo>
                  <a:lnTo>
                    <a:pt x="615" y="6"/>
                  </a:lnTo>
                  <a:lnTo>
                    <a:pt x="615" y="7"/>
                  </a:lnTo>
                  <a:lnTo>
                    <a:pt x="615" y="572"/>
                  </a:lnTo>
                  <a:lnTo>
                    <a:pt x="614" y="575"/>
                  </a:lnTo>
                  <a:lnTo>
                    <a:pt x="613" y="576"/>
                  </a:lnTo>
                  <a:lnTo>
                    <a:pt x="611" y="579"/>
                  </a:lnTo>
                  <a:lnTo>
                    <a:pt x="608" y="579"/>
                  </a:lnTo>
                  <a:lnTo>
                    <a:pt x="607" y="580"/>
                  </a:lnTo>
                  <a:lnTo>
                    <a:pt x="473" y="580"/>
                  </a:lnTo>
                  <a:lnTo>
                    <a:pt x="470" y="579"/>
                  </a:lnTo>
                  <a:lnTo>
                    <a:pt x="468" y="578"/>
                  </a:lnTo>
                  <a:lnTo>
                    <a:pt x="466" y="576"/>
                  </a:lnTo>
                  <a:lnTo>
                    <a:pt x="465" y="573"/>
                  </a:lnTo>
                  <a:lnTo>
                    <a:pt x="465" y="572"/>
                  </a:lnTo>
                  <a:lnTo>
                    <a:pt x="465" y="226"/>
                  </a:lnTo>
                  <a:lnTo>
                    <a:pt x="465" y="224"/>
                  </a:lnTo>
                  <a:lnTo>
                    <a:pt x="464" y="223"/>
                  </a:lnTo>
                  <a:lnTo>
                    <a:pt x="463" y="222"/>
                  </a:lnTo>
                  <a:lnTo>
                    <a:pt x="462" y="222"/>
                  </a:lnTo>
                  <a:lnTo>
                    <a:pt x="461" y="222"/>
                  </a:lnTo>
                  <a:lnTo>
                    <a:pt x="460" y="223"/>
                  </a:lnTo>
                  <a:lnTo>
                    <a:pt x="458" y="226"/>
                  </a:lnTo>
                  <a:lnTo>
                    <a:pt x="452" y="264"/>
                  </a:lnTo>
                  <a:lnTo>
                    <a:pt x="446" y="298"/>
                  </a:lnTo>
                  <a:lnTo>
                    <a:pt x="443" y="314"/>
                  </a:lnTo>
                  <a:lnTo>
                    <a:pt x="440" y="330"/>
                  </a:lnTo>
                  <a:lnTo>
                    <a:pt x="436" y="346"/>
                  </a:lnTo>
                  <a:lnTo>
                    <a:pt x="432" y="362"/>
                  </a:lnTo>
                  <a:lnTo>
                    <a:pt x="373" y="572"/>
                  </a:lnTo>
                  <a:lnTo>
                    <a:pt x="372" y="575"/>
                  </a:lnTo>
                  <a:lnTo>
                    <a:pt x="371" y="577"/>
                  </a:lnTo>
                  <a:lnTo>
                    <a:pt x="368" y="579"/>
                  </a:lnTo>
                  <a:lnTo>
                    <a:pt x="365" y="579"/>
                  </a:lnTo>
                  <a:lnTo>
                    <a:pt x="364" y="580"/>
                  </a:lnTo>
                  <a:lnTo>
                    <a:pt x="241" y="580"/>
                  </a:lnTo>
                  <a:lnTo>
                    <a:pt x="238" y="579"/>
                  </a:lnTo>
                  <a:lnTo>
                    <a:pt x="236" y="578"/>
                  </a:lnTo>
                  <a:lnTo>
                    <a:pt x="234" y="577"/>
                  </a:lnTo>
                  <a:lnTo>
                    <a:pt x="233" y="576"/>
                  </a:lnTo>
                  <a:lnTo>
                    <a:pt x="232" y="573"/>
                  </a:lnTo>
                  <a:lnTo>
                    <a:pt x="231" y="572"/>
                  </a:lnTo>
                  <a:lnTo>
                    <a:pt x="174" y="362"/>
                  </a:lnTo>
                  <a:lnTo>
                    <a:pt x="169" y="345"/>
                  </a:lnTo>
                  <a:lnTo>
                    <a:pt x="165" y="330"/>
                  </a:lnTo>
                  <a:lnTo>
                    <a:pt x="159" y="301"/>
                  </a:lnTo>
                  <a:lnTo>
                    <a:pt x="153" y="268"/>
                  </a:lnTo>
                  <a:lnTo>
                    <a:pt x="146" y="224"/>
                  </a:lnTo>
                  <a:lnTo>
                    <a:pt x="146" y="223"/>
                  </a:lnTo>
                  <a:lnTo>
                    <a:pt x="145" y="222"/>
                  </a:lnTo>
                  <a:lnTo>
                    <a:pt x="142" y="221"/>
                  </a:lnTo>
                  <a:lnTo>
                    <a:pt x="140" y="222"/>
                  </a:lnTo>
                  <a:lnTo>
                    <a:pt x="140" y="223"/>
                  </a:lnTo>
                  <a:lnTo>
                    <a:pt x="139" y="224"/>
                  </a:lnTo>
                  <a:lnTo>
                    <a:pt x="139" y="572"/>
                  </a:lnTo>
                  <a:lnTo>
                    <a:pt x="139" y="575"/>
                  </a:lnTo>
                  <a:lnTo>
                    <a:pt x="138" y="576"/>
                  </a:lnTo>
                  <a:lnTo>
                    <a:pt x="136" y="579"/>
                  </a:lnTo>
                  <a:lnTo>
                    <a:pt x="133" y="579"/>
                  </a:lnTo>
                  <a:lnTo>
                    <a:pt x="132" y="580"/>
                  </a:lnTo>
                  <a:lnTo>
                    <a:pt x="8" y="580"/>
                  </a:lnTo>
                  <a:lnTo>
                    <a:pt x="5" y="579"/>
                  </a:lnTo>
                  <a:lnTo>
                    <a:pt x="3" y="578"/>
                  </a:lnTo>
                  <a:lnTo>
                    <a:pt x="1" y="576"/>
                  </a:lnTo>
                  <a:lnTo>
                    <a:pt x="0" y="573"/>
                  </a:lnTo>
                  <a:lnTo>
                    <a:pt x="0" y="572"/>
                  </a:lnTo>
                  <a:close/>
                  <a:moveTo>
                    <a:pt x="1063" y="408"/>
                  </a:moveTo>
                  <a:lnTo>
                    <a:pt x="1062" y="410"/>
                  </a:lnTo>
                  <a:lnTo>
                    <a:pt x="1062" y="412"/>
                  </a:lnTo>
                  <a:lnTo>
                    <a:pt x="1061" y="413"/>
                  </a:lnTo>
                  <a:lnTo>
                    <a:pt x="1060" y="414"/>
                  </a:lnTo>
                  <a:lnTo>
                    <a:pt x="1058" y="414"/>
                  </a:lnTo>
                  <a:lnTo>
                    <a:pt x="1057" y="414"/>
                  </a:lnTo>
                  <a:lnTo>
                    <a:pt x="801" y="414"/>
                  </a:lnTo>
                  <a:lnTo>
                    <a:pt x="799" y="415"/>
                  </a:lnTo>
                  <a:lnTo>
                    <a:pt x="797" y="415"/>
                  </a:lnTo>
                  <a:lnTo>
                    <a:pt x="796" y="417"/>
                  </a:lnTo>
                  <a:lnTo>
                    <a:pt x="795" y="418"/>
                  </a:lnTo>
                  <a:lnTo>
                    <a:pt x="795" y="421"/>
                  </a:lnTo>
                  <a:lnTo>
                    <a:pt x="795" y="422"/>
                  </a:lnTo>
                  <a:lnTo>
                    <a:pt x="796" y="430"/>
                  </a:lnTo>
                  <a:lnTo>
                    <a:pt x="799" y="438"/>
                  </a:lnTo>
                  <a:lnTo>
                    <a:pt x="801" y="445"/>
                  </a:lnTo>
                  <a:lnTo>
                    <a:pt x="804" y="451"/>
                  </a:lnTo>
                  <a:lnTo>
                    <a:pt x="808" y="457"/>
                  </a:lnTo>
                  <a:lnTo>
                    <a:pt x="812" y="462"/>
                  </a:lnTo>
                  <a:lnTo>
                    <a:pt x="817" y="466"/>
                  </a:lnTo>
                  <a:lnTo>
                    <a:pt x="822" y="470"/>
                  </a:lnTo>
                  <a:lnTo>
                    <a:pt x="827" y="473"/>
                  </a:lnTo>
                  <a:lnTo>
                    <a:pt x="833" y="476"/>
                  </a:lnTo>
                  <a:lnTo>
                    <a:pt x="840" y="478"/>
                  </a:lnTo>
                  <a:lnTo>
                    <a:pt x="846" y="480"/>
                  </a:lnTo>
                  <a:lnTo>
                    <a:pt x="854" y="481"/>
                  </a:lnTo>
                  <a:lnTo>
                    <a:pt x="861" y="482"/>
                  </a:lnTo>
                  <a:lnTo>
                    <a:pt x="878" y="482"/>
                  </a:lnTo>
                  <a:lnTo>
                    <a:pt x="886" y="482"/>
                  </a:lnTo>
                  <a:lnTo>
                    <a:pt x="894" y="481"/>
                  </a:lnTo>
                  <a:lnTo>
                    <a:pt x="903" y="480"/>
                  </a:lnTo>
                  <a:lnTo>
                    <a:pt x="911" y="479"/>
                  </a:lnTo>
                  <a:lnTo>
                    <a:pt x="928" y="475"/>
                  </a:lnTo>
                  <a:lnTo>
                    <a:pt x="943" y="470"/>
                  </a:lnTo>
                  <a:lnTo>
                    <a:pt x="958" y="464"/>
                  </a:lnTo>
                  <a:lnTo>
                    <a:pt x="971" y="459"/>
                  </a:lnTo>
                  <a:lnTo>
                    <a:pt x="983" y="453"/>
                  </a:lnTo>
                  <a:lnTo>
                    <a:pt x="992" y="448"/>
                  </a:lnTo>
                  <a:lnTo>
                    <a:pt x="994" y="447"/>
                  </a:lnTo>
                  <a:lnTo>
                    <a:pt x="996" y="447"/>
                  </a:lnTo>
                  <a:lnTo>
                    <a:pt x="998" y="447"/>
                  </a:lnTo>
                  <a:lnTo>
                    <a:pt x="999" y="448"/>
                  </a:lnTo>
                  <a:lnTo>
                    <a:pt x="1002" y="450"/>
                  </a:lnTo>
                  <a:lnTo>
                    <a:pt x="1050" y="531"/>
                  </a:lnTo>
                  <a:lnTo>
                    <a:pt x="1052" y="535"/>
                  </a:lnTo>
                  <a:lnTo>
                    <a:pt x="1052" y="537"/>
                  </a:lnTo>
                  <a:lnTo>
                    <a:pt x="1051" y="538"/>
                  </a:lnTo>
                  <a:lnTo>
                    <a:pt x="1051" y="540"/>
                  </a:lnTo>
                  <a:lnTo>
                    <a:pt x="1050" y="540"/>
                  </a:lnTo>
                  <a:lnTo>
                    <a:pt x="1048" y="542"/>
                  </a:lnTo>
                  <a:lnTo>
                    <a:pt x="1038" y="547"/>
                  </a:lnTo>
                  <a:lnTo>
                    <a:pt x="1028" y="553"/>
                  </a:lnTo>
                  <a:lnTo>
                    <a:pt x="1018" y="558"/>
                  </a:lnTo>
                  <a:lnTo>
                    <a:pt x="1007" y="562"/>
                  </a:lnTo>
                  <a:lnTo>
                    <a:pt x="996" y="567"/>
                  </a:lnTo>
                  <a:lnTo>
                    <a:pt x="985" y="570"/>
                  </a:lnTo>
                  <a:lnTo>
                    <a:pt x="974" y="574"/>
                  </a:lnTo>
                  <a:lnTo>
                    <a:pt x="963" y="577"/>
                  </a:lnTo>
                  <a:lnTo>
                    <a:pt x="951" y="580"/>
                  </a:lnTo>
                  <a:lnTo>
                    <a:pt x="939" y="582"/>
                  </a:lnTo>
                  <a:lnTo>
                    <a:pt x="927" y="584"/>
                  </a:lnTo>
                  <a:lnTo>
                    <a:pt x="915" y="585"/>
                  </a:lnTo>
                  <a:lnTo>
                    <a:pt x="903" y="587"/>
                  </a:lnTo>
                  <a:lnTo>
                    <a:pt x="891" y="587"/>
                  </a:lnTo>
                  <a:lnTo>
                    <a:pt x="866" y="588"/>
                  </a:lnTo>
                  <a:lnTo>
                    <a:pt x="844" y="588"/>
                  </a:lnTo>
                  <a:lnTo>
                    <a:pt x="823" y="586"/>
                  </a:lnTo>
                  <a:lnTo>
                    <a:pt x="813" y="584"/>
                  </a:lnTo>
                  <a:lnTo>
                    <a:pt x="802" y="583"/>
                  </a:lnTo>
                  <a:lnTo>
                    <a:pt x="792" y="580"/>
                  </a:lnTo>
                  <a:lnTo>
                    <a:pt x="782" y="578"/>
                  </a:lnTo>
                  <a:lnTo>
                    <a:pt x="772" y="575"/>
                  </a:lnTo>
                  <a:lnTo>
                    <a:pt x="762" y="572"/>
                  </a:lnTo>
                  <a:lnTo>
                    <a:pt x="753" y="568"/>
                  </a:lnTo>
                  <a:lnTo>
                    <a:pt x="744" y="564"/>
                  </a:lnTo>
                  <a:lnTo>
                    <a:pt x="735" y="559"/>
                  </a:lnTo>
                  <a:lnTo>
                    <a:pt x="726" y="554"/>
                  </a:lnTo>
                  <a:lnTo>
                    <a:pt x="718" y="549"/>
                  </a:lnTo>
                  <a:lnTo>
                    <a:pt x="710" y="543"/>
                  </a:lnTo>
                  <a:lnTo>
                    <a:pt x="702" y="537"/>
                  </a:lnTo>
                  <a:lnTo>
                    <a:pt x="694" y="530"/>
                  </a:lnTo>
                  <a:lnTo>
                    <a:pt x="687" y="522"/>
                  </a:lnTo>
                  <a:lnTo>
                    <a:pt x="681" y="514"/>
                  </a:lnTo>
                  <a:lnTo>
                    <a:pt x="675" y="505"/>
                  </a:lnTo>
                  <a:lnTo>
                    <a:pt x="669" y="496"/>
                  </a:lnTo>
                  <a:lnTo>
                    <a:pt x="664" y="486"/>
                  </a:lnTo>
                  <a:lnTo>
                    <a:pt x="659" y="476"/>
                  </a:lnTo>
                  <a:lnTo>
                    <a:pt x="654" y="465"/>
                  </a:lnTo>
                  <a:lnTo>
                    <a:pt x="652" y="459"/>
                  </a:lnTo>
                  <a:lnTo>
                    <a:pt x="651" y="454"/>
                  </a:lnTo>
                  <a:lnTo>
                    <a:pt x="647" y="441"/>
                  </a:lnTo>
                  <a:lnTo>
                    <a:pt x="645" y="429"/>
                  </a:lnTo>
                  <a:lnTo>
                    <a:pt x="642" y="415"/>
                  </a:lnTo>
                  <a:lnTo>
                    <a:pt x="642" y="408"/>
                  </a:lnTo>
                  <a:lnTo>
                    <a:pt x="641" y="401"/>
                  </a:lnTo>
                  <a:lnTo>
                    <a:pt x="640" y="386"/>
                  </a:lnTo>
                  <a:lnTo>
                    <a:pt x="640" y="370"/>
                  </a:lnTo>
                  <a:lnTo>
                    <a:pt x="640" y="355"/>
                  </a:lnTo>
                  <a:lnTo>
                    <a:pt x="641" y="340"/>
                  </a:lnTo>
                  <a:lnTo>
                    <a:pt x="643" y="326"/>
                  </a:lnTo>
                  <a:lnTo>
                    <a:pt x="646" y="313"/>
                  </a:lnTo>
                  <a:lnTo>
                    <a:pt x="649" y="300"/>
                  </a:lnTo>
                  <a:lnTo>
                    <a:pt x="653" y="288"/>
                  </a:lnTo>
                  <a:lnTo>
                    <a:pt x="657" y="276"/>
                  </a:lnTo>
                  <a:lnTo>
                    <a:pt x="662" y="265"/>
                  </a:lnTo>
                  <a:lnTo>
                    <a:pt x="668" y="255"/>
                  </a:lnTo>
                  <a:lnTo>
                    <a:pt x="674" y="245"/>
                  </a:lnTo>
                  <a:lnTo>
                    <a:pt x="680" y="236"/>
                  </a:lnTo>
                  <a:lnTo>
                    <a:pt x="687" y="227"/>
                  </a:lnTo>
                  <a:lnTo>
                    <a:pt x="694" y="219"/>
                  </a:lnTo>
                  <a:lnTo>
                    <a:pt x="702" y="212"/>
                  </a:lnTo>
                  <a:lnTo>
                    <a:pt x="710" y="204"/>
                  </a:lnTo>
                  <a:lnTo>
                    <a:pt x="718" y="198"/>
                  </a:lnTo>
                  <a:lnTo>
                    <a:pt x="727" y="192"/>
                  </a:lnTo>
                  <a:lnTo>
                    <a:pt x="735" y="186"/>
                  </a:lnTo>
                  <a:lnTo>
                    <a:pt x="744" y="181"/>
                  </a:lnTo>
                  <a:lnTo>
                    <a:pt x="753" y="177"/>
                  </a:lnTo>
                  <a:lnTo>
                    <a:pt x="762" y="172"/>
                  </a:lnTo>
                  <a:lnTo>
                    <a:pt x="771" y="169"/>
                  </a:lnTo>
                  <a:lnTo>
                    <a:pt x="781" y="165"/>
                  </a:lnTo>
                  <a:lnTo>
                    <a:pt x="790" y="162"/>
                  </a:lnTo>
                  <a:lnTo>
                    <a:pt x="799" y="160"/>
                  </a:lnTo>
                  <a:lnTo>
                    <a:pt x="808" y="158"/>
                  </a:lnTo>
                  <a:lnTo>
                    <a:pt x="817" y="156"/>
                  </a:lnTo>
                  <a:lnTo>
                    <a:pt x="826" y="154"/>
                  </a:lnTo>
                  <a:lnTo>
                    <a:pt x="844" y="152"/>
                  </a:lnTo>
                  <a:lnTo>
                    <a:pt x="852" y="152"/>
                  </a:lnTo>
                  <a:lnTo>
                    <a:pt x="860" y="152"/>
                  </a:lnTo>
                  <a:lnTo>
                    <a:pt x="868" y="152"/>
                  </a:lnTo>
                  <a:lnTo>
                    <a:pt x="876" y="152"/>
                  </a:lnTo>
                  <a:lnTo>
                    <a:pt x="893" y="153"/>
                  </a:lnTo>
                  <a:lnTo>
                    <a:pt x="901" y="155"/>
                  </a:lnTo>
                  <a:lnTo>
                    <a:pt x="910" y="156"/>
                  </a:lnTo>
                  <a:lnTo>
                    <a:pt x="927" y="160"/>
                  </a:lnTo>
                  <a:lnTo>
                    <a:pt x="936" y="162"/>
                  </a:lnTo>
                  <a:lnTo>
                    <a:pt x="944" y="165"/>
                  </a:lnTo>
                  <a:lnTo>
                    <a:pt x="953" y="168"/>
                  </a:lnTo>
                  <a:lnTo>
                    <a:pt x="961" y="172"/>
                  </a:lnTo>
                  <a:lnTo>
                    <a:pt x="969" y="177"/>
                  </a:lnTo>
                  <a:lnTo>
                    <a:pt x="977" y="181"/>
                  </a:lnTo>
                  <a:lnTo>
                    <a:pt x="985" y="187"/>
                  </a:lnTo>
                  <a:lnTo>
                    <a:pt x="993" y="193"/>
                  </a:lnTo>
                  <a:lnTo>
                    <a:pt x="1000" y="199"/>
                  </a:lnTo>
                  <a:lnTo>
                    <a:pt x="1007" y="207"/>
                  </a:lnTo>
                  <a:lnTo>
                    <a:pt x="1014" y="215"/>
                  </a:lnTo>
                  <a:lnTo>
                    <a:pt x="1021" y="223"/>
                  </a:lnTo>
                  <a:lnTo>
                    <a:pt x="1027" y="233"/>
                  </a:lnTo>
                  <a:lnTo>
                    <a:pt x="1032" y="243"/>
                  </a:lnTo>
                  <a:lnTo>
                    <a:pt x="1035" y="248"/>
                  </a:lnTo>
                  <a:lnTo>
                    <a:pt x="1038" y="253"/>
                  </a:lnTo>
                  <a:lnTo>
                    <a:pt x="1043" y="265"/>
                  </a:lnTo>
                  <a:lnTo>
                    <a:pt x="1047" y="278"/>
                  </a:lnTo>
                  <a:lnTo>
                    <a:pt x="1051" y="291"/>
                  </a:lnTo>
                  <a:lnTo>
                    <a:pt x="1054" y="305"/>
                  </a:lnTo>
                  <a:lnTo>
                    <a:pt x="1057" y="320"/>
                  </a:lnTo>
                  <a:lnTo>
                    <a:pt x="1060" y="336"/>
                  </a:lnTo>
                  <a:lnTo>
                    <a:pt x="1061" y="354"/>
                  </a:lnTo>
                  <a:lnTo>
                    <a:pt x="1062" y="372"/>
                  </a:lnTo>
                  <a:lnTo>
                    <a:pt x="1063" y="391"/>
                  </a:lnTo>
                  <a:lnTo>
                    <a:pt x="1063" y="408"/>
                  </a:lnTo>
                  <a:close/>
                  <a:moveTo>
                    <a:pt x="918" y="326"/>
                  </a:moveTo>
                  <a:lnTo>
                    <a:pt x="921" y="325"/>
                  </a:lnTo>
                  <a:lnTo>
                    <a:pt x="922" y="325"/>
                  </a:lnTo>
                  <a:lnTo>
                    <a:pt x="923" y="323"/>
                  </a:lnTo>
                  <a:lnTo>
                    <a:pt x="924" y="322"/>
                  </a:lnTo>
                  <a:lnTo>
                    <a:pt x="925" y="319"/>
                  </a:lnTo>
                  <a:lnTo>
                    <a:pt x="924" y="318"/>
                  </a:lnTo>
                  <a:lnTo>
                    <a:pt x="923" y="311"/>
                  </a:lnTo>
                  <a:lnTo>
                    <a:pt x="922" y="304"/>
                  </a:lnTo>
                  <a:lnTo>
                    <a:pt x="920" y="297"/>
                  </a:lnTo>
                  <a:lnTo>
                    <a:pt x="917" y="291"/>
                  </a:lnTo>
                  <a:lnTo>
                    <a:pt x="915" y="286"/>
                  </a:lnTo>
                  <a:lnTo>
                    <a:pt x="911" y="281"/>
                  </a:lnTo>
                  <a:lnTo>
                    <a:pt x="908" y="277"/>
                  </a:lnTo>
                  <a:lnTo>
                    <a:pt x="904" y="273"/>
                  </a:lnTo>
                  <a:lnTo>
                    <a:pt x="900" y="270"/>
                  </a:lnTo>
                  <a:lnTo>
                    <a:pt x="895" y="267"/>
                  </a:lnTo>
                  <a:lnTo>
                    <a:pt x="890" y="265"/>
                  </a:lnTo>
                  <a:lnTo>
                    <a:pt x="885" y="263"/>
                  </a:lnTo>
                  <a:lnTo>
                    <a:pt x="879" y="262"/>
                  </a:lnTo>
                  <a:lnTo>
                    <a:pt x="873" y="261"/>
                  </a:lnTo>
                  <a:lnTo>
                    <a:pt x="866" y="260"/>
                  </a:lnTo>
                  <a:lnTo>
                    <a:pt x="860" y="260"/>
                  </a:lnTo>
                  <a:lnTo>
                    <a:pt x="854" y="260"/>
                  </a:lnTo>
                  <a:lnTo>
                    <a:pt x="849" y="261"/>
                  </a:lnTo>
                  <a:lnTo>
                    <a:pt x="844" y="262"/>
                  </a:lnTo>
                  <a:lnTo>
                    <a:pt x="839" y="263"/>
                  </a:lnTo>
                  <a:lnTo>
                    <a:pt x="834" y="265"/>
                  </a:lnTo>
                  <a:lnTo>
                    <a:pt x="830" y="267"/>
                  </a:lnTo>
                  <a:lnTo>
                    <a:pt x="826" y="270"/>
                  </a:lnTo>
                  <a:lnTo>
                    <a:pt x="821" y="273"/>
                  </a:lnTo>
                  <a:lnTo>
                    <a:pt x="818" y="277"/>
                  </a:lnTo>
                  <a:lnTo>
                    <a:pt x="814" y="281"/>
                  </a:lnTo>
                  <a:lnTo>
                    <a:pt x="810" y="286"/>
                  </a:lnTo>
                  <a:lnTo>
                    <a:pt x="807" y="291"/>
                  </a:lnTo>
                  <a:lnTo>
                    <a:pt x="804" y="297"/>
                  </a:lnTo>
                  <a:lnTo>
                    <a:pt x="802" y="304"/>
                  </a:lnTo>
                  <a:lnTo>
                    <a:pt x="799" y="311"/>
                  </a:lnTo>
                  <a:lnTo>
                    <a:pt x="797" y="318"/>
                  </a:lnTo>
                  <a:lnTo>
                    <a:pt x="797" y="321"/>
                  </a:lnTo>
                  <a:lnTo>
                    <a:pt x="797" y="323"/>
                  </a:lnTo>
                  <a:lnTo>
                    <a:pt x="798" y="324"/>
                  </a:lnTo>
                  <a:lnTo>
                    <a:pt x="799" y="325"/>
                  </a:lnTo>
                  <a:lnTo>
                    <a:pt x="800" y="326"/>
                  </a:lnTo>
                  <a:lnTo>
                    <a:pt x="802" y="326"/>
                  </a:lnTo>
                  <a:lnTo>
                    <a:pt x="918" y="326"/>
                  </a:lnTo>
                  <a:close/>
                  <a:moveTo>
                    <a:pt x="1595" y="588"/>
                  </a:moveTo>
                  <a:lnTo>
                    <a:pt x="1577" y="588"/>
                  </a:lnTo>
                  <a:lnTo>
                    <a:pt x="1560" y="587"/>
                  </a:lnTo>
                  <a:lnTo>
                    <a:pt x="1543" y="585"/>
                  </a:lnTo>
                  <a:lnTo>
                    <a:pt x="1528" y="584"/>
                  </a:lnTo>
                  <a:lnTo>
                    <a:pt x="1513" y="581"/>
                  </a:lnTo>
                  <a:lnTo>
                    <a:pt x="1499" y="578"/>
                  </a:lnTo>
                  <a:lnTo>
                    <a:pt x="1485" y="575"/>
                  </a:lnTo>
                  <a:lnTo>
                    <a:pt x="1472" y="571"/>
                  </a:lnTo>
                  <a:lnTo>
                    <a:pt x="1460" y="567"/>
                  </a:lnTo>
                  <a:lnTo>
                    <a:pt x="1449" y="563"/>
                  </a:lnTo>
                  <a:lnTo>
                    <a:pt x="1438" y="558"/>
                  </a:lnTo>
                  <a:lnTo>
                    <a:pt x="1427" y="553"/>
                  </a:lnTo>
                  <a:lnTo>
                    <a:pt x="1418" y="548"/>
                  </a:lnTo>
                  <a:lnTo>
                    <a:pt x="1409" y="543"/>
                  </a:lnTo>
                  <a:lnTo>
                    <a:pt x="1393" y="532"/>
                  </a:lnTo>
                  <a:lnTo>
                    <a:pt x="1391" y="531"/>
                  </a:lnTo>
                  <a:lnTo>
                    <a:pt x="1390" y="529"/>
                  </a:lnTo>
                  <a:lnTo>
                    <a:pt x="1389" y="527"/>
                  </a:lnTo>
                  <a:lnTo>
                    <a:pt x="1389" y="525"/>
                  </a:lnTo>
                  <a:lnTo>
                    <a:pt x="1390" y="523"/>
                  </a:lnTo>
                  <a:lnTo>
                    <a:pt x="1391" y="522"/>
                  </a:lnTo>
                  <a:lnTo>
                    <a:pt x="1440" y="446"/>
                  </a:lnTo>
                  <a:lnTo>
                    <a:pt x="1442" y="444"/>
                  </a:lnTo>
                  <a:lnTo>
                    <a:pt x="1443" y="444"/>
                  </a:lnTo>
                  <a:lnTo>
                    <a:pt x="1444" y="443"/>
                  </a:lnTo>
                  <a:lnTo>
                    <a:pt x="1446" y="443"/>
                  </a:lnTo>
                  <a:lnTo>
                    <a:pt x="1448" y="444"/>
                  </a:lnTo>
                  <a:lnTo>
                    <a:pt x="1450" y="445"/>
                  </a:lnTo>
                  <a:lnTo>
                    <a:pt x="1465" y="456"/>
                  </a:lnTo>
                  <a:lnTo>
                    <a:pt x="1483" y="465"/>
                  </a:lnTo>
                  <a:lnTo>
                    <a:pt x="1501" y="473"/>
                  </a:lnTo>
                  <a:lnTo>
                    <a:pt x="1510" y="476"/>
                  </a:lnTo>
                  <a:lnTo>
                    <a:pt x="1520" y="479"/>
                  </a:lnTo>
                  <a:lnTo>
                    <a:pt x="1529" y="482"/>
                  </a:lnTo>
                  <a:lnTo>
                    <a:pt x="1539" y="485"/>
                  </a:lnTo>
                  <a:lnTo>
                    <a:pt x="1558" y="489"/>
                  </a:lnTo>
                  <a:lnTo>
                    <a:pt x="1576" y="491"/>
                  </a:lnTo>
                  <a:lnTo>
                    <a:pt x="1594" y="492"/>
                  </a:lnTo>
                  <a:lnTo>
                    <a:pt x="1604" y="491"/>
                  </a:lnTo>
                  <a:lnTo>
                    <a:pt x="1613" y="490"/>
                  </a:lnTo>
                  <a:lnTo>
                    <a:pt x="1622" y="488"/>
                  </a:lnTo>
                  <a:lnTo>
                    <a:pt x="1629" y="486"/>
                  </a:lnTo>
                  <a:lnTo>
                    <a:pt x="1632" y="484"/>
                  </a:lnTo>
                  <a:lnTo>
                    <a:pt x="1635" y="482"/>
                  </a:lnTo>
                  <a:lnTo>
                    <a:pt x="1638" y="480"/>
                  </a:lnTo>
                  <a:lnTo>
                    <a:pt x="1640" y="477"/>
                  </a:lnTo>
                  <a:lnTo>
                    <a:pt x="1642" y="474"/>
                  </a:lnTo>
                  <a:lnTo>
                    <a:pt x="1643" y="471"/>
                  </a:lnTo>
                  <a:lnTo>
                    <a:pt x="1644" y="468"/>
                  </a:lnTo>
                  <a:lnTo>
                    <a:pt x="1644" y="464"/>
                  </a:lnTo>
                  <a:lnTo>
                    <a:pt x="1644" y="461"/>
                  </a:lnTo>
                  <a:lnTo>
                    <a:pt x="1643" y="457"/>
                  </a:lnTo>
                  <a:lnTo>
                    <a:pt x="1642" y="454"/>
                  </a:lnTo>
                  <a:lnTo>
                    <a:pt x="1641" y="451"/>
                  </a:lnTo>
                  <a:lnTo>
                    <a:pt x="1640" y="449"/>
                  </a:lnTo>
                  <a:lnTo>
                    <a:pt x="1638" y="448"/>
                  </a:lnTo>
                  <a:lnTo>
                    <a:pt x="1636" y="445"/>
                  </a:lnTo>
                  <a:lnTo>
                    <a:pt x="1629" y="441"/>
                  </a:lnTo>
                  <a:lnTo>
                    <a:pt x="1620" y="437"/>
                  </a:lnTo>
                  <a:lnTo>
                    <a:pt x="1609" y="434"/>
                  </a:lnTo>
                  <a:lnTo>
                    <a:pt x="1595" y="432"/>
                  </a:lnTo>
                  <a:lnTo>
                    <a:pt x="1579" y="429"/>
                  </a:lnTo>
                  <a:lnTo>
                    <a:pt x="1551" y="425"/>
                  </a:lnTo>
                  <a:lnTo>
                    <a:pt x="1537" y="422"/>
                  </a:lnTo>
                  <a:lnTo>
                    <a:pt x="1522" y="419"/>
                  </a:lnTo>
                  <a:lnTo>
                    <a:pt x="1508" y="415"/>
                  </a:lnTo>
                  <a:lnTo>
                    <a:pt x="1493" y="411"/>
                  </a:lnTo>
                  <a:lnTo>
                    <a:pt x="1480" y="405"/>
                  </a:lnTo>
                  <a:lnTo>
                    <a:pt x="1466" y="398"/>
                  </a:lnTo>
                  <a:lnTo>
                    <a:pt x="1460" y="395"/>
                  </a:lnTo>
                  <a:lnTo>
                    <a:pt x="1454" y="391"/>
                  </a:lnTo>
                  <a:lnTo>
                    <a:pt x="1448" y="386"/>
                  </a:lnTo>
                  <a:lnTo>
                    <a:pt x="1443" y="382"/>
                  </a:lnTo>
                  <a:lnTo>
                    <a:pt x="1438" y="377"/>
                  </a:lnTo>
                  <a:lnTo>
                    <a:pt x="1433" y="371"/>
                  </a:lnTo>
                  <a:lnTo>
                    <a:pt x="1428" y="366"/>
                  </a:lnTo>
                  <a:lnTo>
                    <a:pt x="1424" y="359"/>
                  </a:lnTo>
                  <a:lnTo>
                    <a:pt x="1420" y="353"/>
                  </a:lnTo>
                  <a:lnTo>
                    <a:pt x="1417" y="346"/>
                  </a:lnTo>
                  <a:lnTo>
                    <a:pt x="1414" y="338"/>
                  </a:lnTo>
                  <a:lnTo>
                    <a:pt x="1411" y="330"/>
                  </a:lnTo>
                  <a:lnTo>
                    <a:pt x="1410" y="322"/>
                  </a:lnTo>
                  <a:lnTo>
                    <a:pt x="1408" y="313"/>
                  </a:lnTo>
                  <a:lnTo>
                    <a:pt x="1408" y="308"/>
                  </a:lnTo>
                  <a:lnTo>
                    <a:pt x="1407" y="304"/>
                  </a:lnTo>
                  <a:lnTo>
                    <a:pt x="1407" y="294"/>
                  </a:lnTo>
                  <a:lnTo>
                    <a:pt x="1407" y="285"/>
                  </a:lnTo>
                  <a:lnTo>
                    <a:pt x="1408" y="277"/>
                  </a:lnTo>
                  <a:lnTo>
                    <a:pt x="1409" y="268"/>
                  </a:lnTo>
                  <a:lnTo>
                    <a:pt x="1410" y="261"/>
                  </a:lnTo>
                  <a:lnTo>
                    <a:pt x="1412" y="253"/>
                  </a:lnTo>
                  <a:lnTo>
                    <a:pt x="1415" y="246"/>
                  </a:lnTo>
                  <a:lnTo>
                    <a:pt x="1417" y="239"/>
                  </a:lnTo>
                  <a:lnTo>
                    <a:pt x="1420" y="232"/>
                  </a:lnTo>
                  <a:lnTo>
                    <a:pt x="1424" y="225"/>
                  </a:lnTo>
                  <a:lnTo>
                    <a:pt x="1428" y="219"/>
                  </a:lnTo>
                  <a:lnTo>
                    <a:pt x="1436" y="208"/>
                  </a:lnTo>
                  <a:lnTo>
                    <a:pt x="1441" y="202"/>
                  </a:lnTo>
                  <a:lnTo>
                    <a:pt x="1446" y="197"/>
                  </a:lnTo>
                  <a:lnTo>
                    <a:pt x="1457" y="188"/>
                  </a:lnTo>
                  <a:lnTo>
                    <a:pt x="1463" y="183"/>
                  </a:lnTo>
                  <a:lnTo>
                    <a:pt x="1469" y="179"/>
                  </a:lnTo>
                  <a:lnTo>
                    <a:pt x="1483" y="172"/>
                  </a:lnTo>
                  <a:lnTo>
                    <a:pt x="1490" y="169"/>
                  </a:lnTo>
                  <a:lnTo>
                    <a:pt x="1497" y="166"/>
                  </a:lnTo>
                  <a:lnTo>
                    <a:pt x="1512" y="161"/>
                  </a:lnTo>
                  <a:lnTo>
                    <a:pt x="1528" y="157"/>
                  </a:lnTo>
                  <a:lnTo>
                    <a:pt x="1544" y="154"/>
                  </a:lnTo>
                  <a:lnTo>
                    <a:pt x="1561" y="152"/>
                  </a:lnTo>
                  <a:lnTo>
                    <a:pt x="1579" y="152"/>
                  </a:lnTo>
                  <a:lnTo>
                    <a:pt x="1595" y="152"/>
                  </a:lnTo>
                  <a:lnTo>
                    <a:pt x="1611" y="153"/>
                  </a:lnTo>
                  <a:lnTo>
                    <a:pt x="1626" y="154"/>
                  </a:lnTo>
                  <a:lnTo>
                    <a:pt x="1641" y="156"/>
                  </a:lnTo>
                  <a:lnTo>
                    <a:pt x="1654" y="158"/>
                  </a:lnTo>
                  <a:lnTo>
                    <a:pt x="1667" y="160"/>
                  </a:lnTo>
                  <a:lnTo>
                    <a:pt x="1679" y="163"/>
                  </a:lnTo>
                  <a:lnTo>
                    <a:pt x="1691" y="167"/>
                  </a:lnTo>
                  <a:lnTo>
                    <a:pt x="1702" y="170"/>
                  </a:lnTo>
                  <a:lnTo>
                    <a:pt x="1713" y="174"/>
                  </a:lnTo>
                  <a:lnTo>
                    <a:pt x="1723" y="179"/>
                  </a:lnTo>
                  <a:lnTo>
                    <a:pt x="1733" y="183"/>
                  </a:lnTo>
                  <a:lnTo>
                    <a:pt x="1742" y="188"/>
                  </a:lnTo>
                  <a:lnTo>
                    <a:pt x="1751" y="194"/>
                  </a:lnTo>
                  <a:lnTo>
                    <a:pt x="1768" y="205"/>
                  </a:lnTo>
                  <a:lnTo>
                    <a:pt x="1770" y="207"/>
                  </a:lnTo>
                  <a:lnTo>
                    <a:pt x="1771" y="209"/>
                  </a:lnTo>
                  <a:lnTo>
                    <a:pt x="1772" y="211"/>
                  </a:lnTo>
                  <a:lnTo>
                    <a:pt x="1772" y="212"/>
                  </a:lnTo>
                  <a:lnTo>
                    <a:pt x="1771" y="215"/>
                  </a:lnTo>
                  <a:lnTo>
                    <a:pt x="1770" y="216"/>
                  </a:lnTo>
                  <a:lnTo>
                    <a:pt x="1722" y="288"/>
                  </a:lnTo>
                  <a:lnTo>
                    <a:pt x="1720" y="290"/>
                  </a:lnTo>
                  <a:lnTo>
                    <a:pt x="1718" y="292"/>
                  </a:lnTo>
                  <a:lnTo>
                    <a:pt x="1716" y="292"/>
                  </a:lnTo>
                  <a:lnTo>
                    <a:pt x="1715" y="292"/>
                  </a:lnTo>
                  <a:lnTo>
                    <a:pt x="1711" y="292"/>
                  </a:lnTo>
                  <a:lnTo>
                    <a:pt x="1708" y="290"/>
                  </a:lnTo>
                  <a:lnTo>
                    <a:pt x="1693" y="282"/>
                  </a:lnTo>
                  <a:lnTo>
                    <a:pt x="1677" y="274"/>
                  </a:lnTo>
                  <a:lnTo>
                    <a:pt x="1662" y="268"/>
                  </a:lnTo>
                  <a:lnTo>
                    <a:pt x="1647" y="263"/>
                  </a:lnTo>
                  <a:lnTo>
                    <a:pt x="1633" y="258"/>
                  </a:lnTo>
                  <a:lnTo>
                    <a:pt x="1619" y="255"/>
                  </a:lnTo>
                  <a:lnTo>
                    <a:pt x="1612" y="254"/>
                  </a:lnTo>
                  <a:lnTo>
                    <a:pt x="1606" y="254"/>
                  </a:lnTo>
                  <a:lnTo>
                    <a:pt x="1593" y="253"/>
                  </a:lnTo>
                  <a:lnTo>
                    <a:pt x="1584" y="253"/>
                  </a:lnTo>
                  <a:lnTo>
                    <a:pt x="1576" y="254"/>
                  </a:lnTo>
                  <a:lnTo>
                    <a:pt x="1568" y="256"/>
                  </a:lnTo>
                  <a:lnTo>
                    <a:pt x="1562" y="259"/>
                  </a:lnTo>
                  <a:lnTo>
                    <a:pt x="1560" y="261"/>
                  </a:lnTo>
                  <a:lnTo>
                    <a:pt x="1557" y="263"/>
                  </a:lnTo>
                  <a:lnTo>
                    <a:pt x="1554" y="267"/>
                  </a:lnTo>
                  <a:lnTo>
                    <a:pt x="1552" y="270"/>
                  </a:lnTo>
                  <a:lnTo>
                    <a:pt x="1551" y="273"/>
                  </a:lnTo>
                  <a:lnTo>
                    <a:pt x="1551" y="276"/>
                  </a:lnTo>
                  <a:lnTo>
                    <a:pt x="1550" y="280"/>
                  </a:lnTo>
                  <a:lnTo>
                    <a:pt x="1551" y="283"/>
                  </a:lnTo>
                  <a:lnTo>
                    <a:pt x="1551" y="286"/>
                  </a:lnTo>
                  <a:lnTo>
                    <a:pt x="1553" y="289"/>
                  </a:lnTo>
                  <a:lnTo>
                    <a:pt x="1555" y="292"/>
                  </a:lnTo>
                  <a:lnTo>
                    <a:pt x="1557" y="295"/>
                  </a:lnTo>
                  <a:lnTo>
                    <a:pt x="1560" y="297"/>
                  </a:lnTo>
                  <a:lnTo>
                    <a:pt x="1563" y="299"/>
                  </a:lnTo>
                  <a:lnTo>
                    <a:pt x="1567" y="301"/>
                  </a:lnTo>
                  <a:lnTo>
                    <a:pt x="1576" y="304"/>
                  </a:lnTo>
                  <a:lnTo>
                    <a:pt x="1587" y="307"/>
                  </a:lnTo>
                  <a:lnTo>
                    <a:pt x="1600" y="309"/>
                  </a:lnTo>
                  <a:lnTo>
                    <a:pt x="1615" y="312"/>
                  </a:lnTo>
                  <a:lnTo>
                    <a:pt x="1642" y="316"/>
                  </a:lnTo>
                  <a:lnTo>
                    <a:pt x="1657" y="318"/>
                  </a:lnTo>
                  <a:lnTo>
                    <a:pt x="1672" y="321"/>
                  </a:lnTo>
                  <a:lnTo>
                    <a:pt x="1686" y="325"/>
                  </a:lnTo>
                  <a:lnTo>
                    <a:pt x="1701" y="329"/>
                  </a:lnTo>
                  <a:lnTo>
                    <a:pt x="1715" y="334"/>
                  </a:lnTo>
                  <a:lnTo>
                    <a:pt x="1728" y="340"/>
                  </a:lnTo>
                  <a:lnTo>
                    <a:pt x="1740" y="348"/>
                  </a:lnTo>
                  <a:lnTo>
                    <a:pt x="1746" y="352"/>
                  </a:lnTo>
                  <a:lnTo>
                    <a:pt x="1752" y="356"/>
                  </a:lnTo>
                  <a:lnTo>
                    <a:pt x="1757" y="361"/>
                  </a:lnTo>
                  <a:lnTo>
                    <a:pt x="1762" y="366"/>
                  </a:lnTo>
                  <a:lnTo>
                    <a:pt x="1766" y="371"/>
                  </a:lnTo>
                  <a:lnTo>
                    <a:pt x="1771" y="377"/>
                  </a:lnTo>
                  <a:lnTo>
                    <a:pt x="1774" y="383"/>
                  </a:lnTo>
                  <a:lnTo>
                    <a:pt x="1778" y="390"/>
                  </a:lnTo>
                  <a:lnTo>
                    <a:pt x="1781" y="397"/>
                  </a:lnTo>
                  <a:lnTo>
                    <a:pt x="1783" y="404"/>
                  </a:lnTo>
                  <a:lnTo>
                    <a:pt x="1785" y="412"/>
                  </a:lnTo>
                  <a:lnTo>
                    <a:pt x="1787" y="420"/>
                  </a:lnTo>
                  <a:lnTo>
                    <a:pt x="1787" y="425"/>
                  </a:lnTo>
                  <a:lnTo>
                    <a:pt x="1787" y="429"/>
                  </a:lnTo>
                  <a:lnTo>
                    <a:pt x="1788" y="438"/>
                  </a:lnTo>
                  <a:lnTo>
                    <a:pt x="1787" y="449"/>
                  </a:lnTo>
                  <a:lnTo>
                    <a:pt x="1787" y="458"/>
                  </a:lnTo>
                  <a:lnTo>
                    <a:pt x="1785" y="468"/>
                  </a:lnTo>
                  <a:lnTo>
                    <a:pt x="1783" y="477"/>
                  </a:lnTo>
                  <a:lnTo>
                    <a:pt x="1781" y="485"/>
                  </a:lnTo>
                  <a:lnTo>
                    <a:pt x="1778" y="494"/>
                  </a:lnTo>
                  <a:lnTo>
                    <a:pt x="1775" y="501"/>
                  </a:lnTo>
                  <a:lnTo>
                    <a:pt x="1771" y="509"/>
                  </a:lnTo>
                  <a:lnTo>
                    <a:pt x="1767" y="516"/>
                  </a:lnTo>
                  <a:lnTo>
                    <a:pt x="1763" y="523"/>
                  </a:lnTo>
                  <a:lnTo>
                    <a:pt x="1758" y="529"/>
                  </a:lnTo>
                  <a:lnTo>
                    <a:pt x="1752" y="535"/>
                  </a:lnTo>
                  <a:lnTo>
                    <a:pt x="1747" y="540"/>
                  </a:lnTo>
                  <a:lnTo>
                    <a:pt x="1741" y="546"/>
                  </a:lnTo>
                  <a:lnTo>
                    <a:pt x="1734" y="550"/>
                  </a:lnTo>
                  <a:lnTo>
                    <a:pt x="1728" y="555"/>
                  </a:lnTo>
                  <a:lnTo>
                    <a:pt x="1721" y="559"/>
                  </a:lnTo>
                  <a:lnTo>
                    <a:pt x="1714" y="563"/>
                  </a:lnTo>
                  <a:lnTo>
                    <a:pt x="1699" y="570"/>
                  </a:lnTo>
                  <a:lnTo>
                    <a:pt x="1683" y="576"/>
                  </a:lnTo>
                  <a:lnTo>
                    <a:pt x="1675" y="578"/>
                  </a:lnTo>
                  <a:lnTo>
                    <a:pt x="1666" y="580"/>
                  </a:lnTo>
                  <a:lnTo>
                    <a:pt x="1649" y="584"/>
                  </a:lnTo>
                  <a:lnTo>
                    <a:pt x="1631" y="586"/>
                  </a:lnTo>
                  <a:lnTo>
                    <a:pt x="1613" y="588"/>
                  </a:lnTo>
                  <a:lnTo>
                    <a:pt x="1595" y="58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Tree>
    <p:extLst>
      <p:ext uri="{BB962C8B-B14F-4D97-AF65-F5344CB8AC3E}">
        <p14:creationId xmlns:p14="http://schemas.microsoft.com/office/powerpoint/2010/main" val="1501623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66764" y="1773238"/>
            <a:ext cx="10658474" cy="647700"/>
          </a:xfrm>
        </p:spPr>
        <p:txBody>
          <a:bodyPr anchor="t" anchorCtr="0"/>
          <a:lstStyle>
            <a:lvl1pPr marL="0" indent="0">
              <a:lnSpc>
                <a:spcPct val="95000"/>
              </a:lnSpc>
              <a:spcBef>
                <a:spcPts val="0"/>
              </a:spcBef>
              <a:buNone/>
              <a:defRPr sz="2000" b="1" spc="-40"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7" name="Date Placeholder 6"/>
          <p:cNvSpPr>
            <a:spLocks noGrp="1"/>
          </p:cNvSpPr>
          <p:nvPr>
            <p:ph type="dt" sz="half" idx="10"/>
          </p:nvPr>
        </p:nvSpPr>
        <p:spPr/>
        <p:txBody>
          <a:bodyPr/>
          <a:lstStyle/>
          <a:p>
            <a:fld id="{6776B7B1-C526-475E-86D5-F67200146AEB}" type="datetime1">
              <a:rPr lang="en-GB" smtClean="0"/>
              <a:t>22/10/2025</a:t>
            </a:fld>
            <a:endParaRPr lang="fi-FI"/>
          </a:p>
        </p:txBody>
      </p:sp>
      <p:sp>
        <p:nvSpPr>
          <p:cNvPr id="8" name="Footer Placeholder 7"/>
          <p:cNvSpPr>
            <a:spLocks noGrp="1"/>
          </p:cNvSpPr>
          <p:nvPr>
            <p:ph type="ftr" sz="quarter" idx="11"/>
          </p:nvPr>
        </p:nvSpPr>
        <p:spPr/>
        <p:txBody>
          <a:bodyPr/>
          <a:lstStyle/>
          <a:p>
            <a:r>
              <a:rPr lang="fi-FI"/>
              <a:t>Presentation name / Author</a:t>
            </a:r>
          </a:p>
        </p:txBody>
      </p:sp>
      <p:sp>
        <p:nvSpPr>
          <p:cNvPr id="9" name="Slide Number Placeholder 8"/>
          <p:cNvSpPr>
            <a:spLocks noGrp="1"/>
          </p:cNvSpPr>
          <p:nvPr>
            <p:ph type="sldNum" sz="quarter" idx="12"/>
          </p:nvPr>
        </p:nvSpPr>
        <p:spPr/>
        <p:txBody>
          <a:bodyPr/>
          <a:lstStyle/>
          <a:p>
            <a:fld id="{49A25110-65A2-4B67-BF3F-8D6D3162EF46}" type="slidenum">
              <a:rPr lang="fi-FI" smtClean="0"/>
              <a:t>‹#›</a:t>
            </a:fld>
            <a:endParaRPr lang="fi-FI"/>
          </a:p>
        </p:txBody>
      </p:sp>
      <p:sp>
        <p:nvSpPr>
          <p:cNvPr id="11" name="Chart Placeholder 10"/>
          <p:cNvSpPr>
            <a:spLocks noGrp="1"/>
          </p:cNvSpPr>
          <p:nvPr>
            <p:ph type="chart" sz="quarter" idx="13"/>
          </p:nvPr>
        </p:nvSpPr>
        <p:spPr>
          <a:xfrm>
            <a:off x="766762" y="2564904"/>
            <a:ext cx="10658475" cy="3385046"/>
          </a:xfrm>
        </p:spPr>
        <p:txBody>
          <a:bodyPr/>
          <a:lstStyle>
            <a:lvl1pPr marL="0" indent="0">
              <a:buFontTx/>
              <a:buNone/>
              <a:defRPr sz="1000"/>
            </a:lvl1pPr>
          </a:lstStyle>
          <a:p>
            <a:r>
              <a:rPr lang="en-US"/>
              <a:t>Click icon to add chart</a:t>
            </a:r>
            <a:endParaRPr lang="fi-FI" dirty="0"/>
          </a:p>
        </p:txBody>
      </p:sp>
      <p:sp>
        <p:nvSpPr>
          <p:cNvPr id="4" name="Title 3"/>
          <p:cNvSpPr>
            <a:spLocks noGrp="1"/>
          </p:cNvSpPr>
          <p:nvPr>
            <p:ph type="title"/>
          </p:nvPr>
        </p:nvSpPr>
        <p:spPr/>
        <p:txBody>
          <a:bodyPr/>
          <a:lstStyle/>
          <a:p>
            <a:r>
              <a:rPr lang="en-US"/>
              <a:t>Click to edit Master title style</a:t>
            </a:r>
          </a:p>
        </p:txBody>
      </p:sp>
      <p:sp>
        <p:nvSpPr>
          <p:cNvPr id="10" name="Text Placeholder 7"/>
          <p:cNvSpPr>
            <a:spLocks noGrp="1"/>
          </p:cNvSpPr>
          <p:nvPr>
            <p:ph type="body" sz="quarter" idx="14"/>
          </p:nvPr>
        </p:nvSpPr>
        <p:spPr>
          <a:xfrm>
            <a:off x="334963" y="260350"/>
            <a:ext cx="11522075" cy="184666"/>
          </a:xfrm>
        </p:spPr>
        <p:txBody>
          <a:bodyPr>
            <a:spAutoFit/>
          </a:bodyPr>
          <a:lstStyle>
            <a:lvl1pPr marL="0" indent="0">
              <a:buFontTx/>
              <a:buNone/>
              <a:defRPr sz="1200">
                <a:solidFill>
                  <a:srgbClr val="686768"/>
                </a:solidFill>
              </a:defRPr>
            </a:lvl1pPr>
            <a:lvl2pPr marL="0" indent="0">
              <a:buFontTx/>
              <a:buNone/>
              <a:defRPr sz="1200"/>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a:t>Click to edit Master text styles</a:t>
            </a:r>
          </a:p>
        </p:txBody>
      </p:sp>
    </p:spTree>
    <p:extLst>
      <p:ext uri="{BB962C8B-B14F-4D97-AF65-F5344CB8AC3E}">
        <p14:creationId xmlns:p14="http://schemas.microsoft.com/office/powerpoint/2010/main" val="3265896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E772584C-5E56-4766-B042-024B2F647E6A}" type="datetime1">
              <a:rPr lang="en-GB" smtClean="0"/>
              <a:t>22/10/2025</a:t>
            </a:fld>
            <a:endParaRPr lang="fi-FI"/>
          </a:p>
        </p:txBody>
      </p:sp>
      <p:sp>
        <p:nvSpPr>
          <p:cNvPr id="4" name="Footer Placeholder 3"/>
          <p:cNvSpPr>
            <a:spLocks noGrp="1"/>
          </p:cNvSpPr>
          <p:nvPr>
            <p:ph type="ftr" sz="quarter" idx="11"/>
          </p:nvPr>
        </p:nvSpPr>
        <p:spPr/>
        <p:txBody>
          <a:bodyPr/>
          <a:lstStyle/>
          <a:p>
            <a:r>
              <a:rPr lang="fi-FI"/>
              <a:t>Presentation name / Author</a:t>
            </a:r>
          </a:p>
        </p:txBody>
      </p:sp>
      <p:sp>
        <p:nvSpPr>
          <p:cNvPr id="5" name="Slide Number Placeholder 4"/>
          <p:cNvSpPr>
            <a:spLocks noGrp="1"/>
          </p:cNvSpPr>
          <p:nvPr>
            <p:ph type="sldNum" sz="quarter" idx="12"/>
          </p:nvPr>
        </p:nvSpPr>
        <p:spPr/>
        <p:txBody>
          <a:bodyPr/>
          <a:lstStyle/>
          <a:p>
            <a:fld id="{49A25110-65A2-4B67-BF3F-8D6D3162EF46}" type="slidenum">
              <a:rPr lang="fi-FI" smtClean="0"/>
              <a:t>‹#›</a:t>
            </a:fld>
            <a:endParaRPr lang="fi-FI"/>
          </a:p>
        </p:txBody>
      </p:sp>
      <p:sp>
        <p:nvSpPr>
          <p:cNvPr id="7" name="Table Placeholder 6"/>
          <p:cNvSpPr>
            <a:spLocks noGrp="1"/>
          </p:cNvSpPr>
          <p:nvPr>
            <p:ph type="tbl" sz="quarter" idx="13"/>
          </p:nvPr>
        </p:nvSpPr>
        <p:spPr>
          <a:xfrm>
            <a:off x="766762" y="692150"/>
            <a:ext cx="10658475" cy="5257800"/>
          </a:xfrm>
        </p:spPr>
        <p:txBody>
          <a:bodyPr/>
          <a:lstStyle>
            <a:lvl1pPr marL="0" indent="0">
              <a:buFontTx/>
              <a:buNone/>
              <a:defRPr sz="1000"/>
            </a:lvl1pPr>
          </a:lstStyle>
          <a:p>
            <a:r>
              <a:rPr lang="en-US"/>
              <a:t>Click icon to add table</a:t>
            </a:r>
            <a:endParaRPr lang="fi-FI"/>
          </a:p>
        </p:txBody>
      </p:sp>
      <p:sp>
        <p:nvSpPr>
          <p:cNvPr id="6" name="Text Placeholder 7"/>
          <p:cNvSpPr>
            <a:spLocks noGrp="1"/>
          </p:cNvSpPr>
          <p:nvPr>
            <p:ph type="body" sz="quarter" idx="14"/>
          </p:nvPr>
        </p:nvSpPr>
        <p:spPr>
          <a:xfrm>
            <a:off x="334963" y="260350"/>
            <a:ext cx="11522075" cy="184666"/>
          </a:xfrm>
        </p:spPr>
        <p:txBody>
          <a:bodyPr>
            <a:spAutoFit/>
          </a:bodyPr>
          <a:lstStyle>
            <a:lvl1pPr marL="0" indent="0">
              <a:buFontTx/>
              <a:buNone/>
              <a:defRPr sz="1200">
                <a:solidFill>
                  <a:srgbClr val="686768"/>
                </a:solidFill>
              </a:defRPr>
            </a:lvl1pPr>
            <a:lvl2pPr marL="0" indent="0">
              <a:buFontTx/>
              <a:buNone/>
              <a:defRPr sz="1200"/>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a:t>Click to edit Master text styles</a:t>
            </a:r>
          </a:p>
        </p:txBody>
      </p:sp>
    </p:spTree>
    <p:extLst>
      <p:ext uri="{BB962C8B-B14F-4D97-AF65-F5344CB8AC3E}">
        <p14:creationId xmlns:p14="http://schemas.microsoft.com/office/powerpoint/2010/main" val="1234715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 and 1/2 picture">
    <p:spTree>
      <p:nvGrpSpPr>
        <p:cNvPr id="1" name=""/>
        <p:cNvGrpSpPr/>
        <p:nvPr/>
      </p:nvGrpSpPr>
      <p:grpSpPr>
        <a:xfrm>
          <a:off x="0" y="0"/>
          <a:ext cx="0" cy="0"/>
          <a:chOff x="0" y="0"/>
          <a:chExt cx="0" cy="0"/>
        </a:xfrm>
      </p:grpSpPr>
      <p:sp>
        <p:nvSpPr>
          <p:cNvPr id="3" name="Content Placeholder 2"/>
          <p:cNvSpPr>
            <a:spLocks noGrp="1"/>
          </p:cNvSpPr>
          <p:nvPr>
            <p:ph idx="1"/>
          </p:nvPr>
        </p:nvSpPr>
        <p:spPr>
          <a:xfrm>
            <a:off x="766762" y="1773238"/>
            <a:ext cx="4969197"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8" name="Picture Placeholder 7"/>
          <p:cNvSpPr>
            <a:spLocks noGrp="1"/>
          </p:cNvSpPr>
          <p:nvPr>
            <p:ph type="pic" sz="quarter" idx="15"/>
          </p:nvPr>
        </p:nvSpPr>
        <p:spPr>
          <a:xfrm>
            <a:off x="6240016" y="0"/>
            <a:ext cx="5951984" cy="6858000"/>
          </a:xfrm>
          <a:solidFill>
            <a:schemeClr val="bg1">
              <a:lumMod val="95000"/>
            </a:schemeClr>
          </a:solidFill>
        </p:spPr>
        <p:txBody>
          <a:bodyPr/>
          <a:lstStyle>
            <a:lvl1pPr marL="0" indent="0">
              <a:buFontTx/>
              <a:buNone/>
              <a:defRPr sz="1000"/>
            </a:lvl1pPr>
          </a:lstStyle>
          <a:p>
            <a:r>
              <a:rPr lang="en-US"/>
              <a:t>Click icon to add picture</a:t>
            </a:r>
            <a:endParaRPr lang="fi-FI" dirty="0"/>
          </a:p>
        </p:txBody>
      </p:sp>
      <p:sp>
        <p:nvSpPr>
          <p:cNvPr id="9" name="Title 8"/>
          <p:cNvSpPr>
            <a:spLocks noGrp="1"/>
          </p:cNvSpPr>
          <p:nvPr>
            <p:ph type="title"/>
          </p:nvPr>
        </p:nvSpPr>
        <p:spPr>
          <a:xfrm>
            <a:off x="766764" y="692150"/>
            <a:ext cx="4969196" cy="864642"/>
          </a:xfrm>
        </p:spPr>
        <p:txBody>
          <a:bodyPr/>
          <a:lstStyle/>
          <a:p>
            <a:r>
              <a:rPr lang="en-US"/>
              <a:t>Click to edit Master title style</a:t>
            </a:r>
            <a:endParaRPr lang="fi-FI" dirty="0"/>
          </a:p>
        </p:txBody>
      </p:sp>
      <p:sp>
        <p:nvSpPr>
          <p:cNvPr id="10" name="Date Placeholder 9"/>
          <p:cNvSpPr>
            <a:spLocks noGrp="1"/>
          </p:cNvSpPr>
          <p:nvPr>
            <p:ph type="dt" sz="half" idx="16"/>
          </p:nvPr>
        </p:nvSpPr>
        <p:spPr/>
        <p:txBody>
          <a:bodyPr/>
          <a:lstStyle/>
          <a:p>
            <a:fld id="{A25CC2C9-1C0E-47D0-AEFE-63C374E4A9E0}" type="datetime1">
              <a:rPr lang="en-GB" smtClean="0"/>
              <a:t>22/10/2025</a:t>
            </a:fld>
            <a:endParaRPr lang="fi-FI" dirty="0"/>
          </a:p>
        </p:txBody>
      </p:sp>
      <p:sp>
        <p:nvSpPr>
          <p:cNvPr id="11" name="Footer Placeholder 10"/>
          <p:cNvSpPr>
            <a:spLocks noGrp="1"/>
          </p:cNvSpPr>
          <p:nvPr>
            <p:ph type="ftr" sz="quarter" idx="17"/>
          </p:nvPr>
        </p:nvSpPr>
        <p:spPr/>
        <p:txBody>
          <a:bodyPr/>
          <a:lstStyle/>
          <a:p>
            <a:r>
              <a:rPr lang="fi-FI"/>
              <a:t>Presentation name / Author</a:t>
            </a:r>
            <a:endParaRPr lang="fi-FI" dirty="0"/>
          </a:p>
        </p:txBody>
      </p:sp>
      <p:sp>
        <p:nvSpPr>
          <p:cNvPr id="12" name="Slide Number Placeholder 11"/>
          <p:cNvSpPr>
            <a:spLocks noGrp="1"/>
          </p:cNvSpPr>
          <p:nvPr>
            <p:ph type="sldNum" sz="quarter" idx="18"/>
          </p:nvPr>
        </p:nvSpPr>
        <p:spPr/>
        <p:txBody>
          <a:bodyPr/>
          <a:lstStyle>
            <a:lvl1pPr>
              <a:defRPr>
                <a:noFill/>
              </a:defRPr>
            </a:lvl1pPr>
          </a:lstStyle>
          <a:p>
            <a:fld id="{49A25110-65A2-4B67-BF3F-8D6D3162EF46}" type="slidenum">
              <a:rPr lang="fi-FI" smtClean="0"/>
              <a:pPr/>
              <a:t>‹#›</a:t>
            </a:fld>
            <a:endParaRPr lang="fi-FI" dirty="0"/>
          </a:p>
        </p:txBody>
      </p:sp>
      <p:sp>
        <p:nvSpPr>
          <p:cNvPr id="14" name="Text Placeholder 7"/>
          <p:cNvSpPr>
            <a:spLocks noGrp="1"/>
          </p:cNvSpPr>
          <p:nvPr>
            <p:ph type="body" sz="quarter" idx="13"/>
          </p:nvPr>
        </p:nvSpPr>
        <p:spPr>
          <a:xfrm>
            <a:off x="334963" y="260350"/>
            <a:ext cx="5400997" cy="184666"/>
          </a:xfrm>
        </p:spPr>
        <p:txBody>
          <a:bodyPr wrap="square">
            <a:spAutoFit/>
          </a:bodyPr>
          <a:lstStyle>
            <a:lvl1pPr marL="0" indent="0">
              <a:buFontTx/>
              <a:buNone/>
              <a:defRPr sz="1200">
                <a:solidFill>
                  <a:srgbClr val="686768"/>
                </a:solidFill>
              </a:defRPr>
            </a:lvl1pPr>
            <a:lvl2pPr marL="0" indent="0">
              <a:buFontTx/>
              <a:buNone/>
              <a:defRPr sz="1200"/>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a:t>Click to edit Master text styles</a:t>
            </a:r>
          </a:p>
        </p:txBody>
      </p:sp>
    </p:spTree>
    <p:extLst>
      <p:ext uri="{BB962C8B-B14F-4D97-AF65-F5344CB8AC3E}">
        <p14:creationId xmlns:p14="http://schemas.microsoft.com/office/powerpoint/2010/main" val="1536666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 and 1/3 picture">
    <p:spTree>
      <p:nvGrpSpPr>
        <p:cNvPr id="1" name=""/>
        <p:cNvGrpSpPr/>
        <p:nvPr/>
      </p:nvGrpSpPr>
      <p:grpSpPr>
        <a:xfrm>
          <a:off x="0" y="0"/>
          <a:ext cx="0" cy="0"/>
          <a:chOff x="0" y="0"/>
          <a:chExt cx="0" cy="0"/>
        </a:xfrm>
      </p:grpSpPr>
      <p:sp>
        <p:nvSpPr>
          <p:cNvPr id="3" name="Content Placeholder 2"/>
          <p:cNvSpPr>
            <a:spLocks noGrp="1"/>
          </p:cNvSpPr>
          <p:nvPr>
            <p:ph idx="1"/>
          </p:nvPr>
        </p:nvSpPr>
        <p:spPr>
          <a:xfrm>
            <a:off x="766764" y="1773238"/>
            <a:ext cx="6913412"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8" name="Picture Placeholder 7"/>
          <p:cNvSpPr>
            <a:spLocks noGrp="1"/>
          </p:cNvSpPr>
          <p:nvPr>
            <p:ph type="pic" sz="quarter" idx="15"/>
          </p:nvPr>
        </p:nvSpPr>
        <p:spPr>
          <a:xfrm>
            <a:off x="8183563" y="0"/>
            <a:ext cx="4008437" cy="6858000"/>
          </a:xfrm>
          <a:solidFill>
            <a:schemeClr val="bg1">
              <a:lumMod val="95000"/>
            </a:schemeClr>
          </a:solidFill>
        </p:spPr>
        <p:txBody>
          <a:bodyPr/>
          <a:lstStyle>
            <a:lvl1pPr marL="0" indent="0">
              <a:buFontTx/>
              <a:buNone/>
              <a:defRPr sz="1000"/>
            </a:lvl1pPr>
          </a:lstStyle>
          <a:p>
            <a:r>
              <a:rPr lang="en-US"/>
              <a:t>Click icon to add picture</a:t>
            </a:r>
            <a:endParaRPr lang="fi-FI"/>
          </a:p>
        </p:txBody>
      </p:sp>
      <p:sp>
        <p:nvSpPr>
          <p:cNvPr id="2" name="Title 1"/>
          <p:cNvSpPr>
            <a:spLocks noGrp="1"/>
          </p:cNvSpPr>
          <p:nvPr>
            <p:ph type="title"/>
          </p:nvPr>
        </p:nvSpPr>
        <p:spPr>
          <a:xfrm>
            <a:off x="766764" y="692150"/>
            <a:ext cx="6913412" cy="864642"/>
          </a:xfrm>
        </p:spPr>
        <p:txBody>
          <a:bodyPr/>
          <a:lstStyle/>
          <a:p>
            <a:r>
              <a:rPr lang="en-US"/>
              <a:t>Click to edit Master title style</a:t>
            </a:r>
            <a:endParaRPr lang="fi-FI" dirty="0"/>
          </a:p>
        </p:txBody>
      </p:sp>
      <p:sp>
        <p:nvSpPr>
          <p:cNvPr id="9" name="Date Placeholder 8"/>
          <p:cNvSpPr>
            <a:spLocks noGrp="1"/>
          </p:cNvSpPr>
          <p:nvPr>
            <p:ph type="dt" sz="half" idx="16"/>
          </p:nvPr>
        </p:nvSpPr>
        <p:spPr/>
        <p:txBody>
          <a:bodyPr/>
          <a:lstStyle/>
          <a:p>
            <a:fld id="{A25CC2C9-1C0E-47D0-AEFE-63C374E4A9E0}" type="datetime1">
              <a:rPr lang="en-GB" smtClean="0"/>
              <a:t>22/10/2025</a:t>
            </a:fld>
            <a:endParaRPr lang="fi-FI" dirty="0"/>
          </a:p>
        </p:txBody>
      </p:sp>
      <p:sp>
        <p:nvSpPr>
          <p:cNvPr id="10" name="Footer Placeholder 9"/>
          <p:cNvSpPr>
            <a:spLocks noGrp="1"/>
          </p:cNvSpPr>
          <p:nvPr>
            <p:ph type="ftr" sz="quarter" idx="17"/>
          </p:nvPr>
        </p:nvSpPr>
        <p:spPr/>
        <p:txBody>
          <a:bodyPr/>
          <a:lstStyle/>
          <a:p>
            <a:r>
              <a:rPr lang="fi-FI"/>
              <a:t>Presentation name / Author</a:t>
            </a:r>
            <a:endParaRPr lang="fi-FI" dirty="0"/>
          </a:p>
        </p:txBody>
      </p:sp>
      <p:sp>
        <p:nvSpPr>
          <p:cNvPr id="11" name="Slide Number Placeholder 10"/>
          <p:cNvSpPr>
            <a:spLocks noGrp="1"/>
          </p:cNvSpPr>
          <p:nvPr>
            <p:ph type="sldNum" sz="quarter" idx="18"/>
          </p:nvPr>
        </p:nvSpPr>
        <p:spPr/>
        <p:txBody>
          <a:bodyPr/>
          <a:lstStyle>
            <a:lvl1pPr>
              <a:defRPr>
                <a:noFill/>
              </a:defRPr>
            </a:lvl1pPr>
          </a:lstStyle>
          <a:p>
            <a:fld id="{49A25110-65A2-4B67-BF3F-8D6D3162EF46}" type="slidenum">
              <a:rPr lang="fi-FI" smtClean="0"/>
              <a:pPr/>
              <a:t>‹#›</a:t>
            </a:fld>
            <a:endParaRPr lang="fi-FI" dirty="0"/>
          </a:p>
        </p:txBody>
      </p:sp>
      <p:sp>
        <p:nvSpPr>
          <p:cNvPr id="14" name="Text Placeholder 7"/>
          <p:cNvSpPr>
            <a:spLocks noGrp="1"/>
          </p:cNvSpPr>
          <p:nvPr>
            <p:ph type="body" sz="quarter" idx="13"/>
          </p:nvPr>
        </p:nvSpPr>
        <p:spPr>
          <a:xfrm>
            <a:off x="334964" y="260350"/>
            <a:ext cx="7345362" cy="184666"/>
          </a:xfrm>
        </p:spPr>
        <p:txBody>
          <a:bodyPr wrap="square">
            <a:spAutoFit/>
          </a:bodyPr>
          <a:lstStyle>
            <a:lvl1pPr marL="0" indent="0">
              <a:buFontTx/>
              <a:buNone/>
              <a:defRPr sz="1200">
                <a:solidFill>
                  <a:srgbClr val="686768"/>
                </a:solidFill>
              </a:defRPr>
            </a:lvl1pPr>
            <a:lvl2pPr marL="0" indent="0">
              <a:buFontTx/>
              <a:buNone/>
              <a:defRPr sz="1200"/>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a:t>Click to edit Master text styles</a:t>
            </a:r>
          </a:p>
        </p:txBody>
      </p:sp>
    </p:spTree>
    <p:extLst>
      <p:ext uri="{BB962C8B-B14F-4D97-AF65-F5344CB8AC3E}">
        <p14:creationId xmlns:p14="http://schemas.microsoft.com/office/powerpoint/2010/main" val="2986223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ent and two pictures">
    <p:spTree>
      <p:nvGrpSpPr>
        <p:cNvPr id="1" name=""/>
        <p:cNvGrpSpPr/>
        <p:nvPr/>
      </p:nvGrpSpPr>
      <p:grpSpPr>
        <a:xfrm>
          <a:off x="0" y="0"/>
          <a:ext cx="0" cy="0"/>
          <a:chOff x="0" y="0"/>
          <a:chExt cx="0" cy="0"/>
        </a:xfrm>
      </p:grpSpPr>
      <p:sp>
        <p:nvSpPr>
          <p:cNvPr id="3" name="Content Placeholder 2"/>
          <p:cNvSpPr>
            <a:spLocks noGrp="1"/>
          </p:cNvSpPr>
          <p:nvPr>
            <p:ph idx="1"/>
          </p:nvPr>
        </p:nvSpPr>
        <p:spPr>
          <a:xfrm>
            <a:off x="766764" y="1773238"/>
            <a:ext cx="6913561"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8" name="Picture Placeholder 7"/>
          <p:cNvSpPr>
            <a:spLocks noGrp="1"/>
          </p:cNvSpPr>
          <p:nvPr>
            <p:ph type="pic" sz="quarter" idx="15"/>
          </p:nvPr>
        </p:nvSpPr>
        <p:spPr>
          <a:xfrm>
            <a:off x="8183563" y="0"/>
            <a:ext cx="4008437" cy="3357563"/>
          </a:xfrm>
          <a:solidFill>
            <a:schemeClr val="bg1">
              <a:lumMod val="95000"/>
            </a:schemeClr>
          </a:solidFill>
        </p:spPr>
        <p:txBody>
          <a:bodyPr/>
          <a:lstStyle>
            <a:lvl1pPr marL="0" indent="0">
              <a:buFontTx/>
              <a:buNone/>
              <a:defRPr sz="1000"/>
            </a:lvl1pPr>
          </a:lstStyle>
          <a:p>
            <a:r>
              <a:rPr lang="en-US"/>
              <a:t>Click icon to add picture</a:t>
            </a:r>
            <a:endParaRPr lang="fi-FI"/>
          </a:p>
        </p:txBody>
      </p:sp>
      <p:sp>
        <p:nvSpPr>
          <p:cNvPr id="9" name="Picture Placeholder 7"/>
          <p:cNvSpPr>
            <a:spLocks noGrp="1"/>
          </p:cNvSpPr>
          <p:nvPr>
            <p:ph type="pic" sz="quarter" idx="16"/>
          </p:nvPr>
        </p:nvSpPr>
        <p:spPr>
          <a:xfrm>
            <a:off x="8183563" y="3500438"/>
            <a:ext cx="4008437" cy="3357561"/>
          </a:xfrm>
          <a:solidFill>
            <a:schemeClr val="bg1">
              <a:lumMod val="95000"/>
            </a:schemeClr>
          </a:solidFill>
        </p:spPr>
        <p:txBody>
          <a:bodyPr/>
          <a:lstStyle>
            <a:lvl1pPr marL="0" indent="0">
              <a:buFontTx/>
              <a:buNone/>
              <a:defRPr sz="1000"/>
            </a:lvl1pPr>
          </a:lstStyle>
          <a:p>
            <a:r>
              <a:rPr lang="en-US"/>
              <a:t>Click icon to add picture</a:t>
            </a:r>
            <a:endParaRPr lang="fi-FI" dirty="0"/>
          </a:p>
        </p:txBody>
      </p:sp>
      <p:sp>
        <p:nvSpPr>
          <p:cNvPr id="2" name="Date Placeholder 1"/>
          <p:cNvSpPr>
            <a:spLocks noGrp="1"/>
          </p:cNvSpPr>
          <p:nvPr>
            <p:ph type="dt" sz="half" idx="17"/>
          </p:nvPr>
        </p:nvSpPr>
        <p:spPr/>
        <p:txBody>
          <a:bodyPr/>
          <a:lstStyle/>
          <a:p>
            <a:fld id="{A25CC2C9-1C0E-47D0-AEFE-63C374E4A9E0}" type="datetime1">
              <a:rPr lang="en-GB" smtClean="0"/>
              <a:t>22/10/2025</a:t>
            </a:fld>
            <a:endParaRPr lang="fi-FI" dirty="0"/>
          </a:p>
        </p:txBody>
      </p:sp>
      <p:sp>
        <p:nvSpPr>
          <p:cNvPr id="10" name="Footer Placeholder 9"/>
          <p:cNvSpPr>
            <a:spLocks noGrp="1"/>
          </p:cNvSpPr>
          <p:nvPr>
            <p:ph type="ftr" sz="quarter" idx="18"/>
          </p:nvPr>
        </p:nvSpPr>
        <p:spPr/>
        <p:txBody>
          <a:bodyPr/>
          <a:lstStyle/>
          <a:p>
            <a:r>
              <a:rPr lang="fi-FI"/>
              <a:t>Presentation name / Author</a:t>
            </a:r>
            <a:endParaRPr lang="fi-FI" dirty="0"/>
          </a:p>
        </p:txBody>
      </p:sp>
      <p:sp>
        <p:nvSpPr>
          <p:cNvPr id="11" name="Slide Number Placeholder 10"/>
          <p:cNvSpPr>
            <a:spLocks noGrp="1"/>
          </p:cNvSpPr>
          <p:nvPr>
            <p:ph type="sldNum" sz="quarter" idx="19"/>
          </p:nvPr>
        </p:nvSpPr>
        <p:spPr/>
        <p:txBody>
          <a:bodyPr/>
          <a:lstStyle>
            <a:lvl1pPr>
              <a:defRPr>
                <a:noFill/>
              </a:defRPr>
            </a:lvl1pPr>
          </a:lstStyle>
          <a:p>
            <a:fld id="{49A25110-65A2-4B67-BF3F-8D6D3162EF46}" type="slidenum">
              <a:rPr lang="fi-FI" smtClean="0"/>
              <a:pPr/>
              <a:t>‹#›</a:t>
            </a:fld>
            <a:endParaRPr lang="fi-FI" dirty="0"/>
          </a:p>
        </p:txBody>
      </p:sp>
      <p:sp>
        <p:nvSpPr>
          <p:cNvPr id="12" name="Title 11"/>
          <p:cNvSpPr>
            <a:spLocks noGrp="1"/>
          </p:cNvSpPr>
          <p:nvPr>
            <p:ph type="title"/>
          </p:nvPr>
        </p:nvSpPr>
        <p:spPr>
          <a:xfrm>
            <a:off x="766764" y="692150"/>
            <a:ext cx="6913561" cy="864642"/>
          </a:xfrm>
        </p:spPr>
        <p:txBody>
          <a:bodyPr/>
          <a:lstStyle/>
          <a:p>
            <a:r>
              <a:rPr lang="en-US"/>
              <a:t>Click to edit Master title style</a:t>
            </a:r>
            <a:endParaRPr lang="fi-FI" dirty="0"/>
          </a:p>
        </p:txBody>
      </p:sp>
      <p:sp>
        <p:nvSpPr>
          <p:cNvPr id="13" name="Text Placeholder 7"/>
          <p:cNvSpPr>
            <a:spLocks noGrp="1"/>
          </p:cNvSpPr>
          <p:nvPr>
            <p:ph type="body" sz="quarter" idx="13"/>
          </p:nvPr>
        </p:nvSpPr>
        <p:spPr>
          <a:xfrm>
            <a:off x="334964" y="260350"/>
            <a:ext cx="7345362" cy="184666"/>
          </a:xfrm>
        </p:spPr>
        <p:txBody>
          <a:bodyPr wrap="square">
            <a:spAutoFit/>
          </a:bodyPr>
          <a:lstStyle>
            <a:lvl1pPr marL="0" indent="0">
              <a:buFontTx/>
              <a:buNone/>
              <a:defRPr sz="1200">
                <a:solidFill>
                  <a:srgbClr val="686768"/>
                </a:solidFill>
              </a:defRPr>
            </a:lvl1pPr>
            <a:lvl2pPr marL="0" indent="0">
              <a:buFontTx/>
              <a:buNone/>
              <a:defRPr sz="1200"/>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a:t>Click to edit Master text styles</a:t>
            </a:r>
          </a:p>
        </p:txBody>
      </p:sp>
    </p:spTree>
    <p:extLst>
      <p:ext uri="{BB962C8B-B14F-4D97-AF65-F5344CB8AC3E}">
        <p14:creationId xmlns:p14="http://schemas.microsoft.com/office/powerpoint/2010/main" val="2904581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ntent and three pictures">
    <p:spTree>
      <p:nvGrpSpPr>
        <p:cNvPr id="1" name=""/>
        <p:cNvGrpSpPr/>
        <p:nvPr/>
      </p:nvGrpSpPr>
      <p:grpSpPr>
        <a:xfrm>
          <a:off x="0" y="0"/>
          <a:ext cx="0" cy="0"/>
          <a:chOff x="0" y="0"/>
          <a:chExt cx="0" cy="0"/>
        </a:xfrm>
      </p:grpSpPr>
      <p:sp>
        <p:nvSpPr>
          <p:cNvPr id="3" name="Content Placeholder 2"/>
          <p:cNvSpPr>
            <a:spLocks noGrp="1"/>
          </p:cNvSpPr>
          <p:nvPr>
            <p:ph idx="1"/>
          </p:nvPr>
        </p:nvSpPr>
        <p:spPr>
          <a:xfrm>
            <a:off x="766764" y="1773238"/>
            <a:ext cx="6913561"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8" name="Picture Placeholder 7"/>
          <p:cNvSpPr>
            <a:spLocks noGrp="1"/>
          </p:cNvSpPr>
          <p:nvPr>
            <p:ph type="pic" sz="quarter" idx="15"/>
          </p:nvPr>
        </p:nvSpPr>
        <p:spPr>
          <a:xfrm>
            <a:off x="8183563" y="1"/>
            <a:ext cx="4008437" cy="2204864"/>
          </a:xfrm>
          <a:solidFill>
            <a:schemeClr val="bg1">
              <a:lumMod val="95000"/>
            </a:schemeClr>
          </a:solidFill>
        </p:spPr>
        <p:txBody>
          <a:bodyPr/>
          <a:lstStyle>
            <a:lvl1pPr marL="0" indent="0">
              <a:buFontTx/>
              <a:buNone/>
              <a:defRPr sz="1000"/>
            </a:lvl1pPr>
          </a:lstStyle>
          <a:p>
            <a:r>
              <a:rPr lang="en-US"/>
              <a:t>Click icon to add picture</a:t>
            </a:r>
            <a:endParaRPr lang="fi-FI"/>
          </a:p>
        </p:txBody>
      </p:sp>
      <p:sp>
        <p:nvSpPr>
          <p:cNvPr id="9" name="Picture Placeholder 7"/>
          <p:cNvSpPr>
            <a:spLocks noGrp="1"/>
          </p:cNvSpPr>
          <p:nvPr>
            <p:ph type="pic" sz="quarter" idx="16"/>
          </p:nvPr>
        </p:nvSpPr>
        <p:spPr>
          <a:xfrm>
            <a:off x="8183563" y="2348881"/>
            <a:ext cx="4008437" cy="2160240"/>
          </a:xfrm>
          <a:solidFill>
            <a:schemeClr val="bg1">
              <a:lumMod val="95000"/>
            </a:schemeClr>
          </a:solidFill>
        </p:spPr>
        <p:txBody>
          <a:bodyPr/>
          <a:lstStyle>
            <a:lvl1pPr marL="0" indent="0">
              <a:buFontTx/>
              <a:buNone/>
              <a:defRPr sz="1000"/>
            </a:lvl1pPr>
          </a:lstStyle>
          <a:p>
            <a:r>
              <a:rPr lang="en-US"/>
              <a:t>Click icon to add picture</a:t>
            </a:r>
            <a:endParaRPr lang="fi-FI"/>
          </a:p>
        </p:txBody>
      </p:sp>
      <p:sp>
        <p:nvSpPr>
          <p:cNvPr id="10" name="Picture Placeholder 7"/>
          <p:cNvSpPr>
            <a:spLocks noGrp="1"/>
          </p:cNvSpPr>
          <p:nvPr>
            <p:ph type="pic" sz="quarter" idx="17"/>
          </p:nvPr>
        </p:nvSpPr>
        <p:spPr>
          <a:xfrm>
            <a:off x="8183563" y="4653136"/>
            <a:ext cx="4008437" cy="2200517"/>
          </a:xfrm>
          <a:solidFill>
            <a:schemeClr val="bg1">
              <a:lumMod val="95000"/>
            </a:schemeClr>
          </a:solidFill>
        </p:spPr>
        <p:txBody>
          <a:bodyPr/>
          <a:lstStyle>
            <a:lvl1pPr marL="0" indent="0">
              <a:buFontTx/>
              <a:buNone/>
              <a:defRPr sz="1000"/>
            </a:lvl1pPr>
          </a:lstStyle>
          <a:p>
            <a:r>
              <a:rPr lang="en-US"/>
              <a:t>Click icon to add picture</a:t>
            </a:r>
            <a:endParaRPr lang="fi-FI"/>
          </a:p>
        </p:txBody>
      </p:sp>
      <p:sp>
        <p:nvSpPr>
          <p:cNvPr id="2" name="Title 1"/>
          <p:cNvSpPr>
            <a:spLocks noGrp="1"/>
          </p:cNvSpPr>
          <p:nvPr>
            <p:ph type="title"/>
          </p:nvPr>
        </p:nvSpPr>
        <p:spPr>
          <a:xfrm>
            <a:off x="766764" y="692150"/>
            <a:ext cx="6913561" cy="864642"/>
          </a:xfrm>
        </p:spPr>
        <p:txBody>
          <a:bodyPr/>
          <a:lstStyle/>
          <a:p>
            <a:r>
              <a:rPr lang="en-US"/>
              <a:t>Click to edit Master title style</a:t>
            </a:r>
            <a:endParaRPr lang="fi-FI" dirty="0"/>
          </a:p>
        </p:txBody>
      </p:sp>
      <p:sp>
        <p:nvSpPr>
          <p:cNvPr id="11" name="Date Placeholder 10"/>
          <p:cNvSpPr>
            <a:spLocks noGrp="1"/>
          </p:cNvSpPr>
          <p:nvPr>
            <p:ph type="dt" sz="half" idx="18"/>
          </p:nvPr>
        </p:nvSpPr>
        <p:spPr/>
        <p:txBody>
          <a:bodyPr/>
          <a:lstStyle/>
          <a:p>
            <a:fld id="{A25CC2C9-1C0E-47D0-AEFE-63C374E4A9E0}" type="datetime1">
              <a:rPr lang="en-GB" smtClean="0"/>
              <a:t>22/10/2025</a:t>
            </a:fld>
            <a:endParaRPr lang="fi-FI" dirty="0"/>
          </a:p>
        </p:txBody>
      </p:sp>
      <p:sp>
        <p:nvSpPr>
          <p:cNvPr id="12" name="Footer Placeholder 11"/>
          <p:cNvSpPr>
            <a:spLocks noGrp="1"/>
          </p:cNvSpPr>
          <p:nvPr>
            <p:ph type="ftr" sz="quarter" idx="19"/>
          </p:nvPr>
        </p:nvSpPr>
        <p:spPr/>
        <p:txBody>
          <a:bodyPr/>
          <a:lstStyle/>
          <a:p>
            <a:r>
              <a:rPr lang="fi-FI"/>
              <a:t>Presentation name / Author</a:t>
            </a:r>
            <a:endParaRPr lang="fi-FI" dirty="0"/>
          </a:p>
        </p:txBody>
      </p:sp>
      <p:sp>
        <p:nvSpPr>
          <p:cNvPr id="13" name="Slide Number Placeholder 12"/>
          <p:cNvSpPr>
            <a:spLocks noGrp="1"/>
          </p:cNvSpPr>
          <p:nvPr>
            <p:ph type="sldNum" sz="quarter" idx="20"/>
          </p:nvPr>
        </p:nvSpPr>
        <p:spPr/>
        <p:txBody>
          <a:bodyPr/>
          <a:lstStyle>
            <a:lvl1pPr>
              <a:defRPr>
                <a:noFill/>
              </a:defRPr>
            </a:lvl1pPr>
          </a:lstStyle>
          <a:p>
            <a:fld id="{49A25110-65A2-4B67-BF3F-8D6D3162EF46}" type="slidenum">
              <a:rPr lang="fi-FI" smtClean="0"/>
              <a:pPr/>
              <a:t>‹#›</a:t>
            </a:fld>
            <a:endParaRPr lang="fi-FI" dirty="0"/>
          </a:p>
        </p:txBody>
      </p:sp>
      <p:sp>
        <p:nvSpPr>
          <p:cNvPr id="14" name="Text Placeholder 7"/>
          <p:cNvSpPr>
            <a:spLocks noGrp="1"/>
          </p:cNvSpPr>
          <p:nvPr>
            <p:ph type="body" sz="quarter" idx="13"/>
          </p:nvPr>
        </p:nvSpPr>
        <p:spPr>
          <a:xfrm>
            <a:off x="334964" y="260350"/>
            <a:ext cx="7345362" cy="184666"/>
          </a:xfrm>
        </p:spPr>
        <p:txBody>
          <a:bodyPr wrap="square">
            <a:spAutoFit/>
          </a:bodyPr>
          <a:lstStyle>
            <a:lvl1pPr marL="0" indent="0">
              <a:buFontTx/>
              <a:buNone/>
              <a:defRPr sz="1200">
                <a:solidFill>
                  <a:srgbClr val="686768"/>
                </a:solidFill>
              </a:defRPr>
            </a:lvl1pPr>
            <a:lvl2pPr marL="0" indent="0">
              <a:buFontTx/>
              <a:buNone/>
              <a:defRPr sz="1200"/>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a:t>Click to edit Master text styles</a:t>
            </a:r>
          </a:p>
        </p:txBody>
      </p:sp>
    </p:spTree>
    <p:extLst>
      <p:ext uri="{BB962C8B-B14F-4D97-AF65-F5344CB8AC3E}">
        <p14:creationId xmlns:p14="http://schemas.microsoft.com/office/powerpoint/2010/main" val="2200140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Ingress / quot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17BAFCE9-2058-4A67-ABB3-D3F6F25E3C1C}" type="datetime1">
              <a:rPr lang="en-GB" smtClean="0"/>
              <a:t>22/10/2025</a:t>
            </a:fld>
            <a:endParaRPr lang="fi-FI" dirty="0"/>
          </a:p>
        </p:txBody>
      </p:sp>
      <p:sp>
        <p:nvSpPr>
          <p:cNvPr id="5" name="Footer Placeholder 4"/>
          <p:cNvSpPr>
            <a:spLocks noGrp="1"/>
          </p:cNvSpPr>
          <p:nvPr>
            <p:ph type="ftr" sz="quarter" idx="11"/>
          </p:nvPr>
        </p:nvSpPr>
        <p:spPr/>
        <p:txBody>
          <a:bodyPr/>
          <a:lstStyle/>
          <a:p>
            <a:r>
              <a:rPr lang="fi-FI"/>
              <a:t>Presentation name / Author</a:t>
            </a:r>
          </a:p>
        </p:txBody>
      </p:sp>
      <p:sp>
        <p:nvSpPr>
          <p:cNvPr id="6" name="Slide Number Placeholder 5"/>
          <p:cNvSpPr>
            <a:spLocks noGrp="1"/>
          </p:cNvSpPr>
          <p:nvPr>
            <p:ph type="sldNum" sz="quarter" idx="12"/>
          </p:nvPr>
        </p:nvSpPr>
        <p:spPr/>
        <p:txBody>
          <a:bodyPr/>
          <a:lstStyle/>
          <a:p>
            <a:fld id="{49A25110-65A2-4B67-BF3F-8D6D3162EF46}" type="slidenum">
              <a:rPr lang="fi-FI" smtClean="0"/>
              <a:t>‹#›</a:t>
            </a:fld>
            <a:endParaRPr lang="fi-FI"/>
          </a:p>
        </p:txBody>
      </p:sp>
      <p:sp>
        <p:nvSpPr>
          <p:cNvPr id="9" name="Text Placeholder 8"/>
          <p:cNvSpPr>
            <a:spLocks noGrp="1"/>
          </p:cNvSpPr>
          <p:nvPr>
            <p:ph type="body" sz="quarter" idx="13"/>
          </p:nvPr>
        </p:nvSpPr>
        <p:spPr>
          <a:xfrm>
            <a:off x="766763" y="692150"/>
            <a:ext cx="10658475" cy="5257800"/>
          </a:xfrm>
        </p:spPr>
        <p:txBody>
          <a:bodyPr/>
          <a:lstStyle>
            <a:lvl1pPr marL="0" indent="0" algn="l">
              <a:spcBef>
                <a:spcPts val="0"/>
              </a:spcBef>
              <a:buFontTx/>
              <a:buNone/>
              <a:defRPr sz="4000"/>
            </a:lvl1pPr>
            <a:lvl2pPr marL="0" indent="0" algn="l">
              <a:spcBef>
                <a:spcPts val="0"/>
              </a:spcBef>
              <a:buFontTx/>
              <a:buNone/>
              <a:defRPr sz="4000"/>
            </a:lvl2pPr>
            <a:lvl3pPr marL="0" indent="0" algn="l">
              <a:spcBef>
                <a:spcPts val="0"/>
              </a:spcBef>
              <a:buFontTx/>
              <a:buNone/>
              <a:defRPr sz="4000"/>
            </a:lvl3pPr>
            <a:lvl4pPr marL="0" indent="0" algn="l">
              <a:spcBef>
                <a:spcPts val="0"/>
              </a:spcBef>
              <a:buFontTx/>
              <a:buNone/>
              <a:defRPr sz="4000"/>
            </a:lvl4pPr>
            <a:lvl5pPr marL="0" indent="0" algn="l">
              <a:spcBef>
                <a:spcPts val="0"/>
              </a:spcBef>
              <a:buFontTx/>
              <a:buNone/>
              <a:defRPr sz="4000"/>
            </a:lvl5pPr>
            <a:lvl6pPr marL="0" indent="0" algn="l">
              <a:spcBef>
                <a:spcPts val="0"/>
              </a:spcBef>
              <a:buFontTx/>
              <a:buNone/>
              <a:defRPr sz="4000"/>
            </a:lvl6pPr>
            <a:lvl7pPr marL="0" indent="0" algn="l">
              <a:spcBef>
                <a:spcPts val="0"/>
              </a:spcBef>
              <a:buFontTx/>
              <a:buNone/>
              <a:defRPr sz="4000"/>
            </a:lvl7pPr>
            <a:lvl8pPr marL="0" indent="0" algn="l">
              <a:spcBef>
                <a:spcPts val="0"/>
              </a:spcBef>
              <a:buFontTx/>
              <a:buNone/>
              <a:defRPr sz="4000"/>
            </a:lvl8pPr>
            <a:lvl9pPr marL="0" indent="0" algn="l">
              <a:spcBef>
                <a:spcPts val="0"/>
              </a:spcBef>
              <a:buFontTx/>
              <a:buNone/>
              <a:defRPr sz="4000"/>
            </a:lvl9pPr>
          </a:lstStyle>
          <a:p>
            <a:pPr lvl="0"/>
            <a:r>
              <a:rPr lang="en-US"/>
              <a:t>Click to edit Master text styles</a:t>
            </a:r>
          </a:p>
        </p:txBody>
      </p:sp>
    </p:spTree>
    <p:extLst>
      <p:ext uri="{BB962C8B-B14F-4D97-AF65-F5344CB8AC3E}">
        <p14:creationId xmlns:p14="http://schemas.microsoft.com/office/powerpoint/2010/main" val="3297545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icture, ligh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F870A2AE-0DAD-4208-996B-E7D91FF82B3D}" type="datetime1">
              <a:rPr lang="en-GB" smtClean="0"/>
              <a:pPr/>
              <a:t>22/10/2025</a:t>
            </a:fld>
            <a:endParaRPr lang="fi-FI"/>
          </a:p>
        </p:txBody>
      </p:sp>
      <p:sp>
        <p:nvSpPr>
          <p:cNvPr id="3" name="Footer Placeholder 2"/>
          <p:cNvSpPr>
            <a:spLocks noGrp="1"/>
          </p:cNvSpPr>
          <p:nvPr>
            <p:ph type="ftr" sz="quarter" idx="11"/>
          </p:nvPr>
        </p:nvSpPr>
        <p:spPr/>
        <p:txBody>
          <a:bodyPr/>
          <a:lstStyle>
            <a:lvl1pPr>
              <a:defRPr>
                <a:noFill/>
              </a:defRPr>
            </a:lvl1pPr>
          </a:lstStyle>
          <a:p>
            <a:r>
              <a:rPr lang="fi-FI"/>
              <a:t>Presentation name / Author</a:t>
            </a:r>
          </a:p>
        </p:txBody>
      </p:sp>
      <p:sp>
        <p:nvSpPr>
          <p:cNvPr id="4" name="Slide Number Placeholder 3"/>
          <p:cNvSpPr>
            <a:spLocks noGrp="1"/>
          </p:cNvSpPr>
          <p:nvPr>
            <p:ph type="sldNum" sz="quarter" idx="12"/>
          </p:nvPr>
        </p:nvSpPr>
        <p:spPr/>
        <p:txBody>
          <a:bodyPr/>
          <a:lstStyle>
            <a:lvl1pPr>
              <a:defRPr>
                <a:noFill/>
              </a:defRPr>
            </a:lvl1pPr>
          </a:lstStyle>
          <a:p>
            <a:fld id="{49A25110-65A2-4B67-BF3F-8D6D3162EF46}" type="slidenum">
              <a:rPr lang="fi-FI" smtClean="0"/>
              <a:pPr/>
              <a:t>‹#›</a:t>
            </a:fld>
            <a:endParaRPr lang="fi-FI"/>
          </a:p>
        </p:txBody>
      </p:sp>
      <p:sp>
        <p:nvSpPr>
          <p:cNvPr id="6" name="Picture Placeholder 5"/>
          <p:cNvSpPr>
            <a:spLocks noGrp="1"/>
          </p:cNvSpPr>
          <p:nvPr>
            <p:ph type="pic" sz="quarter" idx="13"/>
          </p:nvPr>
        </p:nvSpPr>
        <p:spPr>
          <a:xfrm>
            <a:off x="0" y="0"/>
            <a:ext cx="12192000" cy="6858000"/>
          </a:xfrm>
          <a:solidFill>
            <a:schemeClr val="bg1">
              <a:lumMod val="95000"/>
            </a:schemeClr>
          </a:solidFill>
        </p:spPr>
        <p:txBody>
          <a:bodyPr/>
          <a:lstStyle>
            <a:lvl1pPr marL="0" indent="0">
              <a:buFontTx/>
              <a:buNone/>
              <a:defRPr sz="1000"/>
            </a:lvl1pPr>
          </a:lstStyle>
          <a:p>
            <a:r>
              <a:rPr lang="en-US"/>
              <a:t>Click icon to add picture</a:t>
            </a:r>
            <a:endParaRPr lang="fi-FI"/>
          </a:p>
        </p:txBody>
      </p:sp>
      <p:sp>
        <p:nvSpPr>
          <p:cNvPr id="8" name="Text Placeholder 2">
            <a:extLst>
              <a:ext uri="{FF2B5EF4-FFF2-40B4-BE49-F238E27FC236}">
                <a16:creationId xmlns:a16="http://schemas.microsoft.com/office/drawing/2014/main" id="{6C5FF6C6-42D8-48C8-B956-4AC37847D8B9}"/>
              </a:ext>
            </a:extLst>
          </p:cNvPr>
          <p:cNvSpPr>
            <a:spLocks noGrp="1" noChangeAspect="1"/>
          </p:cNvSpPr>
          <p:nvPr>
            <p:ph type="body" sz="quarter" idx="22"/>
          </p:nvPr>
        </p:nvSpPr>
        <p:spPr>
          <a:xfrm>
            <a:off x="335360" y="6093296"/>
            <a:ext cx="1243542" cy="432000"/>
          </a:xfrm>
          <a:blipFill>
            <a:blip r:embed="rId2"/>
            <a:stretch>
              <a:fillRect/>
            </a:stretch>
          </a:blipFill>
        </p:spPr>
        <p:txBody>
          <a:bodyPr/>
          <a:lstStyle>
            <a:lvl1pPr>
              <a:defRPr sz="100">
                <a:noFill/>
              </a:defRPr>
            </a:lvl1pPr>
          </a:lstStyle>
          <a:p>
            <a:pPr lvl="0"/>
            <a:r>
              <a:rPr lang="en-US"/>
              <a:t>Click to edit Master text styles</a:t>
            </a:r>
          </a:p>
        </p:txBody>
      </p:sp>
    </p:spTree>
    <p:extLst>
      <p:ext uri="{BB962C8B-B14F-4D97-AF65-F5344CB8AC3E}">
        <p14:creationId xmlns:p14="http://schemas.microsoft.com/office/powerpoint/2010/main" val="2487975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icture, dar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F870A2AE-0DAD-4208-996B-E7D91FF82B3D}" type="datetime1">
              <a:rPr lang="en-GB" smtClean="0"/>
              <a:pPr/>
              <a:t>22/10/2025</a:t>
            </a:fld>
            <a:endParaRPr lang="fi-FI"/>
          </a:p>
        </p:txBody>
      </p:sp>
      <p:sp>
        <p:nvSpPr>
          <p:cNvPr id="3" name="Footer Placeholder 2"/>
          <p:cNvSpPr>
            <a:spLocks noGrp="1"/>
          </p:cNvSpPr>
          <p:nvPr>
            <p:ph type="ftr" sz="quarter" idx="11"/>
          </p:nvPr>
        </p:nvSpPr>
        <p:spPr/>
        <p:txBody>
          <a:bodyPr/>
          <a:lstStyle>
            <a:lvl1pPr>
              <a:defRPr>
                <a:noFill/>
              </a:defRPr>
            </a:lvl1pPr>
          </a:lstStyle>
          <a:p>
            <a:r>
              <a:rPr lang="fi-FI"/>
              <a:t>Presentation name / Author</a:t>
            </a:r>
          </a:p>
        </p:txBody>
      </p:sp>
      <p:sp>
        <p:nvSpPr>
          <p:cNvPr id="4" name="Slide Number Placeholder 3"/>
          <p:cNvSpPr>
            <a:spLocks noGrp="1"/>
          </p:cNvSpPr>
          <p:nvPr>
            <p:ph type="sldNum" sz="quarter" idx="12"/>
          </p:nvPr>
        </p:nvSpPr>
        <p:spPr/>
        <p:txBody>
          <a:bodyPr/>
          <a:lstStyle>
            <a:lvl1pPr>
              <a:defRPr>
                <a:noFill/>
              </a:defRPr>
            </a:lvl1pPr>
          </a:lstStyle>
          <a:p>
            <a:fld id="{49A25110-65A2-4B67-BF3F-8D6D3162EF46}" type="slidenum">
              <a:rPr lang="fi-FI" smtClean="0"/>
              <a:pPr/>
              <a:t>‹#›</a:t>
            </a:fld>
            <a:endParaRPr lang="fi-FI"/>
          </a:p>
        </p:txBody>
      </p:sp>
      <p:sp>
        <p:nvSpPr>
          <p:cNvPr id="6" name="Picture Placeholder 5"/>
          <p:cNvSpPr>
            <a:spLocks noGrp="1"/>
          </p:cNvSpPr>
          <p:nvPr>
            <p:ph type="pic" sz="quarter" idx="13"/>
          </p:nvPr>
        </p:nvSpPr>
        <p:spPr>
          <a:xfrm>
            <a:off x="0" y="0"/>
            <a:ext cx="12192000" cy="6858000"/>
          </a:xfrm>
          <a:solidFill>
            <a:schemeClr val="accent2">
              <a:lumMod val="60000"/>
              <a:lumOff val="40000"/>
            </a:schemeClr>
          </a:solidFill>
        </p:spPr>
        <p:txBody>
          <a:bodyPr/>
          <a:lstStyle>
            <a:lvl1pPr marL="0" indent="0">
              <a:buFontTx/>
              <a:buNone/>
              <a:defRPr sz="1000">
                <a:solidFill>
                  <a:schemeClr val="bg1"/>
                </a:solidFill>
              </a:defRPr>
            </a:lvl1pPr>
          </a:lstStyle>
          <a:p>
            <a:r>
              <a:rPr lang="en-US"/>
              <a:t>Click icon to add picture</a:t>
            </a:r>
            <a:endParaRPr lang="fi-FI"/>
          </a:p>
        </p:txBody>
      </p:sp>
      <p:sp>
        <p:nvSpPr>
          <p:cNvPr id="7" name="Text Placeholder 2">
            <a:extLst>
              <a:ext uri="{FF2B5EF4-FFF2-40B4-BE49-F238E27FC236}">
                <a16:creationId xmlns:a16="http://schemas.microsoft.com/office/drawing/2014/main" id="{EDA497CE-609A-4B85-AA36-0C48F928E1E2}"/>
              </a:ext>
            </a:extLst>
          </p:cNvPr>
          <p:cNvSpPr>
            <a:spLocks noGrp="1" noChangeAspect="1"/>
          </p:cNvSpPr>
          <p:nvPr>
            <p:ph type="body" sz="quarter" idx="21"/>
          </p:nvPr>
        </p:nvSpPr>
        <p:spPr>
          <a:xfrm>
            <a:off x="335360" y="6093296"/>
            <a:ext cx="1243543" cy="432000"/>
          </a:xfrm>
          <a:blipFill>
            <a:blip r:embed="rId2"/>
            <a:stretch>
              <a:fillRect/>
            </a:stretch>
          </a:blipFill>
        </p:spPr>
        <p:txBody>
          <a:bodyPr/>
          <a:lstStyle>
            <a:lvl1pPr>
              <a:defRPr sz="100">
                <a:noFill/>
              </a:defRPr>
            </a:lvl1pPr>
          </a:lstStyle>
          <a:p>
            <a:pPr lvl="0"/>
            <a:r>
              <a:rPr lang="en-US"/>
              <a:t>Click to edit Master text styles</a:t>
            </a:r>
          </a:p>
        </p:txBody>
      </p:sp>
    </p:spTree>
    <p:extLst>
      <p:ext uri="{BB962C8B-B14F-4D97-AF65-F5344CB8AC3E}">
        <p14:creationId xmlns:p14="http://schemas.microsoft.com/office/powerpoint/2010/main" val="3741714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BA467EA-EEE2-4786-9A63-DEAB652D63EF}" type="datetime1">
              <a:rPr lang="en-GB" smtClean="0"/>
              <a:t>22/10/2025</a:t>
            </a:fld>
            <a:endParaRPr lang="fi-FI"/>
          </a:p>
        </p:txBody>
      </p:sp>
      <p:sp>
        <p:nvSpPr>
          <p:cNvPr id="4" name="Footer Placeholder 3"/>
          <p:cNvSpPr>
            <a:spLocks noGrp="1"/>
          </p:cNvSpPr>
          <p:nvPr>
            <p:ph type="ftr" sz="quarter" idx="11"/>
          </p:nvPr>
        </p:nvSpPr>
        <p:spPr/>
        <p:txBody>
          <a:bodyPr/>
          <a:lstStyle/>
          <a:p>
            <a:r>
              <a:rPr lang="fi-FI"/>
              <a:t>Presentation name / Author</a:t>
            </a:r>
          </a:p>
        </p:txBody>
      </p:sp>
      <p:sp>
        <p:nvSpPr>
          <p:cNvPr id="5" name="Slide Number Placeholder 4"/>
          <p:cNvSpPr>
            <a:spLocks noGrp="1"/>
          </p:cNvSpPr>
          <p:nvPr>
            <p:ph type="sldNum" sz="quarter" idx="12"/>
          </p:nvPr>
        </p:nvSpPr>
        <p:spPr/>
        <p:txBody>
          <a:bodyPr/>
          <a:lstStyle/>
          <a:p>
            <a:fld id="{49A25110-65A2-4B67-BF3F-8D6D3162EF46}" type="slidenum">
              <a:rPr lang="fi-FI" smtClean="0"/>
              <a:t>‹#›</a:t>
            </a:fld>
            <a:endParaRPr lang="fi-FI"/>
          </a:p>
        </p:txBody>
      </p:sp>
      <p:sp>
        <p:nvSpPr>
          <p:cNvPr id="2" name="Title 1"/>
          <p:cNvSpPr>
            <a:spLocks noGrp="1"/>
          </p:cNvSpPr>
          <p:nvPr>
            <p:ph type="title"/>
          </p:nvPr>
        </p:nvSpPr>
        <p:spPr/>
        <p:txBody>
          <a:bodyPr/>
          <a:lstStyle/>
          <a:p>
            <a:r>
              <a:rPr lang="en-US"/>
              <a:t>Click to edit Master title style</a:t>
            </a:r>
            <a:endParaRPr lang="fi-FI"/>
          </a:p>
        </p:txBody>
      </p:sp>
      <p:sp>
        <p:nvSpPr>
          <p:cNvPr id="6" name="Text Placeholder 7"/>
          <p:cNvSpPr>
            <a:spLocks noGrp="1"/>
          </p:cNvSpPr>
          <p:nvPr>
            <p:ph type="body" sz="quarter" idx="13"/>
          </p:nvPr>
        </p:nvSpPr>
        <p:spPr>
          <a:xfrm>
            <a:off x="334963" y="260350"/>
            <a:ext cx="11090275" cy="184666"/>
          </a:xfrm>
        </p:spPr>
        <p:txBody>
          <a:bodyPr wrap="square">
            <a:spAutoFit/>
          </a:bodyPr>
          <a:lstStyle>
            <a:lvl1pPr marL="0" indent="0">
              <a:buFontTx/>
              <a:buNone/>
              <a:defRPr sz="1200">
                <a:solidFill>
                  <a:srgbClr val="686768"/>
                </a:solidFill>
              </a:defRPr>
            </a:lvl1pPr>
            <a:lvl2pPr marL="0" indent="0">
              <a:buFontTx/>
              <a:buNone/>
              <a:defRPr sz="1200"/>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a:t>Click to edit Master text styles</a:t>
            </a:r>
          </a:p>
        </p:txBody>
      </p:sp>
    </p:spTree>
    <p:extLst>
      <p:ext uri="{BB962C8B-B14F-4D97-AF65-F5344CB8AC3E}">
        <p14:creationId xmlns:p14="http://schemas.microsoft.com/office/powerpoint/2010/main" val="1467106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4" name="Picture Placeholder 7">
            <a:extLst>
              <a:ext uri="{FF2B5EF4-FFF2-40B4-BE49-F238E27FC236}">
                <a16:creationId xmlns:a16="http://schemas.microsoft.com/office/drawing/2014/main" id="{35F968D9-1A74-F1CB-2FA1-691E5592AD88}"/>
              </a:ext>
            </a:extLst>
          </p:cNvPr>
          <p:cNvSpPr>
            <a:spLocks noGrp="1"/>
          </p:cNvSpPr>
          <p:nvPr>
            <p:ph type="pic" sz="quarter" idx="17"/>
          </p:nvPr>
        </p:nvSpPr>
        <p:spPr>
          <a:xfrm>
            <a:off x="6240016" y="0"/>
            <a:ext cx="5951984" cy="6858000"/>
          </a:xfrm>
          <a:solidFill>
            <a:schemeClr val="bg1">
              <a:lumMod val="95000"/>
            </a:schemeClr>
          </a:solidFill>
        </p:spPr>
        <p:txBody>
          <a:bodyPr/>
          <a:lstStyle>
            <a:lvl1pPr marL="0" indent="0">
              <a:buFontTx/>
              <a:buNone/>
              <a:defRPr sz="1000"/>
            </a:lvl1pPr>
          </a:lstStyle>
          <a:p>
            <a:r>
              <a:rPr lang="en-US"/>
              <a:t>Click icon to add picture</a:t>
            </a:r>
            <a:endParaRPr lang="fi-FI" dirty="0"/>
          </a:p>
        </p:txBody>
      </p:sp>
      <p:sp>
        <p:nvSpPr>
          <p:cNvPr id="8" name="Text Placeholder 7"/>
          <p:cNvSpPr>
            <a:spLocks noGrp="1"/>
          </p:cNvSpPr>
          <p:nvPr>
            <p:ph type="body" sz="quarter" idx="13" hasCustomPrompt="1"/>
          </p:nvPr>
        </p:nvSpPr>
        <p:spPr>
          <a:xfrm>
            <a:off x="766764" y="5949950"/>
            <a:ext cx="4537148" cy="215354"/>
          </a:xfrm>
        </p:spPr>
        <p:txBody>
          <a:bodyPr vert="horz" lIns="0" tIns="0" rIns="0" bIns="0" rtlCol="0" anchor="b" anchorCtr="0">
            <a:noAutofit/>
          </a:bodyPr>
          <a:lstStyle>
            <a:lvl1pPr marL="0" indent="0">
              <a:lnSpc>
                <a:spcPct val="95000"/>
              </a:lnSpc>
              <a:spcBef>
                <a:spcPts val="0"/>
              </a:spcBef>
              <a:buFontTx/>
              <a:buNone/>
              <a:defRPr lang="fi-FI" sz="1600" spc="40" baseline="0" dirty="0">
                <a:solidFill>
                  <a:schemeClr val="tx1"/>
                </a:solidFill>
              </a:defRPr>
            </a:lvl1pPr>
          </a:lstStyle>
          <a:p>
            <a:pPr marL="0" marR="0" lvl="0" indent="0" algn="l" defTabSz="1219170" rtl="0" eaLnBrk="1" fontAlgn="auto" latinLnBrk="0" hangingPunct="1">
              <a:lnSpc>
                <a:spcPct val="95000"/>
              </a:lnSpc>
              <a:spcBef>
                <a:spcPts val="0"/>
              </a:spcBef>
              <a:spcAft>
                <a:spcPts val="0"/>
              </a:spcAft>
              <a:buClr>
                <a:schemeClr val="tx1"/>
              </a:buClr>
              <a:buSzTx/>
              <a:buFontTx/>
              <a:buNone/>
              <a:tabLst/>
              <a:defRPr/>
            </a:pPr>
            <a:r>
              <a:rPr lang="en-US" dirty="0"/>
              <a:t>Date / Author</a:t>
            </a:r>
            <a:endParaRPr lang="fi-FI" dirty="0"/>
          </a:p>
        </p:txBody>
      </p:sp>
      <p:sp>
        <p:nvSpPr>
          <p:cNvPr id="2" name="Title 1"/>
          <p:cNvSpPr>
            <a:spLocks noGrp="1"/>
          </p:cNvSpPr>
          <p:nvPr>
            <p:ph type="ctrTitle"/>
          </p:nvPr>
        </p:nvSpPr>
        <p:spPr>
          <a:xfrm>
            <a:off x="766764" y="1773238"/>
            <a:ext cx="4681164" cy="1943794"/>
          </a:xfrm>
        </p:spPr>
        <p:txBody>
          <a:bodyPr anchor="b" anchorCtr="0"/>
          <a:lstStyle>
            <a:lvl1pPr>
              <a:lnSpc>
                <a:spcPct val="95000"/>
              </a:lnSpc>
              <a:defRPr sz="4400" b="0" spc="0" baseline="0">
                <a:solidFill>
                  <a:schemeClr val="tx1"/>
                </a:solidFill>
              </a:defRPr>
            </a:lvl1pPr>
          </a:lstStyle>
          <a:p>
            <a:r>
              <a:rPr lang="en-US"/>
              <a:t>Click to edit Master title style</a:t>
            </a:r>
            <a:endParaRPr lang="fi-FI" dirty="0"/>
          </a:p>
        </p:txBody>
      </p:sp>
      <p:sp>
        <p:nvSpPr>
          <p:cNvPr id="3" name="Subtitle 2"/>
          <p:cNvSpPr>
            <a:spLocks noGrp="1"/>
          </p:cNvSpPr>
          <p:nvPr>
            <p:ph type="subTitle" idx="1"/>
          </p:nvPr>
        </p:nvSpPr>
        <p:spPr>
          <a:xfrm>
            <a:off x="766763" y="3933055"/>
            <a:ext cx="4681164" cy="936105"/>
          </a:xfrm>
        </p:spPr>
        <p:txBody>
          <a:bodyPr/>
          <a:lstStyle>
            <a:lvl1pPr marL="0" indent="0" algn="l">
              <a:lnSpc>
                <a:spcPct val="95000"/>
              </a:lnSpc>
              <a:spcBef>
                <a:spcPts val="0"/>
              </a:spcBef>
              <a:buNone/>
              <a:defRPr b="0" spc="-40" baseline="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fi-FI" dirty="0"/>
          </a:p>
        </p:txBody>
      </p:sp>
      <p:sp>
        <p:nvSpPr>
          <p:cNvPr id="9" name="Date Placeholder 8"/>
          <p:cNvSpPr>
            <a:spLocks noGrp="1"/>
          </p:cNvSpPr>
          <p:nvPr>
            <p:ph type="dt" sz="half" idx="14"/>
          </p:nvPr>
        </p:nvSpPr>
        <p:spPr/>
        <p:txBody>
          <a:bodyPr/>
          <a:lstStyle>
            <a:lvl1pPr>
              <a:defRPr>
                <a:noFill/>
              </a:defRPr>
            </a:lvl1pPr>
          </a:lstStyle>
          <a:p>
            <a:fld id="{A06CA5E9-B2BF-4462-83F1-3DD4D6BFB3CF}" type="datetime1">
              <a:rPr lang="en-GB" smtClean="0"/>
              <a:t>22/10/2025</a:t>
            </a:fld>
            <a:endParaRPr lang="fi-FI" dirty="0"/>
          </a:p>
        </p:txBody>
      </p:sp>
      <p:sp>
        <p:nvSpPr>
          <p:cNvPr id="10" name="Footer Placeholder 9"/>
          <p:cNvSpPr>
            <a:spLocks noGrp="1"/>
          </p:cNvSpPr>
          <p:nvPr>
            <p:ph type="ftr" sz="quarter" idx="15"/>
          </p:nvPr>
        </p:nvSpPr>
        <p:spPr/>
        <p:txBody>
          <a:bodyPr/>
          <a:lstStyle>
            <a:lvl1pPr>
              <a:defRPr>
                <a:noFill/>
              </a:defRPr>
            </a:lvl1pPr>
          </a:lstStyle>
          <a:p>
            <a:r>
              <a:rPr lang="fi-FI"/>
              <a:t>Presentation name / Author</a:t>
            </a:r>
            <a:endParaRPr lang="fi-FI" dirty="0"/>
          </a:p>
        </p:txBody>
      </p:sp>
      <p:sp>
        <p:nvSpPr>
          <p:cNvPr id="11" name="Slide Number Placeholder 10"/>
          <p:cNvSpPr>
            <a:spLocks noGrp="1"/>
          </p:cNvSpPr>
          <p:nvPr>
            <p:ph type="sldNum" sz="quarter" idx="16"/>
          </p:nvPr>
        </p:nvSpPr>
        <p:spPr/>
        <p:txBody>
          <a:bodyPr/>
          <a:lstStyle>
            <a:lvl1pPr>
              <a:defRPr>
                <a:noFill/>
              </a:defRPr>
            </a:lvl1pPr>
          </a:lstStyle>
          <a:p>
            <a:fld id="{49A25110-65A2-4B67-BF3F-8D6D3162EF46}" type="slidenum">
              <a:rPr lang="fi-FI" smtClean="0"/>
              <a:pPr/>
              <a:t>‹#›</a:t>
            </a:fld>
            <a:endParaRPr lang="fi-FI" dirty="0"/>
          </a:p>
        </p:txBody>
      </p:sp>
      <p:grpSp>
        <p:nvGrpSpPr>
          <p:cNvPr id="15" name="Group 14"/>
          <p:cNvGrpSpPr>
            <a:grpSpLocks noChangeAspect="1"/>
          </p:cNvGrpSpPr>
          <p:nvPr/>
        </p:nvGrpSpPr>
        <p:grpSpPr>
          <a:xfrm>
            <a:off x="457407" y="404776"/>
            <a:ext cx="2902289" cy="1008000"/>
            <a:chOff x="3279775" y="2451101"/>
            <a:chExt cx="5640388" cy="1958974"/>
          </a:xfrm>
          <a:solidFill>
            <a:schemeClr val="accent1"/>
          </a:solidFill>
        </p:grpSpPr>
        <p:sp>
          <p:nvSpPr>
            <p:cNvPr id="16" name="Freeform 6"/>
            <p:cNvSpPr>
              <a:spLocks/>
            </p:cNvSpPr>
            <p:nvPr/>
          </p:nvSpPr>
          <p:spPr bwMode="auto">
            <a:xfrm>
              <a:off x="3279775" y="2451101"/>
              <a:ext cx="1838325" cy="1944687"/>
            </a:xfrm>
            <a:custGeom>
              <a:avLst/>
              <a:gdLst>
                <a:gd name="T0" fmla="*/ 978 w 1158"/>
                <a:gd name="T1" fmla="*/ 608 h 1225"/>
                <a:gd name="T2" fmla="*/ 974 w 1158"/>
                <a:gd name="T3" fmla="*/ 610 h 1225"/>
                <a:gd name="T4" fmla="*/ 968 w 1158"/>
                <a:gd name="T5" fmla="*/ 608 h 1225"/>
                <a:gd name="T6" fmla="*/ 966 w 1158"/>
                <a:gd name="T7" fmla="*/ 134 h 1225"/>
                <a:gd name="T8" fmla="*/ 963 w 1158"/>
                <a:gd name="T9" fmla="*/ 128 h 1225"/>
                <a:gd name="T10" fmla="*/ 956 w 1158"/>
                <a:gd name="T11" fmla="*/ 128 h 1225"/>
                <a:gd name="T12" fmla="*/ 953 w 1158"/>
                <a:gd name="T13" fmla="*/ 132 h 1225"/>
                <a:gd name="T14" fmla="*/ 784 w 1158"/>
                <a:gd name="T15" fmla="*/ 603 h 1225"/>
                <a:gd name="T16" fmla="*/ 779 w 1158"/>
                <a:gd name="T17" fmla="*/ 607 h 1225"/>
                <a:gd name="T18" fmla="*/ 773 w 1158"/>
                <a:gd name="T19" fmla="*/ 605 h 1225"/>
                <a:gd name="T20" fmla="*/ 771 w 1158"/>
                <a:gd name="T21" fmla="*/ 466 h 1225"/>
                <a:gd name="T22" fmla="*/ 769 w 1158"/>
                <a:gd name="T23" fmla="*/ 461 h 1225"/>
                <a:gd name="T24" fmla="*/ 764 w 1158"/>
                <a:gd name="T25" fmla="*/ 459 h 1225"/>
                <a:gd name="T26" fmla="*/ 584 w 1158"/>
                <a:gd name="T27" fmla="*/ 614 h 1225"/>
                <a:gd name="T28" fmla="*/ 579 w 1158"/>
                <a:gd name="T29" fmla="*/ 616 h 1225"/>
                <a:gd name="T30" fmla="*/ 396 w 1158"/>
                <a:gd name="T31" fmla="*/ 461 h 1225"/>
                <a:gd name="T32" fmla="*/ 390 w 1158"/>
                <a:gd name="T33" fmla="*/ 460 h 1225"/>
                <a:gd name="T34" fmla="*/ 386 w 1158"/>
                <a:gd name="T35" fmla="*/ 464 h 1225"/>
                <a:gd name="T36" fmla="*/ 386 w 1158"/>
                <a:gd name="T37" fmla="*/ 603 h 1225"/>
                <a:gd name="T38" fmla="*/ 381 w 1158"/>
                <a:gd name="T39" fmla="*/ 607 h 1225"/>
                <a:gd name="T40" fmla="*/ 375 w 1158"/>
                <a:gd name="T41" fmla="*/ 605 h 1225"/>
                <a:gd name="T42" fmla="*/ 292 w 1158"/>
                <a:gd name="T43" fmla="*/ 378 h 1225"/>
                <a:gd name="T44" fmla="*/ 203 w 1158"/>
                <a:gd name="T45" fmla="*/ 130 h 1225"/>
                <a:gd name="T46" fmla="*/ 197 w 1158"/>
                <a:gd name="T47" fmla="*/ 128 h 1225"/>
                <a:gd name="T48" fmla="*/ 192 w 1158"/>
                <a:gd name="T49" fmla="*/ 132 h 1225"/>
                <a:gd name="T50" fmla="*/ 191 w 1158"/>
                <a:gd name="T51" fmla="*/ 606 h 1225"/>
                <a:gd name="T52" fmla="*/ 186 w 1158"/>
                <a:gd name="T53" fmla="*/ 610 h 1225"/>
                <a:gd name="T54" fmla="*/ 181 w 1158"/>
                <a:gd name="T55" fmla="*/ 609 h 1225"/>
                <a:gd name="T56" fmla="*/ 13 w 1158"/>
                <a:gd name="T57" fmla="*/ 5 h 1225"/>
                <a:gd name="T58" fmla="*/ 10 w 1158"/>
                <a:gd name="T59" fmla="*/ 1 h 1225"/>
                <a:gd name="T60" fmla="*/ 4 w 1158"/>
                <a:gd name="T61" fmla="*/ 1 h 1225"/>
                <a:gd name="T62" fmla="*/ 0 w 1158"/>
                <a:gd name="T63" fmla="*/ 7 h 1225"/>
                <a:gd name="T64" fmla="*/ 1 w 1158"/>
                <a:gd name="T65" fmla="*/ 552 h 1225"/>
                <a:gd name="T66" fmla="*/ 147 w 1158"/>
                <a:gd name="T67" fmla="*/ 644 h 1225"/>
                <a:gd name="T68" fmla="*/ 389 w 1158"/>
                <a:gd name="T69" fmla="*/ 646 h 1225"/>
                <a:gd name="T70" fmla="*/ 397 w 1158"/>
                <a:gd name="T71" fmla="*/ 649 h 1225"/>
                <a:gd name="T72" fmla="*/ 500 w 1158"/>
                <a:gd name="T73" fmla="*/ 909 h 1225"/>
                <a:gd name="T74" fmla="*/ 501 w 1158"/>
                <a:gd name="T75" fmla="*/ 917 h 1225"/>
                <a:gd name="T76" fmla="*/ 447 w 1158"/>
                <a:gd name="T77" fmla="*/ 1030 h 1225"/>
                <a:gd name="T78" fmla="*/ 519 w 1158"/>
                <a:gd name="T79" fmla="*/ 1218 h 1225"/>
                <a:gd name="T80" fmla="*/ 526 w 1158"/>
                <a:gd name="T81" fmla="*/ 1224 h 1225"/>
                <a:gd name="T82" fmla="*/ 629 w 1158"/>
                <a:gd name="T83" fmla="*/ 1225 h 1225"/>
                <a:gd name="T84" fmla="*/ 637 w 1158"/>
                <a:gd name="T85" fmla="*/ 1221 h 1225"/>
                <a:gd name="T86" fmla="*/ 710 w 1158"/>
                <a:gd name="T87" fmla="*/ 1036 h 1225"/>
                <a:gd name="T88" fmla="*/ 710 w 1158"/>
                <a:gd name="T89" fmla="*/ 1030 h 1225"/>
                <a:gd name="T90" fmla="*/ 657 w 1158"/>
                <a:gd name="T91" fmla="*/ 917 h 1225"/>
                <a:gd name="T92" fmla="*/ 758 w 1158"/>
                <a:gd name="T93" fmla="*/ 652 h 1225"/>
                <a:gd name="T94" fmla="*/ 765 w 1158"/>
                <a:gd name="T95" fmla="*/ 646 h 1225"/>
                <a:gd name="T96" fmla="*/ 1009 w 1158"/>
                <a:gd name="T97" fmla="*/ 645 h 1225"/>
                <a:gd name="T98" fmla="*/ 1155 w 1158"/>
                <a:gd name="T99" fmla="*/ 554 h 1225"/>
                <a:gd name="T100" fmla="*/ 1158 w 1158"/>
                <a:gd name="T101" fmla="*/ 549 h 1225"/>
                <a:gd name="T102" fmla="*/ 1158 w 1158"/>
                <a:gd name="T103" fmla="*/ 4 h 1225"/>
                <a:gd name="T104" fmla="*/ 1152 w 1158"/>
                <a:gd name="T105" fmla="*/ 0 h 1225"/>
                <a:gd name="T106" fmla="*/ 1146 w 1158"/>
                <a:gd name="T107" fmla="*/ 3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8" h="1225">
                  <a:moveTo>
                    <a:pt x="1145" y="5"/>
                  </a:moveTo>
                  <a:lnTo>
                    <a:pt x="979" y="605"/>
                  </a:lnTo>
                  <a:lnTo>
                    <a:pt x="978" y="608"/>
                  </a:lnTo>
                  <a:lnTo>
                    <a:pt x="977" y="608"/>
                  </a:lnTo>
                  <a:lnTo>
                    <a:pt x="976" y="609"/>
                  </a:lnTo>
                  <a:lnTo>
                    <a:pt x="974" y="610"/>
                  </a:lnTo>
                  <a:lnTo>
                    <a:pt x="972" y="610"/>
                  </a:lnTo>
                  <a:lnTo>
                    <a:pt x="970" y="609"/>
                  </a:lnTo>
                  <a:lnTo>
                    <a:pt x="968" y="608"/>
                  </a:lnTo>
                  <a:lnTo>
                    <a:pt x="967" y="606"/>
                  </a:lnTo>
                  <a:lnTo>
                    <a:pt x="966" y="603"/>
                  </a:lnTo>
                  <a:lnTo>
                    <a:pt x="966" y="134"/>
                  </a:lnTo>
                  <a:lnTo>
                    <a:pt x="966" y="132"/>
                  </a:lnTo>
                  <a:lnTo>
                    <a:pt x="964" y="130"/>
                  </a:lnTo>
                  <a:lnTo>
                    <a:pt x="963" y="128"/>
                  </a:lnTo>
                  <a:lnTo>
                    <a:pt x="961" y="128"/>
                  </a:lnTo>
                  <a:lnTo>
                    <a:pt x="958" y="128"/>
                  </a:lnTo>
                  <a:lnTo>
                    <a:pt x="956" y="128"/>
                  </a:lnTo>
                  <a:lnTo>
                    <a:pt x="955" y="129"/>
                  </a:lnTo>
                  <a:lnTo>
                    <a:pt x="955" y="130"/>
                  </a:lnTo>
                  <a:lnTo>
                    <a:pt x="953" y="132"/>
                  </a:lnTo>
                  <a:lnTo>
                    <a:pt x="916" y="240"/>
                  </a:lnTo>
                  <a:lnTo>
                    <a:pt x="865" y="378"/>
                  </a:lnTo>
                  <a:lnTo>
                    <a:pt x="784" y="603"/>
                  </a:lnTo>
                  <a:lnTo>
                    <a:pt x="782" y="605"/>
                  </a:lnTo>
                  <a:lnTo>
                    <a:pt x="781" y="606"/>
                  </a:lnTo>
                  <a:lnTo>
                    <a:pt x="779" y="607"/>
                  </a:lnTo>
                  <a:lnTo>
                    <a:pt x="776" y="607"/>
                  </a:lnTo>
                  <a:lnTo>
                    <a:pt x="774" y="606"/>
                  </a:lnTo>
                  <a:lnTo>
                    <a:pt x="773" y="605"/>
                  </a:lnTo>
                  <a:lnTo>
                    <a:pt x="772" y="603"/>
                  </a:lnTo>
                  <a:lnTo>
                    <a:pt x="771" y="600"/>
                  </a:lnTo>
                  <a:lnTo>
                    <a:pt x="771" y="466"/>
                  </a:lnTo>
                  <a:lnTo>
                    <a:pt x="771" y="464"/>
                  </a:lnTo>
                  <a:lnTo>
                    <a:pt x="770" y="462"/>
                  </a:lnTo>
                  <a:lnTo>
                    <a:pt x="769" y="461"/>
                  </a:lnTo>
                  <a:lnTo>
                    <a:pt x="767" y="460"/>
                  </a:lnTo>
                  <a:lnTo>
                    <a:pt x="766" y="459"/>
                  </a:lnTo>
                  <a:lnTo>
                    <a:pt x="764" y="459"/>
                  </a:lnTo>
                  <a:lnTo>
                    <a:pt x="762" y="460"/>
                  </a:lnTo>
                  <a:lnTo>
                    <a:pt x="761" y="461"/>
                  </a:lnTo>
                  <a:lnTo>
                    <a:pt x="584" y="614"/>
                  </a:lnTo>
                  <a:lnTo>
                    <a:pt x="583" y="615"/>
                  </a:lnTo>
                  <a:lnTo>
                    <a:pt x="581" y="615"/>
                  </a:lnTo>
                  <a:lnTo>
                    <a:pt x="579" y="616"/>
                  </a:lnTo>
                  <a:lnTo>
                    <a:pt x="576" y="615"/>
                  </a:lnTo>
                  <a:lnTo>
                    <a:pt x="573" y="614"/>
                  </a:lnTo>
                  <a:lnTo>
                    <a:pt x="396" y="461"/>
                  </a:lnTo>
                  <a:lnTo>
                    <a:pt x="393" y="459"/>
                  </a:lnTo>
                  <a:lnTo>
                    <a:pt x="391" y="460"/>
                  </a:lnTo>
                  <a:lnTo>
                    <a:pt x="390" y="460"/>
                  </a:lnTo>
                  <a:lnTo>
                    <a:pt x="388" y="461"/>
                  </a:lnTo>
                  <a:lnTo>
                    <a:pt x="387" y="462"/>
                  </a:lnTo>
                  <a:lnTo>
                    <a:pt x="386" y="464"/>
                  </a:lnTo>
                  <a:lnTo>
                    <a:pt x="386" y="466"/>
                  </a:lnTo>
                  <a:lnTo>
                    <a:pt x="386" y="601"/>
                  </a:lnTo>
                  <a:lnTo>
                    <a:pt x="386" y="603"/>
                  </a:lnTo>
                  <a:lnTo>
                    <a:pt x="384" y="605"/>
                  </a:lnTo>
                  <a:lnTo>
                    <a:pt x="383" y="606"/>
                  </a:lnTo>
                  <a:lnTo>
                    <a:pt x="381" y="607"/>
                  </a:lnTo>
                  <a:lnTo>
                    <a:pt x="379" y="607"/>
                  </a:lnTo>
                  <a:lnTo>
                    <a:pt x="377" y="606"/>
                  </a:lnTo>
                  <a:lnTo>
                    <a:pt x="375" y="605"/>
                  </a:lnTo>
                  <a:lnTo>
                    <a:pt x="374" y="603"/>
                  </a:lnTo>
                  <a:lnTo>
                    <a:pt x="340" y="511"/>
                  </a:lnTo>
                  <a:lnTo>
                    <a:pt x="292" y="378"/>
                  </a:lnTo>
                  <a:lnTo>
                    <a:pt x="242" y="240"/>
                  </a:lnTo>
                  <a:lnTo>
                    <a:pt x="205" y="132"/>
                  </a:lnTo>
                  <a:lnTo>
                    <a:pt x="203" y="130"/>
                  </a:lnTo>
                  <a:lnTo>
                    <a:pt x="202" y="128"/>
                  </a:lnTo>
                  <a:lnTo>
                    <a:pt x="200" y="128"/>
                  </a:lnTo>
                  <a:lnTo>
                    <a:pt x="197" y="128"/>
                  </a:lnTo>
                  <a:lnTo>
                    <a:pt x="195" y="128"/>
                  </a:lnTo>
                  <a:lnTo>
                    <a:pt x="194" y="130"/>
                  </a:lnTo>
                  <a:lnTo>
                    <a:pt x="192" y="132"/>
                  </a:lnTo>
                  <a:lnTo>
                    <a:pt x="192" y="134"/>
                  </a:lnTo>
                  <a:lnTo>
                    <a:pt x="192" y="604"/>
                  </a:lnTo>
                  <a:lnTo>
                    <a:pt x="191" y="606"/>
                  </a:lnTo>
                  <a:lnTo>
                    <a:pt x="190" y="608"/>
                  </a:lnTo>
                  <a:lnTo>
                    <a:pt x="188" y="609"/>
                  </a:lnTo>
                  <a:lnTo>
                    <a:pt x="186" y="610"/>
                  </a:lnTo>
                  <a:lnTo>
                    <a:pt x="184" y="610"/>
                  </a:lnTo>
                  <a:lnTo>
                    <a:pt x="182" y="609"/>
                  </a:lnTo>
                  <a:lnTo>
                    <a:pt x="181" y="609"/>
                  </a:lnTo>
                  <a:lnTo>
                    <a:pt x="180" y="608"/>
                  </a:lnTo>
                  <a:lnTo>
                    <a:pt x="179" y="605"/>
                  </a:lnTo>
                  <a:lnTo>
                    <a:pt x="13" y="5"/>
                  </a:lnTo>
                  <a:lnTo>
                    <a:pt x="12" y="3"/>
                  </a:lnTo>
                  <a:lnTo>
                    <a:pt x="11" y="2"/>
                  </a:lnTo>
                  <a:lnTo>
                    <a:pt x="10" y="1"/>
                  </a:lnTo>
                  <a:lnTo>
                    <a:pt x="8" y="1"/>
                  </a:lnTo>
                  <a:lnTo>
                    <a:pt x="6" y="0"/>
                  </a:lnTo>
                  <a:lnTo>
                    <a:pt x="4" y="1"/>
                  </a:lnTo>
                  <a:lnTo>
                    <a:pt x="2" y="3"/>
                  </a:lnTo>
                  <a:lnTo>
                    <a:pt x="1" y="4"/>
                  </a:lnTo>
                  <a:lnTo>
                    <a:pt x="0" y="7"/>
                  </a:lnTo>
                  <a:lnTo>
                    <a:pt x="0" y="546"/>
                  </a:lnTo>
                  <a:lnTo>
                    <a:pt x="0" y="549"/>
                  </a:lnTo>
                  <a:lnTo>
                    <a:pt x="1" y="552"/>
                  </a:lnTo>
                  <a:lnTo>
                    <a:pt x="3" y="554"/>
                  </a:lnTo>
                  <a:lnTo>
                    <a:pt x="5" y="555"/>
                  </a:lnTo>
                  <a:lnTo>
                    <a:pt x="147" y="644"/>
                  </a:lnTo>
                  <a:lnTo>
                    <a:pt x="150" y="645"/>
                  </a:lnTo>
                  <a:lnTo>
                    <a:pt x="153" y="646"/>
                  </a:lnTo>
                  <a:lnTo>
                    <a:pt x="389" y="646"/>
                  </a:lnTo>
                  <a:lnTo>
                    <a:pt x="392" y="646"/>
                  </a:lnTo>
                  <a:lnTo>
                    <a:pt x="395" y="647"/>
                  </a:lnTo>
                  <a:lnTo>
                    <a:pt x="397" y="649"/>
                  </a:lnTo>
                  <a:lnTo>
                    <a:pt x="398" y="651"/>
                  </a:lnTo>
                  <a:lnTo>
                    <a:pt x="399" y="652"/>
                  </a:lnTo>
                  <a:lnTo>
                    <a:pt x="500" y="909"/>
                  </a:lnTo>
                  <a:lnTo>
                    <a:pt x="501" y="912"/>
                  </a:lnTo>
                  <a:lnTo>
                    <a:pt x="501" y="914"/>
                  </a:lnTo>
                  <a:lnTo>
                    <a:pt x="501" y="917"/>
                  </a:lnTo>
                  <a:lnTo>
                    <a:pt x="500" y="920"/>
                  </a:lnTo>
                  <a:lnTo>
                    <a:pt x="448" y="1028"/>
                  </a:lnTo>
                  <a:lnTo>
                    <a:pt x="447" y="1030"/>
                  </a:lnTo>
                  <a:lnTo>
                    <a:pt x="447" y="1032"/>
                  </a:lnTo>
                  <a:lnTo>
                    <a:pt x="447" y="1036"/>
                  </a:lnTo>
                  <a:lnTo>
                    <a:pt x="519" y="1218"/>
                  </a:lnTo>
                  <a:lnTo>
                    <a:pt x="520" y="1221"/>
                  </a:lnTo>
                  <a:lnTo>
                    <a:pt x="523" y="1223"/>
                  </a:lnTo>
                  <a:lnTo>
                    <a:pt x="526" y="1224"/>
                  </a:lnTo>
                  <a:lnTo>
                    <a:pt x="529" y="1225"/>
                  </a:lnTo>
                  <a:lnTo>
                    <a:pt x="579" y="1225"/>
                  </a:lnTo>
                  <a:lnTo>
                    <a:pt x="629" y="1225"/>
                  </a:lnTo>
                  <a:lnTo>
                    <a:pt x="632" y="1224"/>
                  </a:lnTo>
                  <a:lnTo>
                    <a:pt x="635" y="1223"/>
                  </a:lnTo>
                  <a:lnTo>
                    <a:pt x="637" y="1221"/>
                  </a:lnTo>
                  <a:lnTo>
                    <a:pt x="638" y="1219"/>
                  </a:lnTo>
                  <a:lnTo>
                    <a:pt x="638" y="1218"/>
                  </a:lnTo>
                  <a:lnTo>
                    <a:pt x="710" y="1036"/>
                  </a:lnTo>
                  <a:lnTo>
                    <a:pt x="711" y="1034"/>
                  </a:lnTo>
                  <a:lnTo>
                    <a:pt x="711" y="1032"/>
                  </a:lnTo>
                  <a:lnTo>
                    <a:pt x="710" y="1030"/>
                  </a:lnTo>
                  <a:lnTo>
                    <a:pt x="710" y="1028"/>
                  </a:lnTo>
                  <a:lnTo>
                    <a:pt x="657" y="920"/>
                  </a:lnTo>
                  <a:lnTo>
                    <a:pt x="657" y="917"/>
                  </a:lnTo>
                  <a:lnTo>
                    <a:pt x="656" y="914"/>
                  </a:lnTo>
                  <a:lnTo>
                    <a:pt x="657" y="909"/>
                  </a:lnTo>
                  <a:lnTo>
                    <a:pt x="758" y="652"/>
                  </a:lnTo>
                  <a:lnTo>
                    <a:pt x="760" y="650"/>
                  </a:lnTo>
                  <a:lnTo>
                    <a:pt x="762" y="647"/>
                  </a:lnTo>
                  <a:lnTo>
                    <a:pt x="765" y="646"/>
                  </a:lnTo>
                  <a:lnTo>
                    <a:pt x="768" y="646"/>
                  </a:lnTo>
                  <a:lnTo>
                    <a:pt x="1006" y="646"/>
                  </a:lnTo>
                  <a:lnTo>
                    <a:pt x="1009" y="645"/>
                  </a:lnTo>
                  <a:lnTo>
                    <a:pt x="1011" y="644"/>
                  </a:lnTo>
                  <a:lnTo>
                    <a:pt x="1153" y="555"/>
                  </a:lnTo>
                  <a:lnTo>
                    <a:pt x="1155" y="554"/>
                  </a:lnTo>
                  <a:lnTo>
                    <a:pt x="1156" y="553"/>
                  </a:lnTo>
                  <a:lnTo>
                    <a:pt x="1157" y="552"/>
                  </a:lnTo>
                  <a:lnTo>
                    <a:pt x="1158" y="549"/>
                  </a:lnTo>
                  <a:lnTo>
                    <a:pt x="1158" y="546"/>
                  </a:lnTo>
                  <a:lnTo>
                    <a:pt x="1158" y="7"/>
                  </a:lnTo>
                  <a:lnTo>
                    <a:pt x="1158" y="4"/>
                  </a:lnTo>
                  <a:lnTo>
                    <a:pt x="1156" y="3"/>
                  </a:lnTo>
                  <a:lnTo>
                    <a:pt x="1154" y="1"/>
                  </a:lnTo>
                  <a:lnTo>
                    <a:pt x="1152" y="0"/>
                  </a:lnTo>
                  <a:lnTo>
                    <a:pt x="1150" y="1"/>
                  </a:lnTo>
                  <a:lnTo>
                    <a:pt x="1148" y="1"/>
                  </a:lnTo>
                  <a:lnTo>
                    <a:pt x="1146" y="3"/>
                  </a:lnTo>
                  <a:lnTo>
                    <a:pt x="1145" y="4"/>
                  </a:lnTo>
                  <a:lnTo>
                    <a:pt x="1145" y="5"/>
                  </a:lnTo>
                  <a:close/>
                </a:path>
              </a:pathLst>
            </a:custGeom>
            <a:solidFill>
              <a:srgbClr val="62A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7" name="Freeform 7"/>
            <p:cNvSpPr>
              <a:spLocks noEditPoints="1"/>
            </p:cNvSpPr>
            <p:nvPr/>
          </p:nvSpPr>
          <p:spPr bwMode="auto">
            <a:xfrm>
              <a:off x="5386388" y="3476625"/>
              <a:ext cx="3533775" cy="933450"/>
            </a:xfrm>
            <a:custGeom>
              <a:avLst/>
              <a:gdLst>
                <a:gd name="T0" fmla="*/ 1976 w 2226"/>
                <a:gd name="T1" fmla="*/ 407 h 588"/>
                <a:gd name="T2" fmla="*/ 1967 w 2226"/>
                <a:gd name="T3" fmla="*/ 463 h 588"/>
                <a:gd name="T4" fmla="*/ 2059 w 2226"/>
                <a:gd name="T5" fmla="*/ 452 h 588"/>
                <a:gd name="T6" fmla="*/ 2077 w 2226"/>
                <a:gd name="T7" fmla="*/ 579 h 588"/>
                <a:gd name="T8" fmla="*/ 2048 w 2226"/>
                <a:gd name="T9" fmla="*/ 537 h 588"/>
                <a:gd name="T10" fmla="*/ 1914 w 2226"/>
                <a:gd name="T11" fmla="*/ 585 h 588"/>
                <a:gd name="T12" fmla="*/ 1811 w 2226"/>
                <a:gd name="T13" fmla="*/ 508 h 588"/>
                <a:gd name="T14" fmla="*/ 1836 w 2226"/>
                <a:gd name="T15" fmla="*/ 383 h 588"/>
                <a:gd name="T16" fmla="*/ 2013 w 2226"/>
                <a:gd name="T17" fmla="*/ 311 h 588"/>
                <a:gd name="T18" fmla="*/ 2045 w 2226"/>
                <a:gd name="T19" fmla="*/ 271 h 588"/>
                <a:gd name="T20" fmla="*/ 1907 w 2226"/>
                <a:gd name="T21" fmla="*/ 300 h 588"/>
                <a:gd name="T22" fmla="*/ 1866 w 2226"/>
                <a:gd name="T23" fmla="*/ 195 h 588"/>
                <a:gd name="T24" fmla="*/ 2086 w 2226"/>
                <a:gd name="T25" fmla="*/ 154 h 588"/>
                <a:gd name="T26" fmla="*/ 2190 w 2226"/>
                <a:gd name="T27" fmla="*/ 214 h 588"/>
                <a:gd name="T28" fmla="*/ 2217 w 2226"/>
                <a:gd name="T29" fmla="*/ 512 h 588"/>
                <a:gd name="T30" fmla="*/ 1994 w 2226"/>
                <a:gd name="T31" fmla="*/ 3 h 588"/>
                <a:gd name="T32" fmla="*/ 1869 w 2226"/>
                <a:gd name="T33" fmla="*/ 7 h 588"/>
                <a:gd name="T34" fmla="*/ 2172 w 2226"/>
                <a:gd name="T35" fmla="*/ 123 h 588"/>
                <a:gd name="T36" fmla="*/ 1190 w 2226"/>
                <a:gd name="T37" fmla="*/ 576 h 588"/>
                <a:gd name="T38" fmla="*/ 1121 w 2226"/>
                <a:gd name="T39" fmla="*/ 502 h 588"/>
                <a:gd name="T40" fmla="*/ 1059 w 2226"/>
                <a:gd name="T41" fmla="*/ 264 h 588"/>
                <a:gd name="T42" fmla="*/ 1170 w 2226"/>
                <a:gd name="T43" fmla="*/ 25 h 588"/>
                <a:gd name="T44" fmla="*/ 1274 w 2226"/>
                <a:gd name="T45" fmla="*/ 156 h 588"/>
                <a:gd name="T46" fmla="*/ 1374 w 2226"/>
                <a:gd name="T47" fmla="*/ 271 h 588"/>
                <a:gd name="T48" fmla="*/ 1291 w 2226"/>
                <a:gd name="T49" fmla="*/ 469 h 588"/>
                <a:gd name="T50" fmla="*/ 1370 w 2226"/>
                <a:gd name="T51" fmla="*/ 564 h 588"/>
                <a:gd name="T52" fmla="*/ 1 w 2226"/>
                <a:gd name="T53" fmla="*/ 3 h 588"/>
                <a:gd name="T54" fmla="*/ 312 w 2226"/>
                <a:gd name="T55" fmla="*/ 389 h 588"/>
                <a:gd name="T56" fmla="*/ 615 w 2226"/>
                <a:gd name="T57" fmla="*/ 572 h 588"/>
                <a:gd name="T58" fmla="*/ 463 w 2226"/>
                <a:gd name="T59" fmla="*/ 222 h 588"/>
                <a:gd name="T60" fmla="*/ 365 w 2226"/>
                <a:gd name="T61" fmla="*/ 579 h 588"/>
                <a:gd name="T62" fmla="*/ 146 w 2226"/>
                <a:gd name="T63" fmla="*/ 223 h 588"/>
                <a:gd name="T64" fmla="*/ 1 w 2226"/>
                <a:gd name="T65" fmla="*/ 576 h 588"/>
                <a:gd name="T66" fmla="*/ 795 w 2226"/>
                <a:gd name="T67" fmla="*/ 421 h 588"/>
                <a:gd name="T68" fmla="*/ 861 w 2226"/>
                <a:gd name="T69" fmla="*/ 482 h 588"/>
                <a:gd name="T70" fmla="*/ 999 w 2226"/>
                <a:gd name="T71" fmla="*/ 448 h 588"/>
                <a:gd name="T72" fmla="*/ 974 w 2226"/>
                <a:gd name="T73" fmla="*/ 574 h 588"/>
                <a:gd name="T74" fmla="*/ 772 w 2226"/>
                <a:gd name="T75" fmla="*/ 575 h 588"/>
                <a:gd name="T76" fmla="*/ 659 w 2226"/>
                <a:gd name="T77" fmla="*/ 476 h 588"/>
                <a:gd name="T78" fmla="*/ 649 w 2226"/>
                <a:gd name="T79" fmla="*/ 300 h 588"/>
                <a:gd name="T80" fmla="*/ 753 w 2226"/>
                <a:gd name="T81" fmla="*/ 177 h 588"/>
                <a:gd name="T82" fmla="*/ 901 w 2226"/>
                <a:gd name="T83" fmla="*/ 155 h 588"/>
                <a:gd name="T84" fmla="*/ 1027 w 2226"/>
                <a:gd name="T85" fmla="*/ 233 h 588"/>
                <a:gd name="T86" fmla="*/ 921 w 2226"/>
                <a:gd name="T87" fmla="*/ 325 h 588"/>
                <a:gd name="T88" fmla="*/ 895 w 2226"/>
                <a:gd name="T89" fmla="*/ 267 h 588"/>
                <a:gd name="T90" fmla="*/ 818 w 2226"/>
                <a:gd name="T91" fmla="*/ 277 h 588"/>
                <a:gd name="T92" fmla="*/ 1595 w 2226"/>
                <a:gd name="T93" fmla="*/ 588 h 588"/>
                <a:gd name="T94" fmla="*/ 1393 w 2226"/>
                <a:gd name="T95" fmla="*/ 532 h 588"/>
                <a:gd name="T96" fmla="*/ 1483 w 2226"/>
                <a:gd name="T97" fmla="*/ 465 h 588"/>
                <a:gd name="T98" fmla="*/ 1638 w 2226"/>
                <a:gd name="T99" fmla="*/ 480 h 588"/>
                <a:gd name="T100" fmla="*/ 1609 w 2226"/>
                <a:gd name="T101" fmla="*/ 434 h 588"/>
                <a:gd name="T102" fmla="*/ 1433 w 2226"/>
                <a:gd name="T103" fmla="*/ 371 h 588"/>
                <a:gd name="T104" fmla="*/ 1410 w 2226"/>
                <a:gd name="T105" fmla="*/ 261 h 588"/>
                <a:gd name="T106" fmla="*/ 1497 w 2226"/>
                <a:gd name="T107" fmla="*/ 166 h 588"/>
                <a:gd name="T108" fmla="*/ 1713 w 2226"/>
                <a:gd name="T109" fmla="*/ 174 h 588"/>
                <a:gd name="T110" fmla="*/ 1716 w 2226"/>
                <a:gd name="T111" fmla="*/ 292 h 588"/>
                <a:gd name="T112" fmla="*/ 1568 w 2226"/>
                <a:gd name="T113" fmla="*/ 256 h 588"/>
                <a:gd name="T114" fmla="*/ 1563 w 2226"/>
                <a:gd name="T115" fmla="*/ 299 h 588"/>
                <a:gd name="T116" fmla="*/ 1752 w 2226"/>
                <a:gd name="T117" fmla="*/ 356 h 588"/>
                <a:gd name="T118" fmla="*/ 1787 w 2226"/>
                <a:gd name="T119" fmla="*/ 458 h 588"/>
                <a:gd name="T120" fmla="*/ 1721 w 2226"/>
                <a:gd name="T121" fmla="*/ 55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26" h="588">
                  <a:moveTo>
                    <a:pt x="2065" y="439"/>
                  </a:moveTo>
                  <a:lnTo>
                    <a:pt x="2065" y="391"/>
                  </a:lnTo>
                  <a:lnTo>
                    <a:pt x="2064" y="389"/>
                  </a:lnTo>
                  <a:lnTo>
                    <a:pt x="2063" y="388"/>
                  </a:lnTo>
                  <a:lnTo>
                    <a:pt x="2061" y="387"/>
                  </a:lnTo>
                  <a:lnTo>
                    <a:pt x="2060" y="387"/>
                  </a:lnTo>
                  <a:lnTo>
                    <a:pt x="2047" y="388"/>
                  </a:lnTo>
                  <a:lnTo>
                    <a:pt x="2035" y="389"/>
                  </a:lnTo>
                  <a:lnTo>
                    <a:pt x="2024" y="390"/>
                  </a:lnTo>
                  <a:lnTo>
                    <a:pt x="2014" y="392"/>
                  </a:lnTo>
                  <a:lnTo>
                    <a:pt x="2004" y="395"/>
                  </a:lnTo>
                  <a:lnTo>
                    <a:pt x="1996" y="397"/>
                  </a:lnTo>
                  <a:lnTo>
                    <a:pt x="1988" y="400"/>
                  </a:lnTo>
                  <a:lnTo>
                    <a:pt x="1981" y="403"/>
                  </a:lnTo>
                  <a:lnTo>
                    <a:pt x="1976" y="407"/>
                  </a:lnTo>
                  <a:lnTo>
                    <a:pt x="1971" y="411"/>
                  </a:lnTo>
                  <a:lnTo>
                    <a:pt x="1966" y="415"/>
                  </a:lnTo>
                  <a:lnTo>
                    <a:pt x="1963" y="420"/>
                  </a:lnTo>
                  <a:lnTo>
                    <a:pt x="1960" y="425"/>
                  </a:lnTo>
                  <a:lnTo>
                    <a:pt x="1958" y="430"/>
                  </a:lnTo>
                  <a:lnTo>
                    <a:pt x="1957" y="435"/>
                  </a:lnTo>
                  <a:lnTo>
                    <a:pt x="1957" y="441"/>
                  </a:lnTo>
                  <a:lnTo>
                    <a:pt x="1957" y="445"/>
                  </a:lnTo>
                  <a:lnTo>
                    <a:pt x="1958" y="448"/>
                  </a:lnTo>
                  <a:lnTo>
                    <a:pt x="1958" y="451"/>
                  </a:lnTo>
                  <a:lnTo>
                    <a:pt x="1959" y="454"/>
                  </a:lnTo>
                  <a:lnTo>
                    <a:pt x="1961" y="457"/>
                  </a:lnTo>
                  <a:lnTo>
                    <a:pt x="1963" y="459"/>
                  </a:lnTo>
                  <a:lnTo>
                    <a:pt x="1965" y="461"/>
                  </a:lnTo>
                  <a:lnTo>
                    <a:pt x="1967" y="463"/>
                  </a:lnTo>
                  <a:lnTo>
                    <a:pt x="1972" y="467"/>
                  </a:lnTo>
                  <a:lnTo>
                    <a:pt x="1975" y="468"/>
                  </a:lnTo>
                  <a:lnTo>
                    <a:pt x="1978" y="469"/>
                  </a:lnTo>
                  <a:lnTo>
                    <a:pt x="1984" y="470"/>
                  </a:lnTo>
                  <a:lnTo>
                    <a:pt x="1991" y="471"/>
                  </a:lnTo>
                  <a:lnTo>
                    <a:pt x="2005" y="470"/>
                  </a:lnTo>
                  <a:lnTo>
                    <a:pt x="2011" y="470"/>
                  </a:lnTo>
                  <a:lnTo>
                    <a:pt x="2017" y="469"/>
                  </a:lnTo>
                  <a:lnTo>
                    <a:pt x="2023" y="468"/>
                  </a:lnTo>
                  <a:lnTo>
                    <a:pt x="2028" y="467"/>
                  </a:lnTo>
                  <a:lnTo>
                    <a:pt x="2037" y="464"/>
                  </a:lnTo>
                  <a:lnTo>
                    <a:pt x="2045" y="461"/>
                  </a:lnTo>
                  <a:lnTo>
                    <a:pt x="2051" y="458"/>
                  </a:lnTo>
                  <a:lnTo>
                    <a:pt x="2056" y="454"/>
                  </a:lnTo>
                  <a:lnTo>
                    <a:pt x="2059" y="452"/>
                  </a:lnTo>
                  <a:lnTo>
                    <a:pt x="2061" y="450"/>
                  </a:lnTo>
                  <a:lnTo>
                    <a:pt x="2063" y="447"/>
                  </a:lnTo>
                  <a:lnTo>
                    <a:pt x="2064" y="443"/>
                  </a:lnTo>
                  <a:lnTo>
                    <a:pt x="2065" y="440"/>
                  </a:lnTo>
                  <a:lnTo>
                    <a:pt x="2065" y="439"/>
                  </a:lnTo>
                  <a:close/>
                  <a:moveTo>
                    <a:pt x="2225" y="572"/>
                  </a:moveTo>
                  <a:lnTo>
                    <a:pt x="2226" y="575"/>
                  </a:lnTo>
                  <a:lnTo>
                    <a:pt x="2225" y="577"/>
                  </a:lnTo>
                  <a:lnTo>
                    <a:pt x="2225" y="578"/>
                  </a:lnTo>
                  <a:lnTo>
                    <a:pt x="2224" y="579"/>
                  </a:lnTo>
                  <a:lnTo>
                    <a:pt x="2221" y="579"/>
                  </a:lnTo>
                  <a:lnTo>
                    <a:pt x="2220" y="579"/>
                  </a:lnTo>
                  <a:lnTo>
                    <a:pt x="2081" y="579"/>
                  </a:lnTo>
                  <a:lnTo>
                    <a:pt x="2079" y="579"/>
                  </a:lnTo>
                  <a:lnTo>
                    <a:pt x="2077" y="579"/>
                  </a:lnTo>
                  <a:lnTo>
                    <a:pt x="2074" y="577"/>
                  </a:lnTo>
                  <a:lnTo>
                    <a:pt x="2073" y="574"/>
                  </a:lnTo>
                  <a:lnTo>
                    <a:pt x="2072" y="572"/>
                  </a:lnTo>
                  <a:lnTo>
                    <a:pt x="2069" y="560"/>
                  </a:lnTo>
                  <a:lnTo>
                    <a:pt x="2067" y="548"/>
                  </a:lnTo>
                  <a:lnTo>
                    <a:pt x="2065" y="537"/>
                  </a:lnTo>
                  <a:lnTo>
                    <a:pt x="2065" y="526"/>
                  </a:lnTo>
                  <a:lnTo>
                    <a:pt x="2064" y="524"/>
                  </a:lnTo>
                  <a:lnTo>
                    <a:pt x="2064" y="522"/>
                  </a:lnTo>
                  <a:lnTo>
                    <a:pt x="2063" y="522"/>
                  </a:lnTo>
                  <a:lnTo>
                    <a:pt x="2062" y="522"/>
                  </a:lnTo>
                  <a:lnTo>
                    <a:pt x="2061" y="523"/>
                  </a:lnTo>
                  <a:lnTo>
                    <a:pt x="2060" y="524"/>
                  </a:lnTo>
                  <a:lnTo>
                    <a:pt x="2054" y="531"/>
                  </a:lnTo>
                  <a:lnTo>
                    <a:pt x="2048" y="537"/>
                  </a:lnTo>
                  <a:lnTo>
                    <a:pt x="2042" y="544"/>
                  </a:lnTo>
                  <a:lnTo>
                    <a:pt x="2035" y="549"/>
                  </a:lnTo>
                  <a:lnTo>
                    <a:pt x="2028" y="555"/>
                  </a:lnTo>
                  <a:lnTo>
                    <a:pt x="2021" y="560"/>
                  </a:lnTo>
                  <a:lnTo>
                    <a:pt x="2013" y="564"/>
                  </a:lnTo>
                  <a:lnTo>
                    <a:pt x="2005" y="569"/>
                  </a:lnTo>
                  <a:lnTo>
                    <a:pt x="1996" y="573"/>
                  </a:lnTo>
                  <a:lnTo>
                    <a:pt x="1987" y="576"/>
                  </a:lnTo>
                  <a:lnTo>
                    <a:pt x="1978" y="579"/>
                  </a:lnTo>
                  <a:lnTo>
                    <a:pt x="1968" y="581"/>
                  </a:lnTo>
                  <a:lnTo>
                    <a:pt x="1958" y="583"/>
                  </a:lnTo>
                  <a:lnTo>
                    <a:pt x="1948" y="584"/>
                  </a:lnTo>
                  <a:lnTo>
                    <a:pt x="1937" y="585"/>
                  </a:lnTo>
                  <a:lnTo>
                    <a:pt x="1925" y="586"/>
                  </a:lnTo>
                  <a:lnTo>
                    <a:pt x="1914" y="585"/>
                  </a:lnTo>
                  <a:lnTo>
                    <a:pt x="1903" y="584"/>
                  </a:lnTo>
                  <a:lnTo>
                    <a:pt x="1892" y="582"/>
                  </a:lnTo>
                  <a:lnTo>
                    <a:pt x="1881" y="579"/>
                  </a:lnTo>
                  <a:lnTo>
                    <a:pt x="1871" y="574"/>
                  </a:lnTo>
                  <a:lnTo>
                    <a:pt x="1861" y="570"/>
                  </a:lnTo>
                  <a:lnTo>
                    <a:pt x="1856" y="567"/>
                  </a:lnTo>
                  <a:lnTo>
                    <a:pt x="1851" y="564"/>
                  </a:lnTo>
                  <a:lnTo>
                    <a:pt x="1843" y="557"/>
                  </a:lnTo>
                  <a:lnTo>
                    <a:pt x="1835" y="549"/>
                  </a:lnTo>
                  <a:lnTo>
                    <a:pt x="1827" y="540"/>
                  </a:lnTo>
                  <a:lnTo>
                    <a:pt x="1824" y="536"/>
                  </a:lnTo>
                  <a:lnTo>
                    <a:pt x="1821" y="531"/>
                  </a:lnTo>
                  <a:lnTo>
                    <a:pt x="1816" y="520"/>
                  </a:lnTo>
                  <a:lnTo>
                    <a:pt x="1813" y="514"/>
                  </a:lnTo>
                  <a:lnTo>
                    <a:pt x="1811" y="508"/>
                  </a:lnTo>
                  <a:lnTo>
                    <a:pt x="1808" y="495"/>
                  </a:lnTo>
                  <a:lnTo>
                    <a:pt x="1806" y="481"/>
                  </a:lnTo>
                  <a:lnTo>
                    <a:pt x="1806" y="474"/>
                  </a:lnTo>
                  <a:lnTo>
                    <a:pt x="1805" y="466"/>
                  </a:lnTo>
                  <a:lnTo>
                    <a:pt x="1806" y="458"/>
                  </a:lnTo>
                  <a:lnTo>
                    <a:pt x="1806" y="449"/>
                  </a:lnTo>
                  <a:lnTo>
                    <a:pt x="1808" y="441"/>
                  </a:lnTo>
                  <a:lnTo>
                    <a:pt x="1809" y="433"/>
                  </a:lnTo>
                  <a:lnTo>
                    <a:pt x="1812" y="425"/>
                  </a:lnTo>
                  <a:lnTo>
                    <a:pt x="1814" y="418"/>
                  </a:lnTo>
                  <a:lnTo>
                    <a:pt x="1818" y="410"/>
                  </a:lnTo>
                  <a:lnTo>
                    <a:pt x="1822" y="403"/>
                  </a:lnTo>
                  <a:lnTo>
                    <a:pt x="1826" y="396"/>
                  </a:lnTo>
                  <a:lnTo>
                    <a:pt x="1831" y="390"/>
                  </a:lnTo>
                  <a:lnTo>
                    <a:pt x="1836" y="383"/>
                  </a:lnTo>
                  <a:lnTo>
                    <a:pt x="1842" y="377"/>
                  </a:lnTo>
                  <a:lnTo>
                    <a:pt x="1848" y="371"/>
                  </a:lnTo>
                  <a:lnTo>
                    <a:pt x="1855" y="365"/>
                  </a:lnTo>
                  <a:lnTo>
                    <a:pt x="1862" y="360"/>
                  </a:lnTo>
                  <a:lnTo>
                    <a:pt x="1869" y="355"/>
                  </a:lnTo>
                  <a:lnTo>
                    <a:pt x="1886" y="345"/>
                  </a:lnTo>
                  <a:lnTo>
                    <a:pt x="1895" y="341"/>
                  </a:lnTo>
                  <a:lnTo>
                    <a:pt x="1905" y="337"/>
                  </a:lnTo>
                  <a:lnTo>
                    <a:pt x="1915" y="333"/>
                  </a:lnTo>
                  <a:lnTo>
                    <a:pt x="1926" y="329"/>
                  </a:lnTo>
                  <a:lnTo>
                    <a:pt x="1948" y="323"/>
                  </a:lnTo>
                  <a:lnTo>
                    <a:pt x="1960" y="320"/>
                  </a:lnTo>
                  <a:lnTo>
                    <a:pt x="1973" y="317"/>
                  </a:lnTo>
                  <a:lnTo>
                    <a:pt x="1999" y="313"/>
                  </a:lnTo>
                  <a:lnTo>
                    <a:pt x="2013" y="311"/>
                  </a:lnTo>
                  <a:lnTo>
                    <a:pt x="2027" y="310"/>
                  </a:lnTo>
                  <a:lnTo>
                    <a:pt x="2057" y="308"/>
                  </a:lnTo>
                  <a:lnTo>
                    <a:pt x="2061" y="307"/>
                  </a:lnTo>
                  <a:lnTo>
                    <a:pt x="2064" y="306"/>
                  </a:lnTo>
                  <a:lnTo>
                    <a:pt x="2065" y="305"/>
                  </a:lnTo>
                  <a:lnTo>
                    <a:pt x="2065" y="302"/>
                  </a:lnTo>
                  <a:lnTo>
                    <a:pt x="2064" y="295"/>
                  </a:lnTo>
                  <a:lnTo>
                    <a:pt x="2063" y="291"/>
                  </a:lnTo>
                  <a:lnTo>
                    <a:pt x="2063" y="288"/>
                  </a:lnTo>
                  <a:lnTo>
                    <a:pt x="2061" y="285"/>
                  </a:lnTo>
                  <a:lnTo>
                    <a:pt x="2060" y="282"/>
                  </a:lnTo>
                  <a:lnTo>
                    <a:pt x="2055" y="277"/>
                  </a:lnTo>
                  <a:lnTo>
                    <a:pt x="2052" y="275"/>
                  </a:lnTo>
                  <a:lnTo>
                    <a:pt x="2049" y="273"/>
                  </a:lnTo>
                  <a:lnTo>
                    <a:pt x="2045" y="271"/>
                  </a:lnTo>
                  <a:lnTo>
                    <a:pt x="2041" y="269"/>
                  </a:lnTo>
                  <a:lnTo>
                    <a:pt x="2031" y="267"/>
                  </a:lnTo>
                  <a:lnTo>
                    <a:pt x="2025" y="267"/>
                  </a:lnTo>
                  <a:lnTo>
                    <a:pt x="2018" y="267"/>
                  </a:lnTo>
                  <a:lnTo>
                    <a:pt x="2009" y="267"/>
                  </a:lnTo>
                  <a:lnTo>
                    <a:pt x="2000" y="268"/>
                  </a:lnTo>
                  <a:lnTo>
                    <a:pt x="1992" y="269"/>
                  </a:lnTo>
                  <a:lnTo>
                    <a:pt x="1983" y="270"/>
                  </a:lnTo>
                  <a:lnTo>
                    <a:pt x="1974" y="272"/>
                  </a:lnTo>
                  <a:lnTo>
                    <a:pt x="1966" y="274"/>
                  </a:lnTo>
                  <a:lnTo>
                    <a:pt x="1958" y="277"/>
                  </a:lnTo>
                  <a:lnTo>
                    <a:pt x="1950" y="280"/>
                  </a:lnTo>
                  <a:lnTo>
                    <a:pt x="1934" y="286"/>
                  </a:lnTo>
                  <a:lnTo>
                    <a:pt x="1920" y="293"/>
                  </a:lnTo>
                  <a:lnTo>
                    <a:pt x="1907" y="300"/>
                  </a:lnTo>
                  <a:lnTo>
                    <a:pt x="1895" y="308"/>
                  </a:lnTo>
                  <a:lnTo>
                    <a:pt x="1893" y="309"/>
                  </a:lnTo>
                  <a:lnTo>
                    <a:pt x="1891" y="309"/>
                  </a:lnTo>
                  <a:lnTo>
                    <a:pt x="1889" y="309"/>
                  </a:lnTo>
                  <a:lnTo>
                    <a:pt x="1888" y="309"/>
                  </a:lnTo>
                  <a:lnTo>
                    <a:pt x="1886" y="307"/>
                  </a:lnTo>
                  <a:lnTo>
                    <a:pt x="1885" y="306"/>
                  </a:lnTo>
                  <a:lnTo>
                    <a:pt x="1830" y="230"/>
                  </a:lnTo>
                  <a:lnTo>
                    <a:pt x="1828" y="227"/>
                  </a:lnTo>
                  <a:lnTo>
                    <a:pt x="1828" y="225"/>
                  </a:lnTo>
                  <a:lnTo>
                    <a:pt x="1829" y="224"/>
                  </a:lnTo>
                  <a:lnTo>
                    <a:pt x="1830" y="221"/>
                  </a:lnTo>
                  <a:lnTo>
                    <a:pt x="1831" y="220"/>
                  </a:lnTo>
                  <a:lnTo>
                    <a:pt x="1847" y="207"/>
                  </a:lnTo>
                  <a:lnTo>
                    <a:pt x="1866" y="195"/>
                  </a:lnTo>
                  <a:lnTo>
                    <a:pt x="1876" y="189"/>
                  </a:lnTo>
                  <a:lnTo>
                    <a:pt x="1887" y="184"/>
                  </a:lnTo>
                  <a:lnTo>
                    <a:pt x="1899" y="178"/>
                  </a:lnTo>
                  <a:lnTo>
                    <a:pt x="1912" y="173"/>
                  </a:lnTo>
                  <a:lnTo>
                    <a:pt x="1925" y="169"/>
                  </a:lnTo>
                  <a:lnTo>
                    <a:pt x="1939" y="165"/>
                  </a:lnTo>
                  <a:lnTo>
                    <a:pt x="1954" y="161"/>
                  </a:lnTo>
                  <a:lnTo>
                    <a:pt x="1970" y="158"/>
                  </a:lnTo>
                  <a:lnTo>
                    <a:pt x="1987" y="155"/>
                  </a:lnTo>
                  <a:lnTo>
                    <a:pt x="2005" y="153"/>
                  </a:lnTo>
                  <a:lnTo>
                    <a:pt x="2023" y="152"/>
                  </a:lnTo>
                  <a:lnTo>
                    <a:pt x="2043" y="152"/>
                  </a:lnTo>
                  <a:lnTo>
                    <a:pt x="2054" y="152"/>
                  </a:lnTo>
                  <a:lnTo>
                    <a:pt x="2065" y="152"/>
                  </a:lnTo>
                  <a:lnTo>
                    <a:pt x="2086" y="154"/>
                  </a:lnTo>
                  <a:lnTo>
                    <a:pt x="2096" y="156"/>
                  </a:lnTo>
                  <a:lnTo>
                    <a:pt x="2105" y="158"/>
                  </a:lnTo>
                  <a:lnTo>
                    <a:pt x="2114" y="160"/>
                  </a:lnTo>
                  <a:lnTo>
                    <a:pt x="2122" y="163"/>
                  </a:lnTo>
                  <a:lnTo>
                    <a:pt x="2130" y="166"/>
                  </a:lnTo>
                  <a:lnTo>
                    <a:pt x="2138" y="169"/>
                  </a:lnTo>
                  <a:lnTo>
                    <a:pt x="2145" y="172"/>
                  </a:lnTo>
                  <a:lnTo>
                    <a:pt x="2152" y="176"/>
                  </a:lnTo>
                  <a:lnTo>
                    <a:pt x="2159" y="181"/>
                  </a:lnTo>
                  <a:lnTo>
                    <a:pt x="2165" y="185"/>
                  </a:lnTo>
                  <a:lnTo>
                    <a:pt x="2170" y="190"/>
                  </a:lnTo>
                  <a:lnTo>
                    <a:pt x="2176" y="196"/>
                  </a:lnTo>
                  <a:lnTo>
                    <a:pt x="2181" y="201"/>
                  </a:lnTo>
                  <a:lnTo>
                    <a:pt x="2186" y="207"/>
                  </a:lnTo>
                  <a:lnTo>
                    <a:pt x="2190" y="214"/>
                  </a:lnTo>
                  <a:lnTo>
                    <a:pt x="2194" y="220"/>
                  </a:lnTo>
                  <a:lnTo>
                    <a:pt x="2197" y="227"/>
                  </a:lnTo>
                  <a:lnTo>
                    <a:pt x="2201" y="235"/>
                  </a:lnTo>
                  <a:lnTo>
                    <a:pt x="2204" y="242"/>
                  </a:lnTo>
                  <a:lnTo>
                    <a:pt x="2206" y="251"/>
                  </a:lnTo>
                  <a:lnTo>
                    <a:pt x="2209" y="259"/>
                  </a:lnTo>
                  <a:lnTo>
                    <a:pt x="2211" y="268"/>
                  </a:lnTo>
                  <a:lnTo>
                    <a:pt x="2212" y="277"/>
                  </a:lnTo>
                  <a:lnTo>
                    <a:pt x="2214" y="287"/>
                  </a:lnTo>
                  <a:lnTo>
                    <a:pt x="2215" y="296"/>
                  </a:lnTo>
                  <a:lnTo>
                    <a:pt x="2215" y="307"/>
                  </a:lnTo>
                  <a:lnTo>
                    <a:pt x="2216" y="317"/>
                  </a:lnTo>
                  <a:lnTo>
                    <a:pt x="2216" y="328"/>
                  </a:lnTo>
                  <a:lnTo>
                    <a:pt x="2216" y="478"/>
                  </a:lnTo>
                  <a:lnTo>
                    <a:pt x="2217" y="512"/>
                  </a:lnTo>
                  <a:lnTo>
                    <a:pt x="2218" y="539"/>
                  </a:lnTo>
                  <a:lnTo>
                    <a:pt x="2220" y="549"/>
                  </a:lnTo>
                  <a:lnTo>
                    <a:pt x="2221" y="559"/>
                  </a:lnTo>
                  <a:lnTo>
                    <a:pt x="2223" y="566"/>
                  </a:lnTo>
                  <a:lnTo>
                    <a:pt x="2225" y="572"/>
                  </a:lnTo>
                  <a:close/>
                  <a:moveTo>
                    <a:pt x="1869" y="7"/>
                  </a:moveTo>
                  <a:lnTo>
                    <a:pt x="1869" y="5"/>
                  </a:lnTo>
                  <a:lnTo>
                    <a:pt x="1870" y="3"/>
                  </a:lnTo>
                  <a:lnTo>
                    <a:pt x="1873" y="0"/>
                  </a:lnTo>
                  <a:lnTo>
                    <a:pt x="1875" y="0"/>
                  </a:lnTo>
                  <a:lnTo>
                    <a:pt x="1877" y="0"/>
                  </a:lnTo>
                  <a:lnTo>
                    <a:pt x="1987" y="0"/>
                  </a:lnTo>
                  <a:lnTo>
                    <a:pt x="1989" y="0"/>
                  </a:lnTo>
                  <a:lnTo>
                    <a:pt x="1991" y="1"/>
                  </a:lnTo>
                  <a:lnTo>
                    <a:pt x="1994" y="3"/>
                  </a:lnTo>
                  <a:lnTo>
                    <a:pt x="1994" y="6"/>
                  </a:lnTo>
                  <a:lnTo>
                    <a:pt x="1995" y="7"/>
                  </a:lnTo>
                  <a:lnTo>
                    <a:pt x="1995" y="121"/>
                  </a:lnTo>
                  <a:lnTo>
                    <a:pt x="1994" y="123"/>
                  </a:lnTo>
                  <a:lnTo>
                    <a:pt x="1993" y="125"/>
                  </a:lnTo>
                  <a:lnTo>
                    <a:pt x="1991" y="128"/>
                  </a:lnTo>
                  <a:lnTo>
                    <a:pt x="1988" y="128"/>
                  </a:lnTo>
                  <a:lnTo>
                    <a:pt x="1987" y="129"/>
                  </a:lnTo>
                  <a:lnTo>
                    <a:pt x="1877" y="129"/>
                  </a:lnTo>
                  <a:lnTo>
                    <a:pt x="1874" y="128"/>
                  </a:lnTo>
                  <a:lnTo>
                    <a:pt x="1872" y="127"/>
                  </a:lnTo>
                  <a:lnTo>
                    <a:pt x="1870" y="125"/>
                  </a:lnTo>
                  <a:lnTo>
                    <a:pt x="1869" y="122"/>
                  </a:lnTo>
                  <a:lnTo>
                    <a:pt x="1869" y="121"/>
                  </a:lnTo>
                  <a:lnTo>
                    <a:pt x="1869" y="7"/>
                  </a:lnTo>
                  <a:close/>
                  <a:moveTo>
                    <a:pt x="2047" y="121"/>
                  </a:moveTo>
                  <a:lnTo>
                    <a:pt x="2047" y="7"/>
                  </a:lnTo>
                  <a:lnTo>
                    <a:pt x="2047" y="5"/>
                  </a:lnTo>
                  <a:lnTo>
                    <a:pt x="2048" y="3"/>
                  </a:lnTo>
                  <a:lnTo>
                    <a:pt x="2051" y="0"/>
                  </a:lnTo>
                  <a:lnTo>
                    <a:pt x="2053" y="0"/>
                  </a:lnTo>
                  <a:lnTo>
                    <a:pt x="2054" y="0"/>
                  </a:lnTo>
                  <a:lnTo>
                    <a:pt x="2165" y="0"/>
                  </a:lnTo>
                  <a:lnTo>
                    <a:pt x="2167" y="0"/>
                  </a:lnTo>
                  <a:lnTo>
                    <a:pt x="2169" y="1"/>
                  </a:lnTo>
                  <a:lnTo>
                    <a:pt x="2171" y="3"/>
                  </a:lnTo>
                  <a:lnTo>
                    <a:pt x="2172" y="6"/>
                  </a:lnTo>
                  <a:lnTo>
                    <a:pt x="2172" y="7"/>
                  </a:lnTo>
                  <a:lnTo>
                    <a:pt x="2172" y="121"/>
                  </a:lnTo>
                  <a:lnTo>
                    <a:pt x="2172" y="123"/>
                  </a:lnTo>
                  <a:lnTo>
                    <a:pt x="2171" y="125"/>
                  </a:lnTo>
                  <a:lnTo>
                    <a:pt x="2169" y="127"/>
                  </a:lnTo>
                  <a:lnTo>
                    <a:pt x="2166" y="128"/>
                  </a:lnTo>
                  <a:lnTo>
                    <a:pt x="2165" y="128"/>
                  </a:lnTo>
                  <a:lnTo>
                    <a:pt x="2054" y="128"/>
                  </a:lnTo>
                  <a:lnTo>
                    <a:pt x="2052" y="128"/>
                  </a:lnTo>
                  <a:lnTo>
                    <a:pt x="2050" y="127"/>
                  </a:lnTo>
                  <a:lnTo>
                    <a:pt x="2048" y="125"/>
                  </a:lnTo>
                  <a:lnTo>
                    <a:pt x="2047" y="122"/>
                  </a:lnTo>
                  <a:lnTo>
                    <a:pt x="2047" y="121"/>
                  </a:lnTo>
                  <a:close/>
                  <a:moveTo>
                    <a:pt x="1274" y="585"/>
                  </a:moveTo>
                  <a:lnTo>
                    <a:pt x="1249" y="584"/>
                  </a:lnTo>
                  <a:lnTo>
                    <a:pt x="1226" y="583"/>
                  </a:lnTo>
                  <a:lnTo>
                    <a:pt x="1207" y="580"/>
                  </a:lnTo>
                  <a:lnTo>
                    <a:pt x="1190" y="576"/>
                  </a:lnTo>
                  <a:lnTo>
                    <a:pt x="1175" y="571"/>
                  </a:lnTo>
                  <a:lnTo>
                    <a:pt x="1168" y="568"/>
                  </a:lnTo>
                  <a:lnTo>
                    <a:pt x="1162" y="565"/>
                  </a:lnTo>
                  <a:lnTo>
                    <a:pt x="1156" y="561"/>
                  </a:lnTo>
                  <a:lnTo>
                    <a:pt x="1151" y="558"/>
                  </a:lnTo>
                  <a:lnTo>
                    <a:pt x="1149" y="556"/>
                  </a:lnTo>
                  <a:lnTo>
                    <a:pt x="1147" y="554"/>
                  </a:lnTo>
                  <a:lnTo>
                    <a:pt x="1143" y="550"/>
                  </a:lnTo>
                  <a:lnTo>
                    <a:pt x="1139" y="545"/>
                  </a:lnTo>
                  <a:lnTo>
                    <a:pt x="1135" y="541"/>
                  </a:lnTo>
                  <a:lnTo>
                    <a:pt x="1130" y="531"/>
                  </a:lnTo>
                  <a:lnTo>
                    <a:pt x="1127" y="525"/>
                  </a:lnTo>
                  <a:lnTo>
                    <a:pt x="1125" y="520"/>
                  </a:lnTo>
                  <a:lnTo>
                    <a:pt x="1122" y="508"/>
                  </a:lnTo>
                  <a:lnTo>
                    <a:pt x="1121" y="502"/>
                  </a:lnTo>
                  <a:lnTo>
                    <a:pt x="1120" y="496"/>
                  </a:lnTo>
                  <a:lnTo>
                    <a:pt x="1119" y="482"/>
                  </a:lnTo>
                  <a:lnTo>
                    <a:pt x="1118" y="468"/>
                  </a:lnTo>
                  <a:lnTo>
                    <a:pt x="1118" y="453"/>
                  </a:lnTo>
                  <a:lnTo>
                    <a:pt x="1118" y="278"/>
                  </a:lnTo>
                  <a:lnTo>
                    <a:pt x="1117" y="276"/>
                  </a:lnTo>
                  <a:lnTo>
                    <a:pt x="1117" y="274"/>
                  </a:lnTo>
                  <a:lnTo>
                    <a:pt x="1114" y="272"/>
                  </a:lnTo>
                  <a:lnTo>
                    <a:pt x="1111" y="271"/>
                  </a:lnTo>
                  <a:lnTo>
                    <a:pt x="1110" y="271"/>
                  </a:lnTo>
                  <a:lnTo>
                    <a:pt x="1067" y="271"/>
                  </a:lnTo>
                  <a:lnTo>
                    <a:pt x="1064" y="270"/>
                  </a:lnTo>
                  <a:lnTo>
                    <a:pt x="1062" y="269"/>
                  </a:lnTo>
                  <a:lnTo>
                    <a:pt x="1060" y="267"/>
                  </a:lnTo>
                  <a:lnTo>
                    <a:pt x="1059" y="264"/>
                  </a:lnTo>
                  <a:lnTo>
                    <a:pt x="1059" y="263"/>
                  </a:lnTo>
                  <a:lnTo>
                    <a:pt x="1059" y="167"/>
                  </a:lnTo>
                  <a:lnTo>
                    <a:pt x="1059" y="164"/>
                  </a:lnTo>
                  <a:lnTo>
                    <a:pt x="1060" y="162"/>
                  </a:lnTo>
                  <a:lnTo>
                    <a:pt x="1063" y="160"/>
                  </a:lnTo>
                  <a:lnTo>
                    <a:pt x="1065" y="159"/>
                  </a:lnTo>
                  <a:lnTo>
                    <a:pt x="1067" y="159"/>
                  </a:lnTo>
                  <a:lnTo>
                    <a:pt x="1110" y="159"/>
                  </a:lnTo>
                  <a:lnTo>
                    <a:pt x="1113" y="159"/>
                  </a:lnTo>
                  <a:lnTo>
                    <a:pt x="1115" y="158"/>
                  </a:lnTo>
                  <a:lnTo>
                    <a:pt x="1117" y="157"/>
                  </a:lnTo>
                  <a:lnTo>
                    <a:pt x="1118" y="156"/>
                  </a:lnTo>
                  <a:lnTo>
                    <a:pt x="1120" y="153"/>
                  </a:lnTo>
                  <a:lnTo>
                    <a:pt x="1121" y="152"/>
                  </a:lnTo>
                  <a:lnTo>
                    <a:pt x="1170" y="25"/>
                  </a:lnTo>
                  <a:lnTo>
                    <a:pt x="1171" y="23"/>
                  </a:lnTo>
                  <a:lnTo>
                    <a:pt x="1173" y="21"/>
                  </a:lnTo>
                  <a:lnTo>
                    <a:pt x="1175" y="20"/>
                  </a:lnTo>
                  <a:lnTo>
                    <a:pt x="1176" y="19"/>
                  </a:lnTo>
                  <a:lnTo>
                    <a:pt x="1179" y="18"/>
                  </a:lnTo>
                  <a:lnTo>
                    <a:pt x="1180" y="18"/>
                  </a:lnTo>
                  <a:lnTo>
                    <a:pt x="1265" y="18"/>
                  </a:lnTo>
                  <a:lnTo>
                    <a:pt x="1268" y="19"/>
                  </a:lnTo>
                  <a:lnTo>
                    <a:pt x="1270" y="19"/>
                  </a:lnTo>
                  <a:lnTo>
                    <a:pt x="1272" y="22"/>
                  </a:lnTo>
                  <a:lnTo>
                    <a:pt x="1273" y="25"/>
                  </a:lnTo>
                  <a:lnTo>
                    <a:pt x="1273" y="26"/>
                  </a:lnTo>
                  <a:lnTo>
                    <a:pt x="1273" y="152"/>
                  </a:lnTo>
                  <a:lnTo>
                    <a:pt x="1273" y="154"/>
                  </a:lnTo>
                  <a:lnTo>
                    <a:pt x="1274" y="156"/>
                  </a:lnTo>
                  <a:lnTo>
                    <a:pt x="1277" y="158"/>
                  </a:lnTo>
                  <a:lnTo>
                    <a:pt x="1279" y="159"/>
                  </a:lnTo>
                  <a:lnTo>
                    <a:pt x="1281" y="159"/>
                  </a:lnTo>
                  <a:lnTo>
                    <a:pt x="1374" y="159"/>
                  </a:lnTo>
                  <a:lnTo>
                    <a:pt x="1376" y="160"/>
                  </a:lnTo>
                  <a:lnTo>
                    <a:pt x="1378" y="161"/>
                  </a:lnTo>
                  <a:lnTo>
                    <a:pt x="1381" y="163"/>
                  </a:lnTo>
                  <a:lnTo>
                    <a:pt x="1381" y="166"/>
                  </a:lnTo>
                  <a:lnTo>
                    <a:pt x="1381" y="167"/>
                  </a:lnTo>
                  <a:lnTo>
                    <a:pt x="1381" y="263"/>
                  </a:lnTo>
                  <a:lnTo>
                    <a:pt x="1381" y="266"/>
                  </a:lnTo>
                  <a:lnTo>
                    <a:pt x="1380" y="268"/>
                  </a:lnTo>
                  <a:lnTo>
                    <a:pt x="1378" y="270"/>
                  </a:lnTo>
                  <a:lnTo>
                    <a:pt x="1375" y="271"/>
                  </a:lnTo>
                  <a:lnTo>
                    <a:pt x="1374" y="271"/>
                  </a:lnTo>
                  <a:lnTo>
                    <a:pt x="1281" y="271"/>
                  </a:lnTo>
                  <a:lnTo>
                    <a:pt x="1278" y="271"/>
                  </a:lnTo>
                  <a:lnTo>
                    <a:pt x="1276" y="272"/>
                  </a:lnTo>
                  <a:lnTo>
                    <a:pt x="1274" y="275"/>
                  </a:lnTo>
                  <a:lnTo>
                    <a:pt x="1273" y="277"/>
                  </a:lnTo>
                  <a:lnTo>
                    <a:pt x="1273" y="278"/>
                  </a:lnTo>
                  <a:lnTo>
                    <a:pt x="1273" y="419"/>
                  </a:lnTo>
                  <a:lnTo>
                    <a:pt x="1274" y="434"/>
                  </a:lnTo>
                  <a:lnTo>
                    <a:pt x="1275" y="446"/>
                  </a:lnTo>
                  <a:lnTo>
                    <a:pt x="1277" y="452"/>
                  </a:lnTo>
                  <a:lnTo>
                    <a:pt x="1279" y="456"/>
                  </a:lnTo>
                  <a:lnTo>
                    <a:pt x="1281" y="460"/>
                  </a:lnTo>
                  <a:lnTo>
                    <a:pt x="1284" y="463"/>
                  </a:lnTo>
                  <a:lnTo>
                    <a:pt x="1287" y="466"/>
                  </a:lnTo>
                  <a:lnTo>
                    <a:pt x="1291" y="469"/>
                  </a:lnTo>
                  <a:lnTo>
                    <a:pt x="1296" y="471"/>
                  </a:lnTo>
                  <a:lnTo>
                    <a:pt x="1301" y="472"/>
                  </a:lnTo>
                  <a:lnTo>
                    <a:pt x="1307" y="473"/>
                  </a:lnTo>
                  <a:lnTo>
                    <a:pt x="1313" y="474"/>
                  </a:lnTo>
                  <a:lnTo>
                    <a:pt x="1320" y="474"/>
                  </a:lnTo>
                  <a:lnTo>
                    <a:pt x="1328" y="475"/>
                  </a:lnTo>
                  <a:lnTo>
                    <a:pt x="1340" y="474"/>
                  </a:lnTo>
                  <a:lnTo>
                    <a:pt x="1351" y="473"/>
                  </a:lnTo>
                  <a:lnTo>
                    <a:pt x="1361" y="472"/>
                  </a:lnTo>
                  <a:lnTo>
                    <a:pt x="1366" y="471"/>
                  </a:lnTo>
                  <a:lnTo>
                    <a:pt x="1367" y="471"/>
                  </a:lnTo>
                  <a:lnTo>
                    <a:pt x="1368" y="471"/>
                  </a:lnTo>
                  <a:lnTo>
                    <a:pt x="1369" y="474"/>
                  </a:lnTo>
                  <a:lnTo>
                    <a:pt x="1370" y="477"/>
                  </a:lnTo>
                  <a:lnTo>
                    <a:pt x="1370" y="564"/>
                  </a:lnTo>
                  <a:lnTo>
                    <a:pt x="1369" y="569"/>
                  </a:lnTo>
                  <a:lnTo>
                    <a:pt x="1369" y="572"/>
                  </a:lnTo>
                  <a:lnTo>
                    <a:pt x="1368" y="575"/>
                  </a:lnTo>
                  <a:lnTo>
                    <a:pt x="1366" y="577"/>
                  </a:lnTo>
                  <a:lnTo>
                    <a:pt x="1364" y="578"/>
                  </a:lnTo>
                  <a:lnTo>
                    <a:pt x="1362" y="579"/>
                  </a:lnTo>
                  <a:lnTo>
                    <a:pt x="1358" y="580"/>
                  </a:lnTo>
                  <a:lnTo>
                    <a:pt x="1340" y="582"/>
                  </a:lnTo>
                  <a:lnTo>
                    <a:pt x="1317" y="583"/>
                  </a:lnTo>
                  <a:lnTo>
                    <a:pt x="1294" y="584"/>
                  </a:lnTo>
                  <a:lnTo>
                    <a:pt x="1274" y="585"/>
                  </a:lnTo>
                  <a:close/>
                  <a:moveTo>
                    <a:pt x="0" y="572"/>
                  </a:moveTo>
                  <a:lnTo>
                    <a:pt x="0" y="7"/>
                  </a:lnTo>
                  <a:lnTo>
                    <a:pt x="0" y="5"/>
                  </a:lnTo>
                  <a:lnTo>
                    <a:pt x="1" y="3"/>
                  </a:lnTo>
                  <a:lnTo>
                    <a:pt x="4" y="1"/>
                  </a:lnTo>
                  <a:lnTo>
                    <a:pt x="6" y="0"/>
                  </a:lnTo>
                  <a:lnTo>
                    <a:pt x="7" y="0"/>
                  </a:lnTo>
                  <a:lnTo>
                    <a:pt x="200" y="0"/>
                  </a:lnTo>
                  <a:lnTo>
                    <a:pt x="202" y="0"/>
                  </a:lnTo>
                  <a:lnTo>
                    <a:pt x="204" y="1"/>
                  </a:lnTo>
                  <a:lnTo>
                    <a:pt x="206" y="2"/>
                  </a:lnTo>
                  <a:lnTo>
                    <a:pt x="207" y="3"/>
                  </a:lnTo>
                  <a:lnTo>
                    <a:pt x="209" y="6"/>
                  </a:lnTo>
                  <a:lnTo>
                    <a:pt x="209" y="7"/>
                  </a:lnTo>
                  <a:lnTo>
                    <a:pt x="307" y="386"/>
                  </a:lnTo>
                  <a:lnTo>
                    <a:pt x="307" y="387"/>
                  </a:lnTo>
                  <a:lnTo>
                    <a:pt x="308" y="388"/>
                  </a:lnTo>
                  <a:lnTo>
                    <a:pt x="310" y="389"/>
                  </a:lnTo>
                  <a:lnTo>
                    <a:pt x="312" y="389"/>
                  </a:lnTo>
                  <a:lnTo>
                    <a:pt x="313" y="387"/>
                  </a:lnTo>
                  <a:lnTo>
                    <a:pt x="313" y="386"/>
                  </a:lnTo>
                  <a:lnTo>
                    <a:pt x="401" y="7"/>
                  </a:lnTo>
                  <a:lnTo>
                    <a:pt x="402" y="5"/>
                  </a:lnTo>
                  <a:lnTo>
                    <a:pt x="403" y="3"/>
                  </a:lnTo>
                  <a:lnTo>
                    <a:pt x="406" y="1"/>
                  </a:lnTo>
                  <a:lnTo>
                    <a:pt x="409" y="0"/>
                  </a:lnTo>
                  <a:lnTo>
                    <a:pt x="410" y="0"/>
                  </a:lnTo>
                  <a:lnTo>
                    <a:pt x="607" y="0"/>
                  </a:lnTo>
                  <a:lnTo>
                    <a:pt x="610" y="0"/>
                  </a:lnTo>
                  <a:lnTo>
                    <a:pt x="611" y="1"/>
                  </a:lnTo>
                  <a:lnTo>
                    <a:pt x="614" y="4"/>
                  </a:lnTo>
                  <a:lnTo>
                    <a:pt x="615" y="6"/>
                  </a:lnTo>
                  <a:lnTo>
                    <a:pt x="615" y="7"/>
                  </a:lnTo>
                  <a:lnTo>
                    <a:pt x="615" y="572"/>
                  </a:lnTo>
                  <a:lnTo>
                    <a:pt x="614" y="575"/>
                  </a:lnTo>
                  <a:lnTo>
                    <a:pt x="613" y="576"/>
                  </a:lnTo>
                  <a:lnTo>
                    <a:pt x="611" y="579"/>
                  </a:lnTo>
                  <a:lnTo>
                    <a:pt x="608" y="579"/>
                  </a:lnTo>
                  <a:lnTo>
                    <a:pt x="607" y="580"/>
                  </a:lnTo>
                  <a:lnTo>
                    <a:pt x="473" y="580"/>
                  </a:lnTo>
                  <a:lnTo>
                    <a:pt x="470" y="579"/>
                  </a:lnTo>
                  <a:lnTo>
                    <a:pt x="468" y="578"/>
                  </a:lnTo>
                  <a:lnTo>
                    <a:pt x="466" y="576"/>
                  </a:lnTo>
                  <a:lnTo>
                    <a:pt x="465" y="573"/>
                  </a:lnTo>
                  <a:lnTo>
                    <a:pt x="465" y="572"/>
                  </a:lnTo>
                  <a:lnTo>
                    <a:pt x="465" y="226"/>
                  </a:lnTo>
                  <a:lnTo>
                    <a:pt x="465" y="224"/>
                  </a:lnTo>
                  <a:lnTo>
                    <a:pt x="464" y="223"/>
                  </a:lnTo>
                  <a:lnTo>
                    <a:pt x="463" y="222"/>
                  </a:lnTo>
                  <a:lnTo>
                    <a:pt x="462" y="222"/>
                  </a:lnTo>
                  <a:lnTo>
                    <a:pt x="461" y="222"/>
                  </a:lnTo>
                  <a:lnTo>
                    <a:pt x="460" y="223"/>
                  </a:lnTo>
                  <a:lnTo>
                    <a:pt x="458" y="226"/>
                  </a:lnTo>
                  <a:lnTo>
                    <a:pt x="452" y="264"/>
                  </a:lnTo>
                  <a:lnTo>
                    <a:pt x="446" y="298"/>
                  </a:lnTo>
                  <a:lnTo>
                    <a:pt x="443" y="314"/>
                  </a:lnTo>
                  <a:lnTo>
                    <a:pt x="440" y="330"/>
                  </a:lnTo>
                  <a:lnTo>
                    <a:pt x="436" y="346"/>
                  </a:lnTo>
                  <a:lnTo>
                    <a:pt x="432" y="362"/>
                  </a:lnTo>
                  <a:lnTo>
                    <a:pt x="373" y="572"/>
                  </a:lnTo>
                  <a:lnTo>
                    <a:pt x="372" y="575"/>
                  </a:lnTo>
                  <a:lnTo>
                    <a:pt x="371" y="577"/>
                  </a:lnTo>
                  <a:lnTo>
                    <a:pt x="368" y="579"/>
                  </a:lnTo>
                  <a:lnTo>
                    <a:pt x="365" y="579"/>
                  </a:lnTo>
                  <a:lnTo>
                    <a:pt x="364" y="580"/>
                  </a:lnTo>
                  <a:lnTo>
                    <a:pt x="241" y="580"/>
                  </a:lnTo>
                  <a:lnTo>
                    <a:pt x="238" y="579"/>
                  </a:lnTo>
                  <a:lnTo>
                    <a:pt x="236" y="578"/>
                  </a:lnTo>
                  <a:lnTo>
                    <a:pt x="234" y="577"/>
                  </a:lnTo>
                  <a:lnTo>
                    <a:pt x="233" y="576"/>
                  </a:lnTo>
                  <a:lnTo>
                    <a:pt x="232" y="573"/>
                  </a:lnTo>
                  <a:lnTo>
                    <a:pt x="231" y="572"/>
                  </a:lnTo>
                  <a:lnTo>
                    <a:pt x="174" y="362"/>
                  </a:lnTo>
                  <a:lnTo>
                    <a:pt x="169" y="345"/>
                  </a:lnTo>
                  <a:lnTo>
                    <a:pt x="165" y="330"/>
                  </a:lnTo>
                  <a:lnTo>
                    <a:pt x="159" y="301"/>
                  </a:lnTo>
                  <a:lnTo>
                    <a:pt x="153" y="268"/>
                  </a:lnTo>
                  <a:lnTo>
                    <a:pt x="146" y="224"/>
                  </a:lnTo>
                  <a:lnTo>
                    <a:pt x="146" y="223"/>
                  </a:lnTo>
                  <a:lnTo>
                    <a:pt x="145" y="222"/>
                  </a:lnTo>
                  <a:lnTo>
                    <a:pt x="142" y="221"/>
                  </a:lnTo>
                  <a:lnTo>
                    <a:pt x="140" y="222"/>
                  </a:lnTo>
                  <a:lnTo>
                    <a:pt x="140" y="223"/>
                  </a:lnTo>
                  <a:lnTo>
                    <a:pt x="139" y="224"/>
                  </a:lnTo>
                  <a:lnTo>
                    <a:pt x="139" y="572"/>
                  </a:lnTo>
                  <a:lnTo>
                    <a:pt x="139" y="575"/>
                  </a:lnTo>
                  <a:lnTo>
                    <a:pt x="138" y="576"/>
                  </a:lnTo>
                  <a:lnTo>
                    <a:pt x="136" y="579"/>
                  </a:lnTo>
                  <a:lnTo>
                    <a:pt x="133" y="579"/>
                  </a:lnTo>
                  <a:lnTo>
                    <a:pt x="132" y="580"/>
                  </a:lnTo>
                  <a:lnTo>
                    <a:pt x="8" y="580"/>
                  </a:lnTo>
                  <a:lnTo>
                    <a:pt x="5" y="579"/>
                  </a:lnTo>
                  <a:lnTo>
                    <a:pt x="3" y="578"/>
                  </a:lnTo>
                  <a:lnTo>
                    <a:pt x="1" y="576"/>
                  </a:lnTo>
                  <a:lnTo>
                    <a:pt x="0" y="573"/>
                  </a:lnTo>
                  <a:lnTo>
                    <a:pt x="0" y="572"/>
                  </a:lnTo>
                  <a:close/>
                  <a:moveTo>
                    <a:pt x="1063" y="408"/>
                  </a:moveTo>
                  <a:lnTo>
                    <a:pt x="1062" y="410"/>
                  </a:lnTo>
                  <a:lnTo>
                    <a:pt x="1062" y="412"/>
                  </a:lnTo>
                  <a:lnTo>
                    <a:pt x="1061" y="413"/>
                  </a:lnTo>
                  <a:lnTo>
                    <a:pt x="1060" y="414"/>
                  </a:lnTo>
                  <a:lnTo>
                    <a:pt x="1058" y="414"/>
                  </a:lnTo>
                  <a:lnTo>
                    <a:pt x="1057" y="414"/>
                  </a:lnTo>
                  <a:lnTo>
                    <a:pt x="801" y="414"/>
                  </a:lnTo>
                  <a:lnTo>
                    <a:pt x="799" y="415"/>
                  </a:lnTo>
                  <a:lnTo>
                    <a:pt x="797" y="415"/>
                  </a:lnTo>
                  <a:lnTo>
                    <a:pt x="796" y="417"/>
                  </a:lnTo>
                  <a:lnTo>
                    <a:pt x="795" y="418"/>
                  </a:lnTo>
                  <a:lnTo>
                    <a:pt x="795" y="421"/>
                  </a:lnTo>
                  <a:lnTo>
                    <a:pt x="795" y="422"/>
                  </a:lnTo>
                  <a:lnTo>
                    <a:pt x="796" y="430"/>
                  </a:lnTo>
                  <a:lnTo>
                    <a:pt x="799" y="438"/>
                  </a:lnTo>
                  <a:lnTo>
                    <a:pt x="801" y="445"/>
                  </a:lnTo>
                  <a:lnTo>
                    <a:pt x="804" y="451"/>
                  </a:lnTo>
                  <a:lnTo>
                    <a:pt x="808" y="457"/>
                  </a:lnTo>
                  <a:lnTo>
                    <a:pt x="812" y="462"/>
                  </a:lnTo>
                  <a:lnTo>
                    <a:pt x="817" y="466"/>
                  </a:lnTo>
                  <a:lnTo>
                    <a:pt x="822" y="470"/>
                  </a:lnTo>
                  <a:lnTo>
                    <a:pt x="827" y="473"/>
                  </a:lnTo>
                  <a:lnTo>
                    <a:pt x="833" y="476"/>
                  </a:lnTo>
                  <a:lnTo>
                    <a:pt x="840" y="478"/>
                  </a:lnTo>
                  <a:lnTo>
                    <a:pt x="846" y="480"/>
                  </a:lnTo>
                  <a:lnTo>
                    <a:pt x="854" y="481"/>
                  </a:lnTo>
                  <a:lnTo>
                    <a:pt x="861" y="482"/>
                  </a:lnTo>
                  <a:lnTo>
                    <a:pt x="878" y="482"/>
                  </a:lnTo>
                  <a:lnTo>
                    <a:pt x="886" y="482"/>
                  </a:lnTo>
                  <a:lnTo>
                    <a:pt x="894" y="481"/>
                  </a:lnTo>
                  <a:lnTo>
                    <a:pt x="903" y="480"/>
                  </a:lnTo>
                  <a:lnTo>
                    <a:pt x="911" y="479"/>
                  </a:lnTo>
                  <a:lnTo>
                    <a:pt x="928" y="475"/>
                  </a:lnTo>
                  <a:lnTo>
                    <a:pt x="943" y="470"/>
                  </a:lnTo>
                  <a:lnTo>
                    <a:pt x="958" y="464"/>
                  </a:lnTo>
                  <a:lnTo>
                    <a:pt x="971" y="459"/>
                  </a:lnTo>
                  <a:lnTo>
                    <a:pt x="983" y="453"/>
                  </a:lnTo>
                  <a:lnTo>
                    <a:pt x="992" y="448"/>
                  </a:lnTo>
                  <a:lnTo>
                    <a:pt x="994" y="447"/>
                  </a:lnTo>
                  <a:lnTo>
                    <a:pt x="996" y="447"/>
                  </a:lnTo>
                  <a:lnTo>
                    <a:pt x="998" y="447"/>
                  </a:lnTo>
                  <a:lnTo>
                    <a:pt x="999" y="448"/>
                  </a:lnTo>
                  <a:lnTo>
                    <a:pt x="1002" y="450"/>
                  </a:lnTo>
                  <a:lnTo>
                    <a:pt x="1050" y="531"/>
                  </a:lnTo>
                  <a:lnTo>
                    <a:pt x="1052" y="535"/>
                  </a:lnTo>
                  <a:lnTo>
                    <a:pt x="1052" y="537"/>
                  </a:lnTo>
                  <a:lnTo>
                    <a:pt x="1051" y="538"/>
                  </a:lnTo>
                  <a:lnTo>
                    <a:pt x="1051" y="540"/>
                  </a:lnTo>
                  <a:lnTo>
                    <a:pt x="1050" y="540"/>
                  </a:lnTo>
                  <a:lnTo>
                    <a:pt x="1048" y="542"/>
                  </a:lnTo>
                  <a:lnTo>
                    <a:pt x="1038" y="547"/>
                  </a:lnTo>
                  <a:lnTo>
                    <a:pt x="1028" y="553"/>
                  </a:lnTo>
                  <a:lnTo>
                    <a:pt x="1018" y="558"/>
                  </a:lnTo>
                  <a:lnTo>
                    <a:pt x="1007" y="562"/>
                  </a:lnTo>
                  <a:lnTo>
                    <a:pt x="996" y="567"/>
                  </a:lnTo>
                  <a:lnTo>
                    <a:pt x="985" y="570"/>
                  </a:lnTo>
                  <a:lnTo>
                    <a:pt x="974" y="574"/>
                  </a:lnTo>
                  <a:lnTo>
                    <a:pt x="963" y="577"/>
                  </a:lnTo>
                  <a:lnTo>
                    <a:pt x="951" y="580"/>
                  </a:lnTo>
                  <a:lnTo>
                    <a:pt x="939" y="582"/>
                  </a:lnTo>
                  <a:lnTo>
                    <a:pt x="927" y="584"/>
                  </a:lnTo>
                  <a:lnTo>
                    <a:pt x="915" y="585"/>
                  </a:lnTo>
                  <a:lnTo>
                    <a:pt x="903" y="587"/>
                  </a:lnTo>
                  <a:lnTo>
                    <a:pt x="891" y="587"/>
                  </a:lnTo>
                  <a:lnTo>
                    <a:pt x="866" y="588"/>
                  </a:lnTo>
                  <a:lnTo>
                    <a:pt x="844" y="588"/>
                  </a:lnTo>
                  <a:lnTo>
                    <a:pt x="823" y="586"/>
                  </a:lnTo>
                  <a:lnTo>
                    <a:pt x="813" y="584"/>
                  </a:lnTo>
                  <a:lnTo>
                    <a:pt x="802" y="583"/>
                  </a:lnTo>
                  <a:lnTo>
                    <a:pt x="792" y="580"/>
                  </a:lnTo>
                  <a:lnTo>
                    <a:pt x="782" y="578"/>
                  </a:lnTo>
                  <a:lnTo>
                    <a:pt x="772" y="575"/>
                  </a:lnTo>
                  <a:lnTo>
                    <a:pt x="762" y="572"/>
                  </a:lnTo>
                  <a:lnTo>
                    <a:pt x="753" y="568"/>
                  </a:lnTo>
                  <a:lnTo>
                    <a:pt x="744" y="564"/>
                  </a:lnTo>
                  <a:lnTo>
                    <a:pt x="735" y="559"/>
                  </a:lnTo>
                  <a:lnTo>
                    <a:pt x="726" y="554"/>
                  </a:lnTo>
                  <a:lnTo>
                    <a:pt x="718" y="549"/>
                  </a:lnTo>
                  <a:lnTo>
                    <a:pt x="710" y="543"/>
                  </a:lnTo>
                  <a:lnTo>
                    <a:pt x="702" y="537"/>
                  </a:lnTo>
                  <a:lnTo>
                    <a:pt x="694" y="530"/>
                  </a:lnTo>
                  <a:lnTo>
                    <a:pt x="687" y="522"/>
                  </a:lnTo>
                  <a:lnTo>
                    <a:pt x="681" y="514"/>
                  </a:lnTo>
                  <a:lnTo>
                    <a:pt x="675" y="505"/>
                  </a:lnTo>
                  <a:lnTo>
                    <a:pt x="669" y="496"/>
                  </a:lnTo>
                  <a:lnTo>
                    <a:pt x="664" y="486"/>
                  </a:lnTo>
                  <a:lnTo>
                    <a:pt x="659" y="476"/>
                  </a:lnTo>
                  <a:lnTo>
                    <a:pt x="654" y="465"/>
                  </a:lnTo>
                  <a:lnTo>
                    <a:pt x="652" y="459"/>
                  </a:lnTo>
                  <a:lnTo>
                    <a:pt x="651" y="454"/>
                  </a:lnTo>
                  <a:lnTo>
                    <a:pt x="647" y="441"/>
                  </a:lnTo>
                  <a:lnTo>
                    <a:pt x="645" y="429"/>
                  </a:lnTo>
                  <a:lnTo>
                    <a:pt x="642" y="415"/>
                  </a:lnTo>
                  <a:lnTo>
                    <a:pt x="642" y="408"/>
                  </a:lnTo>
                  <a:lnTo>
                    <a:pt x="641" y="401"/>
                  </a:lnTo>
                  <a:lnTo>
                    <a:pt x="640" y="386"/>
                  </a:lnTo>
                  <a:lnTo>
                    <a:pt x="640" y="370"/>
                  </a:lnTo>
                  <a:lnTo>
                    <a:pt x="640" y="355"/>
                  </a:lnTo>
                  <a:lnTo>
                    <a:pt x="641" y="340"/>
                  </a:lnTo>
                  <a:lnTo>
                    <a:pt x="643" y="326"/>
                  </a:lnTo>
                  <a:lnTo>
                    <a:pt x="646" y="313"/>
                  </a:lnTo>
                  <a:lnTo>
                    <a:pt x="649" y="300"/>
                  </a:lnTo>
                  <a:lnTo>
                    <a:pt x="653" y="288"/>
                  </a:lnTo>
                  <a:lnTo>
                    <a:pt x="657" y="276"/>
                  </a:lnTo>
                  <a:lnTo>
                    <a:pt x="662" y="265"/>
                  </a:lnTo>
                  <a:lnTo>
                    <a:pt x="668" y="255"/>
                  </a:lnTo>
                  <a:lnTo>
                    <a:pt x="674" y="245"/>
                  </a:lnTo>
                  <a:lnTo>
                    <a:pt x="680" y="236"/>
                  </a:lnTo>
                  <a:lnTo>
                    <a:pt x="687" y="227"/>
                  </a:lnTo>
                  <a:lnTo>
                    <a:pt x="694" y="219"/>
                  </a:lnTo>
                  <a:lnTo>
                    <a:pt x="702" y="212"/>
                  </a:lnTo>
                  <a:lnTo>
                    <a:pt x="710" y="204"/>
                  </a:lnTo>
                  <a:lnTo>
                    <a:pt x="718" y="198"/>
                  </a:lnTo>
                  <a:lnTo>
                    <a:pt x="727" y="192"/>
                  </a:lnTo>
                  <a:lnTo>
                    <a:pt x="735" y="186"/>
                  </a:lnTo>
                  <a:lnTo>
                    <a:pt x="744" y="181"/>
                  </a:lnTo>
                  <a:lnTo>
                    <a:pt x="753" y="177"/>
                  </a:lnTo>
                  <a:lnTo>
                    <a:pt x="762" y="172"/>
                  </a:lnTo>
                  <a:lnTo>
                    <a:pt x="771" y="169"/>
                  </a:lnTo>
                  <a:lnTo>
                    <a:pt x="781" y="165"/>
                  </a:lnTo>
                  <a:lnTo>
                    <a:pt x="790" y="162"/>
                  </a:lnTo>
                  <a:lnTo>
                    <a:pt x="799" y="160"/>
                  </a:lnTo>
                  <a:lnTo>
                    <a:pt x="808" y="158"/>
                  </a:lnTo>
                  <a:lnTo>
                    <a:pt x="817" y="156"/>
                  </a:lnTo>
                  <a:lnTo>
                    <a:pt x="826" y="154"/>
                  </a:lnTo>
                  <a:lnTo>
                    <a:pt x="844" y="152"/>
                  </a:lnTo>
                  <a:lnTo>
                    <a:pt x="852" y="152"/>
                  </a:lnTo>
                  <a:lnTo>
                    <a:pt x="860" y="152"/>
                  </a:lnTo>
                  <a:lnTo>
                    <a:pt x="868" y="152"/>
                  </a:lnTo>
                  <a:lnTo>
                    <a:pt x="876" y="152"/>
                  </a:lnTo>
                  <a:lnTo>
                    <a:pt x="893" y="153"/>
                  </a:lnTo>
                  <a:lnTo>
                    <a:pt x="901" y="155"/>
                  </a:lnTo>
                  <a:lnTo>
                    <a:pt x="910" y="156"/>
                  </a:lnTo>
                  <a:lnTo>
                    <a:pt x="927" y="160"/>
                  </a:lnTo>
                  <a:lnTo>
                    <a:pt x="936" y="162"/>
                  </a:lnTo>
                  <a:lnTo>
                    <a:pt x="944" y="165"/>
                  </a:lnTo>
                  <a:lnTo>
                    <a:pt x="953" y="168"/>
                  </a:lnTo>
                  <a:lnTo>
                    <a:pt x="961" y="172"/>
                  </a:lnTo>
                  <a:lnTo>
                    <a:pt x="969" y="177"/>
                  </a:lnTo>
                  <a:lnTo>
                    <a:pt x="977" y="181"/>
                  </a:lnTo>
                  <a:lnTo>
                    <a:pt x="985" y="187"/>
                  </a:lnTo>
                  <a:lnTo>
                    <a:pt x="993" y="193"/>
                  </a:lnTo>
                  <a:lnTo>
                    <a:pt x="1000" y="199"/>
                  </a:lnTo>
                  <a:lnTo>
                    <a:pt x="1007" y="207"/>
                  </a:lnTo>
                  <a:lnTo>
                    <a:pt x="1014" y="215"/>
                  </a:lnTo>
                  <a:lnTo>
                    <a:pt x="1021" y="223"/>
                  </a:lnTo>
                  <a:lnTo>
                    <a:pt x="1027" y="233"/>
                  </a:lnTo>
                  <a:lnTo>
                    <a:pt x="1032" y="243"/>
                  </a:lnTo>
                  <a:lnTo>
                    <a:pt x="1035" y="248"/>
                  </a:lnTo>
                  <a:lnTo>
                    <a:pt x="1038" y="253"/>
                  </a:lnTo>
                  <a:lnTo>
                    <a:pt x="1043" y="265"/>
                  </a:lnTo>
                  <a:lnTo>
                    <a:pt x="1047" y="278"/>
                  </a:lnTo>
                  <a:lnTo>
                    <a:pt x="1051" y="291"/>
                  </a:lnTo>
                  <a:lnTo>
                    <a:pt x="1054" y="305"/>
                  </a:lnTo>
                  <a:lnTo>
                    <a:pt x="1057" y="320"/>
                  </a:lnTo>
                  <a:lnTo>
                    <a:pt x="1060" y="336"/>
                  </a:lnTo>
                  <a:lnTo>
                    <a:pt x="1061" y="354"/>
                  </a:lnTo>
                  <a:lnTo>
                    <a:pt x="1062" y="372"/>
                  </a:lnTo>
                  <a:lnTo>
                    <a:pt x="1063" y="391"/>
                  </a:lnTo>
                  <a:lnTo>
                    <a:pt x="1063" y="408"/>
                  </a:lnTo>
                  <a:close/>
                  <a:moveTo>
                    <a:pt x="918" y="326"/>
                  </a:moveTo>
                  <a:lnTo>
                    <a:pt x="921" y="325"/>
                  </a:lnTo>
                  <a:lnTo>
                    <a:pt x="922" y="325"/>
                  </a:lnTo>
                  <a:lnTo>
                    <a:pt x="923" y="323"/>
                  </a:lnTo>
                  <a:lnTo>
                    <a:pt x="924" y="322"/>
                  </a:lnTo>
                  <a:lnTo>
                    <a:pt x="925" y="319"/>
                  </a:lnTo>
                  <a:lnTo>
                    <a:pt x="924" y="318"/>
                  </a:lnTo>
                  <a:lnTo>
                    <a:pt x="923" y="311"/>
                  </a:lnTo>
                  <a:lnTo>
                    <a:pt x="922" y="304"/>
                  </a:lnTo>
                  <a:lnTo>
                    <a:pt x="920" y="297"/>
                  </a:lnTo>
                  <a:lnTo>
                    <a:pt x="917" y="291"/>
                  </a:lnTo>
                  <a:lnTo>
                    <a:pt x="915" y="286"/>
                  </a:lnTo>
                  <a:lnTo>
                    <a:pt x="911" y="281"/>
                  </a:lnTo>
                  <a:lnTo>
                    <a:pt x="908" y="277"/>
                  </a:lnTo>
                  <a:lnTo>
                    <a:pt x="904" y="273"/>
                  </a:lnTo>
                  <a:lnTo>
                    <a:pt x="900" y="270"/>
                  </a:lnTo>
                  <a:lnTo>
                    <a:pt x="895" y="267"/>
                  </a:lnTo>
                  <a:lnTo>
                    <a:pt x="890" y="265"/>
                  </a:lnTo>
                  <a:lnTo>
                    <a:pt x="885" y="263"/>
                  </a:lnTo>
                  <a:lnTo>
                    <a:pt x="879" y="262"/>
                  </a:lnTo>
                  <a:lnTo>
                    <a:pt x="873" y="261"/>
                  </a:lnTo>
                  <a:lnTo>
                    <a:pt x="866" y="260"/>
                  </a:lnTo>
                  <a:lnTo>
                    <a:pt x="860" y="260"/>
                  </a:lnTo>
                  <a:lnTo>
                    <a:pt x="854" y="260"/>
                  </a:lnTo>
                  <a:lnTo>
                    <a:pt x="849" y="261"/>
                  </a:lnTo>
                  <a:lnTo>
                    <a:pt x="844" y="262"/>
                  </a:lnTo>
                  <a:lnTo>
                    <a:pt x="839" y="263"/>
                  </a:lnTo>
                  <a:lnTo>
                    <a:pt x="834" y="265"/>
                  </a:lnTo>
                  <a:lnTo>
                    <a:pt x="830" y="267"/>
                  </a:lnTo>
                  <a:lnTo>
                    <a:pt x="826" y="270"/>
                  </a:lnTo>
                  <a:lnTo>
                    <a:pt x="821" y="273"/>
                  </a:lnTo>
                  <a:lnTo>
                    <a:pt x="818" y="277"/>
                  </a:lnTo>
                  <a:lnTo>
                    <a:pt x="814" y="281"/>
                  </a:lnTo>
                  <a:lnTo>
                    <a:pt x="810" y="286"/>
                  </a:lnTo>
                  <a:lnTo>
                    <a:pt x="807" y="291"/>
                  </a:lnTo>
                  <a:lnTo>
                    <a:pt x="804" y="297"/>
                  </a:lnTo>
                  <a:lnTo>
                    <a:pt x="802" y="304"/>
                  </a:lnTo>
                  <a:lnTo>
                    <a:pt x="799" y="311"/>
                  </a:lnTo>
                  <a:lnTo>
                    <a:pt x="797" y="318"/>
                  </a:lnTo>
                  <a:lnTo>
                    <a:pt x="797" y="321"/>
                  </a:lnTo>
                  <a:lnTo>
                    <a:pt x="797" y="323"/>
                  </a:lnTo>
                  <a:lnTo>
                    <a:pt x="798" y="324"/>
                  </a:lnTo>
                  <a:lnTo>
                    <a:pt x="799" y="325"/>
                  </a:lnTo>
                  <a:lnTo>
                    <a:pt x="800" y="326"/>
                  </a:lnTo>
                  <a:lnTo>
                    <a:pt x="802" y="326"/>
                  </a:lnTo>
                  <a:lnTo>
                    <a:pt x="918" y="326"/>
                  </a:lnTo>
                  <a:close/>
                  <a:moveTo>
                    <a:pt x="1595" y="588"/>
                  </a:moveTo>
                  <a:lnTo>
                    <a:pt x="1577" y="588"/>
                  </a:lnTo>
                  <a:lnTo>
                    <a:pt x="1560" y="587"/>
                  </a:lnTo>
                  <a:lnTo>
                    <a:pt x="1543" y="585"/>
                  </a:lnTo>
                  <a:lnTo>
                    <a:pt x="1528" y="584"/>
                  </a:lnTo>
                  <a:lnTo>
                    <a:pt x="1513" y="581"/>
                  </a:lnTo>
                  <a:lnTo>
                    <a:pt x="1499" y="578"/>
                  </a:lnTo>
                  <a:lnTo>
                    <a:pt x="1485" y="575"/>
                  </a:lnTo>
                  <a:lnTo>
                    <a:pt x="1472" y="571"/>
                  </a:lnTo>
                  <a:lnTo>
                    <a:pt x="1460" y="567"/>
                  </a:lnTo>
                  <a:lnTo>
                    <a:pt x="1449" y="563"/>
                  </a:lnTo>
                  <a:lnTo>
                    <a:pt x="1438" y="558"/>
                  </a:lnTo>
                  <a:lnTo>
                    <a:pt x="1427" y="553"/>
                  </a:lnTo>
                  <a:lnTo>
                    <a:pt x="1418" y="548"/>
                  </a:lnTo>
                  <a:lnTo>
                    <a:pt x="1409" y="543"/>
                  </a:lnTo>
                  <a:lnTo>
                    <a:pt x="1393" y="532"/>
                  </a:lnTo>
                  <a:lnTo>
                    <a:pt x="1391" y="531"/>
                  </a:lnTo>
                  <a:lnTo>
                    <a:pt x="1390" y="529"/>
                  </a:lnTo>
                  <a:lnTo>
                    <a:pt x="1389" y="527"/>
                  </a:lnTo>
                  <a:lnTo>
                    <a:pt x="1389" y="525"/>
                  </a:lnTo>
                  <a:lnTo>
                    <a:pt x="1390" y="523"/>
                  </a:lnTo>
                  <a:lnTo>
                    <a:pt x="1391" y="522"/>
                  </a:lnTo>
                  <a:lnTo>
                    <a:pt x="1440" y="446"/>
                  </a:lnTo>
                  <a:lnTo>
                    <a:pt x="1442" y="444"/>
                  </a:lnTo>
                  <a:lnTo>
                    <a:pt x="1443" y="444"/>
                  </a:lnTo>
                  <a:lnTo>
                    <a:pt x="1444" y="443"/>
                  </a:lnTo>
                  <a:lnTo>
                    <a:pt x="1446" y="443"/>
                  </a:lnTo>
                  <a:lnTo>
                    <a:pt x="1448" y="444"/>
                  </a:lnTo>
                  <a:lnTo>
                    <a:pt x="1450" y="445"/>
                  </a:lnTo>
                  <a:lnTo>
                    <a:pt x="1465" y="456"/>
                  </a:lnTo>
                  <a:lnTo>
                    <a:pt x="1483" y="465"/>
                  </a:lnTo>
                  <a:lnTo>
                    <a:pt x="1501" y="473"/>
                  </a:lnTo>
                  <a:lnTo>
                    <a:pt x="1510" y="476"/>
                  </a:lnTo>
                  <a:lnTo>
                    <a:pt x="1520" y="479"/>
                  </a:lnTo>
                  <a:lnTo>
                    <a:pt x="1529" y="482"/>
                  </a:lnTo>
                  <a:lnTo>
                    <a:pt x="1539" y="485"/>
                  </a:lnTo>
                  <a:lnTo>
                    <a:pt x="1558" y="489"/>
                  </a:lnTo>
                  <a:lnTo>
                    <a:pt x="1576" y="491"/>
                  </a:lnTo>
                  <a:lnTo>
                    <a:pt x="1594" y="492"/>
                  </a:lnTo>
                  <a:lnTo>
                    <a:pt x="1604" y="491"/>
                  </a:lnTo>
                  <a:lnTo>
                    <a:pt x="1613" y="490"/>
                  </a:lnTo>
                  <a:lnTo>
                    <a:pt x="1622" y="488"/>
                  </a:lnTo>
                  <a:lnTo>
                    <a:pt x="1629" y="486"/>
                  </a:lnTo>
                  <a:lnTo>
                    <a:pt x="1632" y="484"/>
                  </a:lnTo>
                  <a:lnTo>
                    <a:pt x="1635" y="482"/>
                  </a:lnTo>
                  <a:lnTo>
                    <a:pt x="1638" y="480"/>
                  </a:lnTo>
                  <a:lnTo>
                    <a:pt x="1640" y="477"/>
                  </a:lnTo>
                  <a:lnTo>
                    <a:pt x="1642" y="474"/>
                  </a:lnTo>
                  <a:lnTo>
                    <a:pt x="1643" y="471"/>
                  </a:lnTo>
                  <a:lnTo>
                    <a:pt x="1644" y="468"/>
                  </a:lnTo>
                  <a:lnTo>
                    <a:pt x="1644" y="464"/>
                  </a:lnTo>
                  <a:lnTo>
                    <a:pt x="1644" y="461"/>
                  </a:lnTo>
                  <a:lnTo>
                    <a:pt x="1643" y="457"/>
                  </a:lnTo>
                  <a:lnTo>
                    <a:pt x="1642" y="454"/>
                  </a:lnTo>
                  <a:lnTo>
                    <a:pt x="1641" y="451"/>
                  </a:lnTo>
                  <a:lnTo>
                    <a:pt x="1640" y="449"/>
                  </a:lnTo>
                  <a:lnTo>
                    <a:pt x="1638" y="448"/>
                  </a:lnTo>
                  <a:lnTo>
                    <a:pt x="1636" y="445"/>
                  </a:lnTo>
                  <a:lnTo>
                    <a:pt x="1629" y="441"/>
                  </a:lnTo>
                  <a:lnTo>
                    <a:pt x="1620" y="437"/>
                  </a:lnTo>
                  <a:lnTo>
                    <a:pt x="1609" y="434"/>
                  </a:lnTo>
                  <a:lnTo>
                    <a:pt x="1595" y="432"/>
                  </a:lnTo>
                  <a:lnTo>
                    <a:pt x="1579" y="429"/>
                  </a:lnTo>
                  <a:lnTo>
                    <a:pt x="1551" y="425"/>
                  </a:lnTo>
                  <a:lnTo>
                    <a:pt x="1537" y="422"/>
                  </a:lnTo>
                  <a:lnTo>
                    <a:pt x="1522" y="419"/>
                  </a:lnTo>
                  <a:lnTo>
                    <a:pt x="1508" y="415"/>
                  </a:lnTo>
                  <a:lnTo>
                    <a:pt x="1493" y="411"/>
                  </a:lnTo>
                  <a:lnTo>
                    <a:pt x="1480" y="405"/>
                  </a:lnTo>
                  <a:lnTo>
                    <a:pt x="1466" y="398"/>
                  </a:lnTo>
                  <a:lnTo>
                    <a:pt x="1460" y="395"/>
                  </a:lnTo>
                  <a:lnTo>
                    <a:pt x="1454" y="391"/>
                  </a:lnTo>
                  <a:lnTo>
                    <a:pt x="1448" y="386"/>
                  </a:lnTo>
                  <a:lnTo>
                    <a:pt x="1443" y="382"/>
                  </a:lnTo>
                  <a:lnTo>
                    <a:pt x="1438" y="377"/>
                  </a:lnTo>
                  <a:lnTo>
                    <a:pt x="1433" y="371"/>
                  </a:lnTo>
                  <a:lnTo>
                    <a:pt x="1428" y="366"/>
                  </a:lnTo>
                  <a:lnTo>
                    <a:pt x="1424" y="359"/>
                  </a:lnTo>
                  <a:lnTo>
                    <a:pt x="1420" y="353"/>
                  </a:lnTo>
                  <a:lnTo>
                    <a:pt x="1417" y="346"/>
                  </a:lnTo>
                  <a:lnTo>
                    <a:pt x="1414" y="338"/>
                  </a:lnTo>
                  <a:lnTo>
                    <a:pt x="1411" y="330"/>
                  </a:lnTo>
                  <a:lnTo>
                    <a:pt x="1410" y="322"/>
                  </a:lnTo>
                  <a:lnTo>
                    <a:pt x="1408" y="313"/>
                  </a:lnTo>
                  <a:lnTo>
                    <a:pt x="1408" y="308"/>
                  </a:lnTo>
                  <a:lnTo>
                    <a:pt x="1407" y="304"/>
                  </a:lnTo>
                  <a:lnTo>
                    <a:pt x="1407" y="294"/>
                  </a:lnTo>
                  <a:lnTo>
                    <a:pt x="1407" y="285"/>
                  </a:lnTo>
                  <a:lnTo>
                    <a:pt x="1408" y="277"/>
                  </a:lnTo>
                  <a:lnTo>
                    <a:pt x="1409" y="268"/>
                  </a:lnTo>
                  <a:lnTo>
                    <a:pt x="1410" y="261"/>
                  </a:lnTo>
                  <a:lnTo>
                    <a:pt x="1412" y="253"/>
                  </a:lnTo>
                  <a:lnTo>
                    <a:pt x="1415" y="246"/>
                  </a:lnTo>
                  <a:lnTo>
                    <a:pt x="1417" y="239"/>
                  </a:lnTo>
                  <a:lnTo>
                    <a:pt x="1420" y="232"/>
                  </a:lnTo>
                  <a:lnTo>
                    <a:pt x="1424" y="225"/>
                  </a:lnTo>
                  <a:lnTo>
                    <a:pt x="1428" y="219"/>
                  </a:lnTo>
                  <a:lnTo>
                    <a:pt x="1436" y="208"/>
                  </a:lnTo>
                  <a:lnTo>
                    <a:pt x="1441" y="202"/>
                  </a:lnTo>
                  <a:lnTo>
                    <a:pt x="1446" y="197"/>
                  </a:lnTo>
                  <a:lnTo>
                    <a:pt x="1457" y="188"/>
                  </a:lnTo>
                  <a:lnTo>
                    <a:pt x="1463" y="183"/>
                  </a:lnTo>
                  <a:lnTo>
                    <a:pt x="1469" y="179"/>
                  </a:lnTo>
                  <a:lnTo>
                    <a:pt x="1483" y="172"/>
                  </a:lnTo>
                  <a:lnTo>
                    <a:pt x="1490" y="169"/>
                  </a:lnTo>
                  <a:lnTo>
                    <a:pt x="1497" y="166"/>
                  </a:lnTo>
                  <a:lnTo>
                    <a:pt x="1512" y="161"/>
                  </a:lnTo>
                  <a:lnTo>
                    <a:pt x="1528" y="157"/>
                  </a:lnTo>
                  <a:lnTo>
                    <a:pt x="1544" y="154"/>
                  </a:lnTo>
                  <a:lnTo>
                    <a:pt x="1561" y="152"/>
                  </a:lnTo>
                  <a:lnTo>
                    <a:pt x="1579" y="152"/>
                  </a:lnTo>
                  <a:lnTo>
                    <a:pt x="1595" y="152"/>
                  </a:lnTo>
                  <a:lnTo>
                    <a:pt x="1611" y="153"/>
                  </a:lnTo>
                  <a:lnTo>
                    <a:pt x="1626" y="154"/>
                  </a:lnTo>
                  <a:lnTo>
                    <a:pt x="1641" y="156"/>
                  </a:lnTo>
                  <a:lnTo>
                    <a:pt x="1654" y="158"/>
                  </a:lnTo>
                  <a:lnTo>
                    <a:pt x="1667" y="160"/>
                  </a:lnTo>
                  <a:lnTo>
                    <a:pt x="1679" y="163"/>
                  </a:lnTo>
                  <a:lnTo>
                    <a:pt x="1691" y="167"/>
                  </a:lnTo>
                  <a:lnTo>
                    <a:pt x="1702" y="170"/>
                  </a:lnTo>
                  <a:lnTo>
                    <a:pt x="1713" y="174"/>
                  </a:lnTo>
                  <a:lnTo>
                    <a:pt x="1723" y="179"/>
                  </a:lnTo>
                  <a:lnTo>
                    <a:pt x="1733" y="183"/>
                  </a:lnTo>
                  <a:lnTo>
                    <a:pt x="1742" y="188"/>
                  </a:lnTo>
                  <a:lnTo>
                    <a:pt x="1751" y="194"/>
                  </a:lnTo>
                  <a:lnTo>
                    <a:pt x="1768" y="205"/>
                  </a:lnTo>
                  <a:lnTo>
                    <a:pt x="1770" y="207"/>
                  </a:lnTo>
                  <a:lnTo>
                    <a:pt x="1771" y="209"/>
                  </a:lnTo>
                  <a:lnTo>
                    <a:pt x="1772" y="211"/>
                  </a:lnTo>
                  <a:lnTo>
                    <a:pt x="1772" y="212"/>
                  </a:lnTo>
                  <a:lnTo>
                    <a:pt x="1771" y="215"/>
                  </a:lnTo>
                  <a:lnTo>
                    <a:pt x="1770" y="216"/>
                  </a:lnTo>
                  <a:lnTo>
                    <a:pt x="1722" y="288"/>
                  </a:lnTo>
                  <a:lnTo>
                    <a:pt x="1720" y="290"/>
                  </a:lnTo>
                  <a:lnTo>
                    <a:pt x="1718" y="292"/>
                  </a:lnTo>
                  <a:lnTo>
                    <a:pt x="1716" y="292"/>
                  </a:lnTo>
                  <a:lnTo>
                    <a:pt x="1715" y="292"/>
                  </a:lnTo>
                  <a:lnTo>
                    <a:pt x="1711" y="292"/>
                  </a:lnTo>
                  <a:lnTo>
                    <a:pt x="1708" y="290"/>
                  </a:lnTo>
                  <a:lnTo>
                    <a:pt x="1693" y="282"/>
                  </a:lnTo>
                  <a:lnTo>
                    <a:pt x="1677" y="274"/>
                  </a:lnTo>
                  <a:lnTo>
                    <a:pt x="1662" y="268"/>
                  </a:lnTo>
                  <a:lnTo>
                    <a:pt x="1647" y="263"/>
                  </a:lnTo>
                  <a:lnTo>
                    <a:pt x="1633" y="258"/>
                  </a:lnTo>
                  <a:lnTo>
                    <a:pt x="1619" y="255"/>
                  </a:lnTo>
                  <a:lnTo>
                    <a:pt x="1612" y="254"/>
                  </a:lnTo>
                  <a:lnTo>
                    <a:pt x="1606" y="254"/>
                  </a:lnTo>
                  <a:lnTo>
                    <a:pt x="1593" y="253"/>
                  </a:lnTo>
                  <a:lnTo>
                    <a:pt x="1584" y="253"/>
                  </a:lnTo>
                  <a:lnTo>
                    <a:pt x="1576" y="254"/>
                  </a:lnTo>
                  <a:lnTo>
                    <a:pt x="1568" y="256"/>
                  </a:lnTo>
                  <a:lnTo>
                    <a:pt x="1562" y="259"/>
                  </a:lnTo>
                  <a:lnTo>
                    <a:pt x="1560" y="261"/>
                  </a:lnTo>
                  <a:lnTo>
                    <a:pt x="1557" y="263"/>
                  </a:lnTo>
                  <a:lnTo>
                    <a:pt x="1554" y="267"/>
                  </a:lnTo>
                  <a:lnTo>
                    <a:pt x="1552" y="270"/>
                  </a:lnTo>
                  <a:lnTo>
                    <a:pt x="1551" y="273"/>
                  </a:lnTo>
                  <a:lnTo>
                    <a:pt x="1551" y="276"/>
                  </a:lnTo>
                  <a:lnTo>
                    <a:pt x="1550" y="280"/>
                  </a:lnTo>
                  <a:lnTo>
                    <a:pt x="1551" y="283"/>
                  </a:lnTo>
                  <a:lnTo>
                    <a:pt x="1551" y="286"/>
                  </a:lnTo>
                  <a:lnTo>
                    <a:pt x="1553" y="289"/>
                  </a:lnTo>
                  <a:lnTo>
                    <a:pt x="1555" y="292"/>
                  </a:lnTo>
                  <a:lnTo>
                    <a:pt x="1557" y="295"/>
                  </a:lnTo>
                  <a:lnTo>
                    <a:pt x="1560" y="297"/>
                  </a:lnTo>
                  <a:lnTo>
                    <a:pt x="1563" y="299"/>
                  </a:lnTo>
                  <a:lnTo>
                    <a:pt x="1567" y="301"/>
                  </a:lnTo>
                  <a:lnTo>
                    <a:pt x="1576" y="304"/>
                  </a:lnTo>
                  <a:lnTo>
                    <a:pt x="1587" y="307"/>
                  </a:lnTo>
                  <a:lnTo>
                    <a:pt x="1600" y="309"/>
                  </a:lnTo>
                  <a:lnTo>
                    <a:pt x="1615" y="312"/>
                  </a:lnTo>
                  <a:lnTo>
                    <a:pt x="1642" y="316"/>
                  </a:lnTo>
                  <a:lnTo>
                    <a:pt x="1657" y="318"/>
                  </a:lnTo>
                  <a:lnTo>
                    <a:pt x="1672" y="321"/>
                  </a:lnTo>
                  <a:lnTo>
                    <a:pt x="1686" y="325"/>
                  </a:lnTo>
                  <a:lnTo>
                    <a:pt x="1701" y="329"/>
                  </a:lnTo>
                  <a:lnTo>
                    <a:pt x="1715" y="334"/>
                  </a:lnTo>
                  <a:lnTo>
                    <a:pt x="1728" y="340"/>
                  </a:lnTo>
                  <a:lnTo>
                    <a:pt x="1740" y="348"/>
                  </a:lnTo>
                  <a:lnTo>
                    <a:pt x="1746" y="352"/>
                  </a:lnTo>
                  <a:lnTo>
                    <a:pt x="1752" y="356"/>
                  </a:lnTo>
                  <a:lnTo>
                    <a:pt x="1757" y="361"/>
                  </a:lnTo>
                  <a:lnTo>
                    <a:pt x="1762" y="366"/>
                  </a:lnTo>
                  <a:lnTo>
                    <a:pt x="1766" y="371"/>
                  </a:lnTo>
                  <a:lnTo>
                    <a:pt x="1771" y="377"/>
                  </a:lnTo>
                  <a:lnTo>
                    <a:pt x="1774" y="383"/>
                  </a:lnTo>
                  <a:lnTo>
                    <a:pt x="1778" y="390"/>
                  </a:lnTo>
                  <a:lnTo>
                    <a:pt x="1781" y="397"/>
                  </a:lnTo>
                  <a:lnTo>
                    <a:pt x="1783" y="404"/>
                  </a:lnTo>
                  <a:lnTo>
                    <a:pt x="1785" y="412"/>
                  </a:lnTo>
                  <a:lnTo>
                    <a:pt x="1787" y="420"/>
                  </a:lnTo>
                  <a:lnTo>
                    <a:pt x="1787" y="425"/>
                  </a:lnTo>
                  <a:lnTo>
                    <a:pt x="1787" y="429"/>
                  </a:lnTo>
                  <a:lnTo>
                    <a:pt x="1788" y="438"/>
                  </a:lnTo>
                  <a:lnTo>
                    <a:pt x="1787" y="449"/>
                  </a:lnTo>
                  <a:lnTo>
                    <a:pt x="1787" y="458"/>
                  </a:lnTo>
                  <a:lnTo>
                    <a:pt x="1785" y="468"/>
                  </a:lnTo>
                  <a:lnTo>
                    <a:pt x="1783" y="477"/>
                  </a:lnTo>
                  <a:lnTo>
                    <a:pt x="1781" y="485"/>
                  </a:lnTo>
                  <a:lnTo>
                    <a:pt x="1778" y="494"/>
                  </a:lnTo>
                  <a:lnTo>
                    <a:pt x="1775" y="501"/>
                  </a:lnTo>
                  <a:lnTo>
                    <a:pt x="1771" y="509"/>
                  </a:lnTo>
                  <a:lnTo>
                    <a:pt x="1767" y="516"/>
                  </a:lnTo>
                  <a:lnTo>
                    <a:pt x="1763" y="523"/>
                  </a:lnTo>
                  <a:lnTo>
                    <a:pt x="1758" y="529"/>
                  </a:lnTo>
                  <a:lnTo>
                    <a:pt x="1752" y="535"/>
                  </a:lnTo>
                  <a:lnTo>
                    <a:pt x="1747" y="540"/>
                  </a:lnTo>
                  <a:lnTo>
                    <a:pt x="1741" y="546"/>
                  </a:lnTo>
                  <a:lnTo>
                    <a:pt x="1734" y="550"/>
                  </a:lnTo>
                  <a:lnTo>
                    <a:pt x="1728" y="555"/>
                  </a:lnTo>
                  <a:lnTo>
                    <a:pt x="1721" y="559"/>
                  </a:lnTo>
                  <a:lnTo>
                    <a:pt x="1714" y="563"/>
                  </a:lnTo>
                  <a:lnTo>
                    <a:pt x="1699" y="570"/>
                  </a:lnTo>
                  <a:lnTo>
                    <a:pt x="1683" y="576"/>
                  </a:lnTo>
                  <a:lnTo>
                    <a:pt x="1675" y="578"/>
                  </a:lnTo>
                  <a:lnTo>
                    <a:pt x="1666" y="580"/>
                  </a:lnTo>
                  <a:lnTo>
                    <a:pt x="1649" y="584"/>
                  </a:lnTo>
                  <a:lnTo>
                    <a:pt x="1631" y="586"/>
                  </a:lnTo>
                  <a:lnTo>
                    <a:pt x="1613" y="588"/>
                  </a:lnTo>
                  <a:lnTo>
                    <a:pt x="1595" y="58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Tree>
    <p:extLst>
      <p:ext uri="{BB962C8B-B14F-4D97-AF65-F5344CB8AC3E}">
        <p14:creationId xmlns:p14="http://schemas.microsoft.com/office/powerpoint/2010/main" val="119699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End slide / no picture / EN">
    <p:bg>
      <p:bgPr>
        <a:solidFill>
          <a:schemeClr val="bg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D8C0297-F108-D845-F41D-9589207C82AC}"/>
              </a:ext>
            </a:extLst>
          </p:cNvPr>
          <p:cNvGrpSpPr>
            <a:grpSpLocks noChangeAspect="1"/>
          </p:cNvGrpSpPr>
          <p:nvPr userDrawn="1"/>
        </p:nvGrpSpPr>
        <p:grpSpPr>
          <a:xfrm>
            <a:off x="335360" y="2348880"/>
            <a:ext cx="4369707" cy="1517652"/>
            <a:chOff x="3279775" y="2451101"/>
            <a:chExt cx="5640388" cy="1958974"/>
          </a:xfrm>
        </p:grpSpPr>
        <p:sp>
          <p:nvSpPr>
            <p:cNvPr id="8" name="Freeform 7">
              <a:extLst>
                <a:ext uri="{FF2B5EF4-FFF2-40B4-BE49-F238E27FC236}">
                  <a16:creationId xmlns:a16="http://schemas.microsoft.com/office/drawing/2014/main" id="{1A62D0BC-EC33-8503-043B-8A96435B749B}"/>
                </a:ext>
              </a:extLst>
            </p:cNvPr>
            <p:cNvSpPr>
              <a:spLocks/>
            </p:cNvSpPr>
            <p:nvPr/>
          </p:nvSpPr>
          <p:spPr bwMode="auto">
            <a:xfrm>
              <a:off x="3279775" y="2451101"/>
              <a:ext cx="1838325" cy="1944687"/>
            </a:xfrm>
            <a:custGeom>
              <a:avLst/>
              <a:gdLst>
                <a:gd name="T0" fmla="*/ 978 w 1158"/>
                <a:gd name="T1" fmla="*/ 608 h 1225"/>
                <a:gd name="T2" fmla="*/ 974 w 1158"/>
                <a:gd name="T3" fmla="*/ 610 h 1225"/>
                <a:gd name="T4" fmla="*/ 968 w 1158"/>
                <a:gd name="T5" fmla="*/ 608 h 1225"/>
                <a:gd name="T6" fmla="*/ 966 w 1158"/>
                <a:gd name="T7" fmla="*/ 134 h 1225"/>
                <a:gd name="T8" fmla="*/ 963 w 1158"/>
                <a:gd name="T9" fmla="*/ 128 h 1225"/>
                <a:gd name="T10" fmla="*/ 956 w 1158"/>
                <a:gd name="T11" fmla="*/ 128 h 1225"/>
                <a:gd name="T12" fmla="*/ 953 w 1158"/>
                <a:gd name="T13" fmla="*/ 132 h 1225"/>
                <a:gd name="T14" fmla="*/ 784 w 1158"/>
                <a:gd name="T15" fmla="*/ 603 h 1225"/>
                <a:gd name="T16" fmla="*/ 779 w 1158"/>
                <a:gd name="T17" fmla="*/ 607 h 1225"/>
                <a:gd name="T18" fmla="*/ 773 w 1158"/>
                <a:gd name="T19" fmla="*/ 605 h 1225"/>
                <a:gd name="T20" fmla="*/ 771 w 1158"/>
                <a:gd name="T21" fmla="*/ 466 h 1225"/>
                <a:gd name="T22" fmla="*/ 769 w 1158"/>
                <a:gd name="T23" fmla="*/ 461 h 1225"/>
                <a:gd name="T24" fmla="*/ 764 w 1158"/>
                <a:gd name="T25" fmla="*/ 459 h 1225"/>
                <a:gd name="T26" fmla="*/ 584 w 1158"/>
                <a:gd name="T27" fmla="*/ 614 h 1225"/>
                <a:gd name="T28" fmla="*/ 579 w 1158"/>
                <a:gd name="T29" fmla="*/ 616 h 1225"/>
                <a:gd name="T30" fmla="*/ 396 w 1158"/>
                <a:gd name="T31" fmla="*/ 461 h 1225"/>
                <a:gd name="T32" fmla="*/ 390 w 1158"/>
                <a:gd name="T33" fmla="*/ 460 h 1225"/>
                <a:gd name="T34" fmla="*/ 386 w 1158"/>
                <a:gd name="T35" fmla="*/ 464 h 1225"/>
                <a:gd name="T36" fmla="*/ 386 w 1158"/>
                <a:gd name="T37" fmla="*/ 603 h 1225"/>
                <a:gd name="T38" fmla="*/ 381 w 1158"/>
                <a:gd name="T39" fmla="*/ 607 h 1225"/>
                <a:gd name="T40" fmla="*/ 375 w 1158"/>
                <a:gd name="T41" fmla="*/ 605 h 1225"/>
                <a:gd name="T42" fmla="*/ 292 w 1158"/>
                <a:gd name="T43" fmla="*/ 378 h 1225"/>
                <a:gd name="T44" fmla="*/ 203 w 1158"/>
                <a:gd name="T45" fmla="*/ 130 h 1225"/>
                <a:gd name="T46" fmla="*/ 197 w 1158"/>
                <a:gd name="T47" fmla="*/ 128 h 1225"/>
                <a:gd name="T48" fmla="*/ 192 w 1158"/>
                <a:gd name="T49" fmla="*/ 132 h 1225"/>
                <a:gd name="T50" fmla="*/ 191 w 1158"/>
                <a:gd name="T51" fmla="*/ 606 h 1225"/>
                <a:gd name="T52" fmla="*/ 186 w 1158"/>
                <a:gd name="T53" fmla="*/ 610 h 1225"/>
                <a:gd name="T54" fmla="*/ 181 w 1158"/>
                <a:gd name="T55" fmla="*/ 609 h 1225"/>
                <a:gd name="T56" fmla="*/ 13 w 1158"/>
                <a:gd name="T57" fmla="*/ 5 h 1225"/>
                <a:gd name="T58" fmla="*/ 10 w 1158"/>
                <a:gd name="T59" fmla="*/ 1 h 1225"/>
                <a:gd name="T60" fmla="*/ 4 w 1158"/>
                <a:gd name="T61" fmla="*/ 1 h 1225"/>
                <a:gd name="T62" fmla="*/ 0 w 1158"/>
                <a:gd name="T63" fmla="*/ 7 h 1225"/>
                <a:gd name="T64" fmla="*/ 1 w 1158"/>
                <a:gd name="T65" fmla="*/ 552 h 1225"/>
                <a:gd name="T66" fmla="*/ 147 w 1158"/>
                <a:gd name="T67" fmla="*/ 644 h 1225"/>
                <a:gd name="T68" fmla="*/ 389 w 1158"/>
                <a:gd name="T69" fmla="*/ 646 h 1225"/>
                <a:gd name="T70" fmla="*/ 397 w 1158"/>
                <a:gd name="T71" fmla="*/ 649 h 1225"/>
                <a:gd name="T72" fmla="*/ 500 w 1158"/>
                <a:gd name="T73" fmla="*/ 909 h 1225"/>
                <a:gd name="T74" fmla="*/ 501 w 1158"/>
                <a:gd name="T75" fmla="*/ 917 h 1225"/>
                <a:gd name="T76" fmla="*/ 447 w 1158"/>
                <a:gd name="T77" fmla="*/ 1030 h 1225"/>
                <a:gd name="T78" fmla="*/ 519 w 1158"/>
                <a:gd name="T79" fmla="*/ 1218 h 1225"/>
                <a:gd name="T80" fmla="*/ 526 w 1158"/>
                <a:gd name="T81" fmla="*/ 1224 h 1225"/>
                <a:gd name="T82" fmla="*/ 629 w 1158"/>
                <a:gd name="T83" fmla="*/ 1225 h 1225"/>
                <a:gd name="T84" fmla="*/ 637 w 1158"/>
                <a:gd name="T85" fmla="*/ 1221 h 1225"/>
                <a:gd name="T86" fmla="*/ 710 w 1158"/>
                <a:gd name="T87" fmla="*/ 1036 h 1225"/>
                <a:gd name="T88" fmla="*/ 710 w 1158"/>
                <a:gd name="T89" fmla="*/ 1030 h 1225"/>
                <a:gd name="T90" fmla="*/ 657 w 1158"/>
                <a:gd name="T91" fmla="*/ 917 h 1225"/>
                <a:gd name="T92" fmla="*/ 758 w 1158"/>
                <a:gd name="T93" fmla="*/ 652 h 1225"/>
                <a:gd name="T94" fmla="*/ 765 w 1158"/>
                <a:gd name="T95" fmla="*/ 646 h 1225"/>
                <a:gd name="T96" fmla="*/ 1009 w 1158"/>
                <a:gd name="T97" fmla="*/ 645 h 1225"/>
                <a:gd name="T98" fmla="*/ 1155 w 1158"/>
                <a:gd name="T99" fmla="*/ 554 h 1225"/>
                <a:gd name="T100" fmla="*/ 1158 w 1158"/>
                <a:gd name="T101" fmla="*/ 549 h 1225"/>
                <a:gd name="T102" fmla="*/ 1158 w 1158"/>
                <a:gd name="T103" fmla="*/ 4 h 1225"/>
                <a:gd name="T104" fmla="*/ 1152 w 1158"/>
                <a:gd name="T105" fmla="*/ 0 h 1225"/>
                <a:gd name="T106" fmla="*/ 1146 w 1158"/>
                <a:gd name="T107" fmla="*/ 3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8" h="1225">
                  <a:moveTo>
                    <a:pt x="1145" y="5"/>
                  </a:moveTo>
                  <a:lnTo>
                    <a:pt x="979" y="605"/>
                  </a:lnTo>
                  <a:lnTo>
                    <a:pt x="978" y="608"/>
                  </a:lnTo>
                  <a:lnTo>
                    <a:pt x="977" y="608"/>
                  </a:lnTo>
                  <a:lnTo>
                    <a:pt x="976" y="609"/>
                  </a:lnTo>
                  <a:lnTo>
                    <a:pt x="974" y="610"/>
                  </a:lnTo>
                  <a:lnTo>
                    <a:pt x="972" y="610"/>
                  </a:lnTo>
                  <a:lnTo>
                    <a:pt x="970" y="609"/>
                  </a:lnTo>
                  <a:lnTo>
                    <a:pt x="968" y="608"/>
                  </a:lnTo>
                  <a:lnTo>
                    <a:pt x="967" y="606"/>
                  </a:lnTo>
                  <a:lnTo>
                    <a:pt x="966" y="603"/>
                  </a:lnTo>
                  <a:lnTo>
                    <a:pt x="966" y="134"/>
                  </a:lnTo>
                  <a:lnTo>
                    <a:pt x="966" y="132"/>
                  </a:lnTo>
                  <a:lnTo>
                    <a:pt x="964" y="130"/>
                  </a:lnTo>
                  <a:lnTo>
                    <a:pt x="963" y="128"/>
                  </a:lnTo>
                  <a:lnTo>
                    <a:pt x="961" y="128"/>
                  </a:lnTo>
                  <a:lnTo>
                    <a:pt x="958" y="128"/>
                  </a:lnTo>
                  <a:lnTo>
                    <a:pt x="956" y="128"/>
                  </a:lnTo>
                  <a:lnTo>
                    <a:pt x="955" y="129"/>
                  </a:lnTo>
                  <a:lnTo>
                    <a:pt x="955" y="130"/>
                  </a:lnTo>
                  <a:lnTo>
                    <a:pt x="953" y="132"/>
                  </a:lnTo>
                  <a:lnTo>
                    <a:pt x="916" y="240"/>
                  </a:lnTo>
                  <a:lnTo>
                    <a:pt x="865" y="378"/>
                  </a:lnTo>
                  <a:lnTo>
                    <a:pt x="784" y="603"/>
                  </a:lnTo>
                  <a:lnTo>
                    <a:pt x="782" y="605"/>
                  </a:lnTo>
                  <a:lnTo>
                    <a:pt x="781" y="606"/>
                  </a:lnTo>
                  <a:lnTo>
                    <a:pt x="779" y="607"/>
                  </a:lnTo>
                  <a:lnTo>
                    <a:pt x="776" y="607"/>
                  </a:lnTo>
                  <a:lnTo>
                    <a:pt x="774" y="606"/>
                  </a:lnTo>
                  <a:lnTo>
                    <a:pt x="773" y="605"/>
                  </a:lnTo>
                  <a:lnTo>
                    <a:pt x="772" y="603"/>
                  </a:lnTo>
                  <a:lnTo>
                    <a:pt x="771" y="600"/>
                  </a:lnTo>
                  <a:lnTo>
                    <a:pt x="771" y="466"/>
                  </a:lnTo>
                  <a:lnTo>
                    <a:pt x="771" y="464"/>
                  </a:lnTo>
                  <a:lnTo>
                    <a:pt x="770" y="462"/>
                  </a:lnTo>
                  <a:lnTo>
                    <a:pt x="769" y="461"/>
                  </a:lnTo>
                  <a:lnTo>
                    <a:pt x="767" y="460"/>
                  </a:lnTo>
                  <a:lnTo>
                    <a:pt x="766" y="459"/>
                  </a:lnTo>
                  <a:lnTo>
                    <a:pt x="764" y="459"/>
                  </a:lnTo>
                  <a:lnTo>
                    <a:pt x="762" y="460"/>
                  </a:lnTo>
                  <a:lnTo>
                    <a:pt x="761" y="461"/>
                  </a:lnTo>
                  <a:lnTo>
                    <a:pt x="584" y="614"/>
                  </a:lnTo>
                  <a:lnTo>
                    <a:pt x="583" y="615"/>
                  </a:lnTo>
                  <a:lnTo>
                    <a:pt x="581" y="615"/>
                  </a:lnTo>
                  <a:lnTo>
                    <a:pt x="579" y="616"/>
                  </a:lnTo>
                  <a:lnTo>
                    <a:pt x="576" y="615"/>
                  </a:lnTo>
                  <a:lnTo>
                    <a:pt x="573" y="614"/>
                  </a:lnTo>
                  <a:lnTo>
                    <a:pt x="396" y="461"/>
                  </a:lnTo>
                  <a:lnTo>
                    <a:pt x="393" y="459"/>
                  </a:lnTo>
                  <a:lnTo>
                    <a:pt x="391" y="460"/>
                  </a:lnTo>
                  <a:lnTo>
                    <a:pt x="390" y="460"/>
                  </a:lnTo>
                  <a:lnTo>
                    <a:pt x="388" y="461"/>
                  </a:lnTo>
                  <a:lnTo>
                    <a:pt x="387" y="462"/>
                  </a:lnTo>
                  <a:lnTo>
                    <a:pt x="386" y="464"/>
                  </a:lnTo>
                  <a:lnTo>
                    <a:pt x="386" y="466"/>
                  </a:lnTo>
                  <a:lnTo>
                    <a:pt x="386" y="601"/>
                  </a:lnTo>
                  <a:lnTo>
                    <a:pt x="386" y="603"/>
                  </a:lnTo>
                  <a:lnTo>
                    <a:pt x="384" y="605"/>
                  </a:lnTo>
                  <a:lnTo>
                    <a:pt x="383" y="606"/>
                  </a:lnTo>
                  <a:lnTo>
                    <a:pt x="381" y="607"/>
                  </a:lnTo>
                  <a:lnTo>
                    <a:pt x="379" y="607"/>
                  </a:lnTo>
                  <a:lnTo>
                    <a:pt x="377" y="606"/>
                  </a:lnTo>
                  <a:lnTo>
                    <a:pt x="375" y="605"/>
                  </a:lnTo>
                  <a:lnTo>
                    <a:pt x="374" y="603"/>
                  </a:lnTo>
                  <a:lnTo>
                    <a:pt x="340" y="511"/>
                  </a:lnTo>
                  <a:lnTo>
                    <a:pt x="292" y="378"/>
                  </a:lnTo>
                  <a:lnTo>
                    <a:pt x="242" y="240"/>
                  </a:lnTo>
                  <a:lnTo>
                    <a:pt x="205" y="132"/>
                  </a:lnTo>
                  <a:lnTo>
                    <a:pt x="203" y="130"/>
                  </a:lnTo>
                  <a:lnTo>
                    <a:pt x="202" y="128"/>
                  </a:lnTo>
                  <a:lnTo>
                    <a:pt x="200" y="128"/>
                  </a:lnTo>
                  <a:lnTo>
                    <a:pt x="197" y="128"/>
                  </a:lnTo>
                  <a:lnTo>
                    <a:pt x="195" y="128"/>
                  </a:lnTo>
                  <a:lnTo>
                    <a:pt x="194" y="130"/>
                  </a:lnTo>
                  <a:lnTo>
                    <a:pt x="192" y="132"/>
                  </a:lnTo>
                  <a:lnTo>
                    <a:pt x="192" y="134"/>
                  </a:lnTo>
                  <a:lnTo>
                    <a:pt x="192" y="604"/>
                  </a:lnTo>
                  <a:lnTo>
                    <a:pt x="191" y="606"/>
                  </a:lnTo>
                  <a:lnTo>
                    <a:pt x="190" y="608"/>
                  </a:lnTo>
                  <a:lnTo>
                    <a:pt x="188" y="609"/>
                  </a:lnTo>
                  <a:lnTo>
                    <a:pt x="186" y="610"/>
                  </a:lnTo>
                  <a:lnTo>
                    <a:pt x="184" y="610"/>
                  </a:lnTo>
                  <a:lnTo>
                    <a:pt x="182" y="609"/>
                  </a:lnTo>
                  <a:lnTo>
                    <a:pt x="181" y="609"/>
                  </a:lnTo>
                  <a:lnTo>
                    <a:pt x="180" y="608"/>
                  </a:lnTo>
                  <a:lnTo>
                    <a:pt x="179" y="605"/>
                  </a:lnTo>
                  <a:lnTo>
                    <a:pt x="13" y="5"/>
                  </a:lnTo>
                  <a:lnTo>
                    <a:pt x="12" y="3"/>
                  </a:lnTo>
                  <a:lnTo>
                    <a:pt x="11" y="2"/>
                  </a:lnTo>
                  <a:lnTo>
                    <a:pt x="10" y="1"/>
                  </a:lnTo>
                  <a:lnTo>
                    <a:pt x="8" y="1"/>
                  </a:lnTo>
                  <a:lnTo>
                    <a:pt x="6" y="0"/>
                  </a:lnTo>
                  <a:lnTo>
                    <a:pt x="4" y="1"/>
                  </a:lnTo>
                  <a:lnTo>
                    <a:pt x="2" y="3"/>
                  </a:lnTo>
                  <a:lnTo>
                    <a:pt x="1" y="4"/>
                  </a:lnTo>
                  <a:lnTo>
                    <a:pt x="0" y="7"/>
                  </a:lnTo>
                  <a:lnTo>
                    <a:pt x="0" y="546"/>
                  </a:lnTo>
                  <a:lnTo>
                    <a:pt x="0" y="549"/>
                  </a:lnTo>
                  <a:lnTo>
                    <a:pt x="1" y="552"/>
                  </a:lnTo>
                  <a:lnTo>
                    <a:pt x="3" y="554"/>
                  </a:lnTo>
                  <a:lnTo>
                    <a:pt x="5" y="555"/>
                  </a:lnTo>
                  <a:lnTo>
                    <a:pt x="147" y="644"/>
                  </a:lnTo>
                  <a:lnTo>
                    <a:pt x="150" y="645"/>
                  </a:lnTo>
                  <a:lnTo>
                    <a:pt x="153" y="646"/>
                  </a:lnTo>
                  <a:lnTo>
                    <a:pt x="389" y="646"/>
                  </a:lnTo>
                  <a:lnTo>
                    <a:pt x="392" y="646"/>
                  </a:lnTo>
                  <a:lnTo>
                    <a:pt x="395" y="647"/>
                  </a:lnTo>
                  <a:lnTo>
                    <a:pt x="397" y="649"/>
                  </a:lnTo>
                  <a:lnTo>
                    <a:pt x="398" y="651"/>
                  </a:lnTo>
                  <a:lnTo>
                    <a:pt x="399" y="652"/>
                  </a:lnTo>
                  <a:lnTo>
                    <a:pt x="500" y="909"/>
                  </a:lnTo>
                  <a:lnTo>
                    <a:pt x="501" y="912"/>
                  </a:lnTo>
                  <a:lnTo>
                    <a:pt x="501" y="914"/>
                  </a:lnTo>
                  <a:lnTo>
                    <a:pt x="501" y="917"/>
                  </a:lnTo>
                  <a:lnTo>
                    <a:pt x="500" y="920"/>
                  </a:lnTo>
                  <a:lnTo>
                    <a:pt x="448" y="1028"/>
                  </a:lnTo>
                  <a:lnTo>
                    <a:pt x="447" y="1030"/>
                  </a:lnTo>
                  <a:lnTo>
                    <a:pt x="447" y="1032"/>
                  </a:lnTo>
                  <a:lnTo>
                    <a:pt x="447" y="1036"/>
                  </a:lnTo>
                  <a:lnTo>
                    <a:pt x="519" y="1218"/>
                  </a:lnTo>
                  <a:lnTo>
                    <a:pt x="520" y="1221"/>
                  </a:lnTo>
                  <a:lnTo>
                    <a:pt x="523" y="1223"/>
                  </a:lnTo>
                  <a:lnTo>
                    <a:pt x="526" y="1224"/>
                  </a:lnTo>
                  <a:lnTo>
                    <a:pt x="529" y="1225"/>
                  </a:lnTo>
                  <a:lnTo>
                    <a:pt x="579" y="1225"/>
                  </a:lnTo>
                  <a:lnTo>
                    <a:pt x="629" y="1225"/>
                  </a:lnTo>
                  <a:lnTo>
                    <a:pt x="632" y="1224"/>
                  </a:lnTo>
                  <a:lnTo>
                    <a:pt x="635" y="1223"/>
                  </a:lnTo>
                  <a:lnTo>
                    <a:pt x="637" y="1221"/>
                  </a:lnTo>
                  <a:lnTo>
                    <a:pt x="638" y="1219"/>
                  </a:lnTo>
                  <a:lnTo>
                    <a:pt x="638" y="1218"/>
                  </a:lnTo>
                  <a:lnTo>
                    <a:pt x="710" y="1036"/>
                  </a:lnTo>
                  <a:lnTo>
                    <a:pt x="711" y="1034"/>
                  </a:lnTo>
                  <a:lnTo>
                    <a:pt x="711" y="1032"/>
                  </a:lnTo>
                  <a:lnTo>
                    <a:pt x="710" y="1030"/>
                  </a:lnTo>
                  <a:lnTo>
                    <a:pt x="710" y="1028"/>
                  </a:lnTo>
                  <a:lnTo>
                    <a:pt x="657" y="920"/>
                  </a:lnTo>
                  <a:lnTo>
                    <a:pt x="657" y="917"/>
                  </a:lnTo>
                  <a:lnTo>
                    <a:pt x="656" y="914"/>
                  </a:lnTo>
                  <a:lnTo>
                    <a:pt x="657" y="909"/>
                  </a:lnTo>
                  <a:lnTo>
                    <a:pt x="758" y="652"/>
                  </a:lnTo>
                  <a:lnTo>
                    <a:pt x="760" y="650"/>
                  </a:lnTo>
                  <a:lnTo>
                    <a:pt x="762" y="647"/>
                  </a:lnTo>
                  <a:lnTo>
                    <a:pt x="765" y="646"/>
                  </a:lnTo>
                  <a:lnTo>
                    <a:pt x="768" y="646"/>
                  </a:lnTo>
                  <a:lnTo>
                    <a:pt x="1006" y="646"/>
                  </a:lnTo>
                  <a:lnTo>
                    <a:pt x="1009" y="645"/>
                  </a:lnTo>
                  <a:lnTo>
                    <a:pt x="1011" y="644"/>
                  </a:lnTo>
                  <a:lnTo>
                    <a:pt x="1153" y="555"/>
                  </a:lnTo>
                  <a:lnTo>
                    <a:pt x="1155" y="554"/>
                  </a:lnTo>
                  <a:lnTo>
                    <a:pt x="1156" y="553"/>
                  </a:lnTo>
                  <a:lnTo>
                    <a:pt x="1157" y="552"/>
                  </a:lnTo>
                  <a:lnTo>
                    <a:pt x="1158" y="549"/>
                  </a:lnTo>
                  <a:lnTo>
                    <a:pt x="1158" y="546"/>
                  </a:lnTo>
                  <a:lnTo>
                    <a:pt x="1158" y="7"/>
                  </a:lnTo>
                  <a:lnTo>
                    <a:pt x="1158" y="4"/>
                  </a:lnTo>
                  <a:lnTo>
                    <a:pt x="1156" y="3"/>
                  </a:lnTo>
                  <a:lnTo>
                    <a:pt x="1154" y="1"/>
                  </a:lnTo>
                  <a:lnTo>
                    <a:pt x="1152" y="0"/>
                  </a:lnTo>
                  <a:lnTo>
                    <a:pt x="1150" y="1"/>
                  </a:lnTo>
                  <a:lnTo>
                    <a:pt x="1148" y="1"/>
                  </a:lnTo>
                  <a:lnTo>
                    <a:pt x="1146" y="3"/>
                  </a:lnTo>
                  <a:lnTo>
                    <a:pt x="1145" y="4"/>
                  </a:lnTo>
                  <a:lnTo>
                    <a:pt x="1145" y="5"/>
                  </a:lnTo>
                  <a:close/>
                </a:path>
              </a:pathLst>
            </a:custGeom>
            <a:solidFill>
              <a:srgbClr val="62A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 name="Freeform 8">
              <a:extLst>
                <a:ext uri="{FF2B5EF4-FFF2-40B4-BE49-F238E27FC236}">
                  <a16:creationId xmlns:a16="http://schemas.microsoft.com/office/drawing/2014/main" id="{FB830023-93CD-BFF1-B2A6-E7E2869AC3D0}"/>
                </a:ext>
              </a:extLst>
            </p:cNvPr>
            <p:cNvSpPr>
              <a:spLocks noEditPoints="1"/>
            </p:cNvSpPr>
            <p:nvPr/>
          </p:nvSpPr>
          <p:spPr bwMode="auto">
            <a:xfrm>
              <a:off x="5386388" y="3476625"/>
              <a:ext cx="3533775" cy="933450"/>
            </a:xfrm>
            <a:custGeom>
              <a:avLst/>
              <a:gdLst>
                <a:gd name="T0" fmla="*/ 1976 w 2226"/>
                <a:gd name="T1" fmla="*/ 407 h 588"/>
                <a:gd name="T2" fmla="*/ 1967 w 2226"/>
                <a:gd name="T3" fmla="*/ 463 h 588"/>
                <a:gd name="T4" fmla="*/ 2059 w 2226"/>
                <a:gd name="T5" fmla="*/ 452 h 588"/>
                <a:gd name="T6" fmla="*/ 2077 w 2226"/>
                <a:gd name="T7" fmla="*/ 579 h 588"/>
                <a:gd name="T8" fmla="*/ 2048 w 2226"/>
                <a:gd name="T9" fmla="*/ 537 h 588"/>
                <a:gd name="T10" fmla="*/ 1914 w 2226"/>
                <a:gd name="T11" fmla="*/ 585 h 588"/>
                <a:gd name="T12" fmla="*/ 1811 w 2226"/>
                <a:gd name="T13" fmla="*/ 508 h 588"/>
                <a:gd name="T14" fmla="*/ 1836 w 2226"/>
                <a:gd name="T15" fmla="*/ 383 h 588"/>
                <a:gd name="T16" fmla="*/ 2013 w 2226"/>
                <a:gd name="T17" fmla="*/ 311 h 588"/>
                <a:gd name="T18" fmla="*/ 2045 w 2226"/>
                <a:gd name="T19" fmla="*/ 271 h 588"/>
                <a:gd name="T20" fmla="*/ 1907 w 2226"/>
                <a:gd name="T21" fmla="*/ 300 h 588"/>
                <a:gd name="T22" fmla="*/ 1866 w 2226"/>
                <a:gd name="T23" fmla="*/ 195 h 588"/>
                <a:gd name="T24" fmla="*/ 2086 w 2226"/>
                <a:gd name="T25" fmla="*/ 154 h 588"/>
                <a:gd name="T26" fmla="*/ 2190 w 2226"/>
                <a:gd name="T27" fmla="*/ 214 h 588"/>
                <a:gd name="T28" fmla="*/ 2217 w 2226"/>
                <a:gd name="T29" fmla="*/ 512 h 588"/>
                <a:gd name="T30" fmla="*/ 1994 w 2226"/>
                <a:gd name="T31" fmla="*/ 3 h 588"/>
                <a:gd name="T32" fmla="*/ 1869 w 2226"/>
                <a:gd name="T33" fmla="*/ 7 h 588"/>
                <a:gd name="T34" fmla="*/ 2172 w 2226"/>
                <a:gd name="T35" fmla="*/ 123 h 588"/>
                <a:gd name="T36" fmla="*/ 1190 w 2226"/>
                <a:gd name="T37" fmla="*/ 576 h 588"/>
                <a:gd name="T38" fmla="*/ 1121 w 2226"/>
                <a:gd name="T39" fmla="*/ 502 h 588"/>
                <a:gd name="T40" fmla="*/ 1059 w 2226"/>
                <a:gd name="T41" fmla="*/ 264 h 588"/>
                <a:gd name="T42" fmla="*/ 1170 w 2226"/>
                <a:gd name="T43" fmla="*/ 25 h 588"/>
                <a:gd name="T44" fmla="*/ 1274 w 2226"/>
                <a:gd name="T45" fmla="*/ 156 h 588"/>
                <a:gd name="T46" fmla="*/ 1374 w 2226"/>
                <a:gd name="T47" fmla="*/ 271 h 588"/>
                <a:gd name="T48" fmla="*/ 1291 w 2226"/>
                <a:gd name="T49" fmla="*/ 469 h 588"/>
                <a:gd name="T50" fmla="*/ 1370 w 2226"/>
                <a:gd name="T51" fmla="*/ 564 h 588"/>
                <a:gd name="T52" fmla="*/ 1 w 2226"/>
                <a:gd name="T53" fmla="*/ 3 h 588"/>
                <a:gd name="T54" fmla="*/ 312 w 2226"/>
                <a:gd name="T55" fmla="*/ 389 h 588"/>
                <a:gd name="T56" fmla="*/ 615 w 2226"/>
                <a:gd name="T57" fmla="*/ 572 h 588"/>
                <a:gd name="T58" fmla="*/ 463 w 2226"/>
                <a:gd name="T59" fmla="*/ 222 h 588"/>
                <a:gd name="T60" fmla="*/ 365 w 2226"/>
                <a:gd name="T61" fmla="*/ 579 h 588"/>
                <a:gd name="T62" fmla="*/ 146 w 2226"/>
                <a:gd name="T63" fmla="*/ 223 h 588"/>
                <a:gd name="T64" fmla="*/ 1 w 2226"/>
                <a:gd name="T65" fmla="*/ 576 h 588"/>
                <a:gd name="T66" fmla="*/ 795 w 2226"/>
                <a:gd name="T67" fmla="*/ 421 h 588"/>
                <a:gd name="T68" fmla="*/ 861 w 2226"/>
                <a:gd name="T69" fmla="*/ 482 h 588"/>
                <a:gd name="T70" fmla="*/ 999 w 2226"/>
                <a:gd name="T71" fmla="*/ 448 h 588"/>
                <a:gd name="T72" fmla="*/ 974 w 2226"/>
                <a:gd name="T73" fmla="*/ 574 h 588"/>
                <a:gd name="T74" fmla="*/ 772 w 2226"/>
                <a:gd name="T75" fmla="*/ 575 h 588"/>
                <a:gd name="T76" fmla="*/ 659 w 2226"/>
                <a:gd name="T77" fmla="*/ 476 h 588"/>
                <a:gd name="T78" fmla="*/ 649 w 2226"/>
                <a:gd name="T79" fmla="*/ 300 h 588"/>
                <a:gd name="T80" fmla="*/ 753 w 2226"/>
                <a:gd name="T81" fmla="*/ 177 h 588"/>
                <a:gd name="T82" fmla="*/ 901 w 2226"/>
                <a:gd name="T83" fmla="*/ 155 h 588"/>
                <a:gd name="T84" fmla="*/ 1027 w 2226"/>
                <a:gd name="T85" fmla="*/ 233 h 588"/>
                <a:gd name="T86" fmla="*/ 921 w 2226"/>
                <a:gd name="T87" fmla="*/ 325 h 588"/>
                <a:gd name="T88" fmla="*/ 895 w 2226"/>
                <a:gd name="T89" fmla="*/ 267 h 588"/>
                <a:gd name="T90" fmla="*/ 818 w 2226"/>
                <a:gd name="T91" fmla="*/ 277 h 588"/>
                <a:gd name="T92" fmla="*/ 1595 w 2226"/>
                <a:gd name="T93" fmla="*/ 588 h 588"/>
                <a:gd name="T94" fmla="*/ 1393 w 2226"/>
                <a:gd name="T95" fmla="*/ 532 h 588"/>
                <a:gd name="T96" fmla="*/ 1483 w 2226"/>
                <a:gd name="T97" fmla="*/ 465 h 588"/>
                <a:gd name="T98" fmla="*/ 1638 w 2226"/>
                <a:gd name="T99" fmla="*/ 480 h 588"/>
                <a:gd name="T100" fmla="*/ 1609 w 2226"/>
                <a:gd name="T101" fmla="*/ 434 h 588"/>
                <a:gd name="T102" fmla="*/ 1433 w 2226"/>
                <a:gd name="T103" fmla="*/ 371 h 588"/>
                <a:gd name="T104" fmla="*/ 1410 w 2226"/>
                <a:gd name="T105" fmla="*/ 261 h 588"/>
                <a:gd name="T106" fmla="*/ 1497 w 2226"/>
                <a:gd name="T107" fmla="*/ 166 h 588"/>
                <a:gd name="T108" fmla="*/ 1713 w 2226"/>
                <a:gd name="T109" fmla="*/ 174 h 588"/>
                <a:gd name="T110" fmla="*/ 1716 w 2226"/>
                <a:gd name="T111" fmla="*/ 292 h 588"/>
                <a:gd name="T112" fmla="*/ 1568 w 2226"/>
                <a:gd name="T113" fmla="*/ 256 h 588"/>
                <a:gd name="T114" fmla="*/ 1563 w 2226"/>
                <a:gd name="T115" fmla="*/ 299 h 588"/>
                <a:gd name="T116" fmla="*/ 1752 w 2226"/>
                <a:gd name="T117" fmla="*/ 356 h 588"/>
                <a:gd name="T118" fmla="*/ 1787 w 2226"/>
                <a:gd name="T119" fmla="*/ 458 h 588"/>
                <a:gd name="T120" fmla="*/ 1721 w 2226"/>
                <a:gd name="T121" fmla="*/ 55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26" h="588">
                  <a:moveTo>
                    <a:pt x="2065" y="439"/>
                  </a:moveTo>
                  <a:lnTo>
                    <a:pt x="2065" y="391"/>
                  </a:lnTo>
                  <a:lnTo>
                    <a:pt x="2064" y="389"/>
                  </a:lnTo>
                  <a:lnTo>
                    <a:pt x="2063" y="388"/>
                  </a:lnTo>
                  <a:lnTo>
                    <a:pt x="2061" y="387"/>
                  </a:lnTo>
                  <a:lnTo>
                    <a:pt x="2060" y="387"/>
                  </a:lnTo>
                  <a:lnTo>
                    <a:pt x="2047" y="388"/>
                  </a:lnTo>
                  <a:lnTo>
                    <a:pt x="2035" y="389"/>
                  </a:lnTo>
                  <a:lnTo>
                    <a:pt x="2024" y="390"/>
                  </a:lnTo>
                  <a:lnTo>
                    <a:pt x="2014" y="392"/>
                  </a:lnTo>
                  <a:lnTo>
                    <a:pt x="2004" y="395"/>
                  </a:lnTo>
                  <a:lnTo>
                    <a:pt x="1996" y="397"/>
                  </a:lnTo>
                  <a:lnTo>
                    <a:pt x="1988" y="400"/>
                  </a:lnTo>
                  <a:lnTo>
                    <a:pt x="1981" y="403"/>
                  </a:lnTo>
                  <a:lnTo>
                    <a:pt x="1976" y="407"/>
                  </a:lnTo>
                  <a:lnTo>
                    <a:pt x="1971" y="411"/>
                  </a:lnTo>
                  <a:lnTo>
                    <a:pt x="1966" y="415"/>
                  </a:lnTo>
                  <a:lnTo>
                    <a:pt x="1963" y="420"/>
                  </a:lnTo>
                  <a:lnTo>
                    <a:pt x="1960" y="425"/>
                  </a:lnTo>
                  <a:lnTo>
                    <a:pt x="1958" y="430"/>
                  </a:lnTo>
                  <a:lnTo>
                    <a:pt x="1957" y="435"/>
                  </a:lnTo>
                  <a:lnTo>
                    <a:pt x="1957" y="441"/>
                  </a:lnTo>
                  <a:lnTo>
                    <a:pt x="1957" y="445"/>
                  </a:lnTo>
                  <a:lnTo>
                    <a:pt x="1958" y="448"/>
                  </a:lnTo>
                  <a:lnTo>
                    <a:pt x="1958" y="451"/>
                  </a:lnTo>
                  <a:lnTo>
                    <a:pt x="1959" y="454"/>
                  </a:lnTo>
                  <a:lnTo>
                    <a:pt x="1961" y="457"/>
                  </a:lnTo>
                  <a:lnTo>
                    <a:pt x="1963" y="459"/>
                  </a:lnTo>
                  <a:lnTo>
                    <a:pt x="1965" y="461"/>
                  </a:lnTo>
                  <a:lnTo>
                    <a:pt x="1967" y="463"/>
                  </a:lnTo>
                  <a:lnTo>
                    <a:pt x="1972" y="467"/>
                  </a:lnTo>
                  <a:lnTo>
                    <a:pt x="1975" y="468"/>
                  </a:lnTo>
                  <a:lnTo>
                    <a:pt x="1978" y="469"/>
                  </a:lnTo>
                  <a:lnTo>
                    <a:pt x="1984" y="470"/>
                  </a:lnTo>
                  <a:lnTo>
                    <a:pt x="1991" y="471"/>
                  </a:lnTo>
                  <a:lnTo>
                    <a:pt x="2005" y="470"/>
                  </a:lnTo>
                  <a:lnTo>
                    <a:pt x="2011" y="470"/>
                  </a:lnTo>
                  <a:lnTo>
                    <a:pt x="2017" y="469"/>
                  </a:lnTo>
                  <a:lnTo>
                    <a:pt x="2023" y="468"/>
                  </a:lnTo>
                  <a:lnTo>
                    <a:pt x="2028" y="467"/>
                  </a:lnTo>
                  <a:lnTo>
                    <a:pt x="2037" y="464"/>
                  </a:lnTo>
                  <a:lnTo>
                    <a:pt x="2045" y="461"/>
                  </a:lnTo>
                  <a:lnTo>
                    <a:pt x="2051" y="458"/>
                  </a:lnTo>
                  <a:lnTo>
                    <a:pt x="2056" y="454"/>
                  </a:lnTo>
                  <a:lnTo>
                    <a:pt x="2059" y="452"/>
                  </a:lnTo>
                  <a:lnTo>
                    <a:pt x="2061" y="450"/>
                  </a:lnTo>
                  <a:lnTo>
                    <a:pt x="2063" y="447"/>
                  </a:lnTo>
                  <a:lnTo>
                    <a:pt x="2064" y="443"/>
                  </a:lnTo>
                  <a:lnTo>
                    <a:pt x="2065" y="440"/>
                  </a:lnTo>
                  <a:lnTo>
                    <a:pt x="2065" y="439"/>
                  </a:lnTo>
                  <a:close/>
                  <a:moveTo>
                    <a:pt x="2225" y="572"/>
                  </a:moveTo>
                  <a:lnTo>
                    <a:pt x="2226" y="575"/>
                  </a:lnTo>
                  <a:lnTo>
                    <a:pt x="2225" y="577"/>
                  </a:lnTo>
                  <a:lnTo>
                    <a:pt x="2225" y="578"/>
                  </a:lnTo>
                  <a:lnTo>
                    <a:pt x="2224" y="579"/>
                  </a:lnTo>
                  <a:lnTo>
                    <a:pt x="2221" y="579"/>
                  </a:lnTo>
                  <a:lnTo>
                    <a:pt x="2220" y="579"/>
                  </a:lnTo>
                  <a:lnTo>
                    <a:pt x="2081" y="579"/>
                  </a:lnTo>
                  <a:lnTo>
                    <a:pt x="2079" y="579"/>
                  </a:lnTo>
                  <a:lnTo>
                    <a:pt x="2077" y="579"/>
                  </a:lnTo>
                  <a:lnTo>
                    <a:pt x="2074" y="577"/>
                  </a:lnTo>
                  <a:lnTo>
                    <a:pt x="2073" y="574"/>
                  </a:lnTo>
                  <a:lnTo>
                    <a:pt x="2072" y="572"/>
                  </a:lnTo>
                  <a:lnTo>
                    <a:pt x="2069" y="560"/>
                  </a:lnTo>
                  <a:lnTo>
                    <a:pt x="2067" y="548"/>
                  </a:lnTo>
                  <a:lnTo>
                    <a:pt x="2065" y="537"/>
                  </a:lnTo>
                  <a:lnTo>
                    <a:pt x="2065" y="526"/>
                  </a:lnTo>
                  <a:lnTo>
                    <a:pt x="2064" y="524"/>
                  </a:lnTo>
                  <a:lnTo>
                    <a:pt x="2064" y="522"/>
                  </a:lnTo>
                  <a:lnTo>
                    <a:pt x="2063" y="522"/>
                  </a:lnTo>
                  <a:lnTo>
                    <a:pt x="2062" y="522"/>
                  </a:lnTo>
                  <a:lnTo>
                    <a:pt x="2061" y="523"/>
                  </a:lnTo>
                  <a:lnTo>
                    <a:pt x="2060" y="524"/>
                  </a:lnTo>
                  <a:lnTo>
                    <a:pt x="2054" y="531"/>
                  </a:lnTo>
                  <a:lnTo>
                    <a:pt x="2048" y="537"/>
                  </a:lnTo>
                  <a:lnTo>
                    <a:pt x="2042" y="544"/>
                  </a:lnTo>
                  <a:lnTo>
                    <a:pt x="2035" y="549"/>
                  </a:lnTo>
                  <a:lnTo>
                    <a:pt x="2028" y="555"/>
                  </a:lnTo>
                  <a:lnTo>
                    <a:pt x="2021" y="560"/>
                  </a:lnTo>
                  <a:lnTo>
                    <a:pt x="2013" y="564"/>
                  </a:lnTo>
                  <a:lnTo>
                    <a:pt x="2005" y="569"/>
                  </a:lnTo>
                  <a:lnTo>
                    <a:pt x="1996" y="573"/>
                  </a:lnTo>
                  <a:lnTo>
                    <a:pt x="1987" y="576"/>
                  </a:lnTo>
                  <a:lnTo>
                    <a:pt x="1978" y="579"/>
                  </a:lnTo>
                  <a:lnTo>
                    <a:pt x="1968" y="581"/>
                  </a:lnTo>
                  <a:lnTo>
                    <a:pt x="1958" y="583"/>
                  </a:lnTo>
                  <a:lnTo>
                    <a:pt x="1948" y="584"/>
                  </a:lnTo>
                  <a:lnTo>
                    <a:pt x="1937" y="585"/>
                  </a:lnTo>
                  <a:lnTo>
                    <a:pt x="1925" y="586"/>
                  </a:lnTo>
                  <a:lnTo>
                    <a:pt x="1914" y="585"/>
                  </a:lnTo>
                  <a:lnTo>
                    <a:pt x="1903" y="584"/>
                  </a:lnTo>
                  <a:lnTo>
                    <a:pt x="1892" y="582"/>
                  </a:lnTo>
                  <a:lnTo>
                    <a:pt x="1881" y="579"/>
                  </a:lnTo>
                  <a:lnTo>
                    <a:pt x="1871" y="574"/>
                  </a:lnTo>
                  <a:lnTo>
                    <a:pt x="1861" y="570"/>
                  </a:lnTo>
                  <a:lnTo>
                    <a:pt x="1856" y="567"/>
                  </a:lnTo>
                  <a:lnTo>
                    <a:pt x="1851" y="564"/>
                  </a:lnTo>
                  <a:lnTo>
                    <a:pt x="1843" y="557"/>
                  </a:lnTo>
                  <a:lnTo>
                    <a:pt x="1835" y="549"/>
                  </a:lnTo>
                  <a:lnTo>
                    <a:pt x="1827" y="540"/>
                  </a:lnTo>
                  <a:lnTo>
                    <a:pt x="1824" y="536"/>
                  </a:lnTo>
                  <a:lnTo>
                    <a:pt x="1821" y="531"/>
                  </a:lnTo>
                  <a:lnTo>
                    <a:pt x="1816" y="520"/>
                  </a:lnTo>
                  <a:lnTo>
                    <a:pt x="1813" y="514"/>
                  </a:lnTo>
                  <a:lnTo>
                    <a:pt x="1811" y="508"/>
                  </a:lnTo>
                  <a:lnTo>
                    <a:pt x="1808" y="495"/>
                  </a:lnTo>
                  <a:lnTo>
                    <a:pt x="1806" y="481"/>
                  </a:lnTo>
                  <a:lnTo>
                    <a:pt x="1806" y="474"/>
                  </a:lnTo>
                  <a:lnTo>
                    <a:pt x="1805" y="466"/>
                  </a:lnTo>
                  <a:lnTo>
                    <a:pt x="1806" y="458"/>
                  </a:lnTo>
                  <a:lnTo>
                    <a:pt x="1806" y="449"/>
                  </a:lnTo>
                  <a:lnTo>
                    <a:pt x="1808" y="441"/>
                  </a:lnTo>
                  <a:lnTo>
                    <a:pt x="1809" y="433"/>
                  </a:lnTo>
                  <a:lnTo>
                    <a:pt x="1812" y="425"/>
                  </a:lnTo>
                  <a:lnTo>
                    <a:pt x="1814" y="418"/>
                  </a:lnTo>
                  <a:lnTo>
                    <a:pt x="1818" y="410"/>
                  </a:lnTo>
                  <a:lnTo>
                    <a:pt x="1822" y="403"/>
                  </a:lnTo>
                  <a:lnTo>
                    <a:pt x="1826" y="396"/>
                  </a:lnTo>
                  <a:lnTo>
                    <a:pt x="1831" y="390"/>
                  </a:lnTo>
                  <a:lnTo>
                    <a:pt x="1836" y="383"/>
                  </a:lnTo>
                  <a:lnTo>
                    <a:pt x="1842" y="377"/>
                  </a:lnTo>
                  <a:lnTo>
                    <a:pt x="1848" y="371"/>
                  </a:lnTo>
                  <a:lnTo>
                    <a:pt x="1855" y="365"/>
                  </a:lnTo>
                  <a:lnTo>
                    <a:pt x="1862" y="360"/>
                  </a:lnTo>
                  <a:lnTo>
                    <a:pt x="1869" y="355"/>
                  </a:lnTo>
                  <a:lnTo>
                    <a:pt x="1886" y="345"/>
                  </a:lnTo>
                  <a:lnTo>
                    <a:pt x="1895" y="341"/>
                  </a:lnTo>
                  <a:lnTo>
                    <a:pt x="1905" y="337"/>
                  </a:lnTo>
                  <a:lnTo>
                    <a:pt x="1915" y="333"/>
                  </a:lnTo>
                  <a:lnTo>
                    <a:pt x="1926" y="329"/>
                  </a:lnTo>
                  <a:lnTo>
                    <a:pt x="1948" y="323"/>
                  </a:lnTo>
                  <a:lnTo>
                    <a:pt x="1960" y="320"/>
                  </a:lnTo>
                  <a:lnTo>
                    <a:pt x="1973" y="317"/>
                  </a:lnTo>
                  <a:lnTo>
                    <a:pt x="1999" y="313"/>
                  </a:lnTo>
                  <a:lnTo>
                    <a:pt x="2013" y="311"/>
                  </a:lnTo>
                  <a:lnTo>
                    <a:pt x="2027" y="310"/>
                  </a:lnTo>
                  <a:lnTo>
                    <a:pt x="2057" y="308"/>
                  </a:lnTo>
                  <a:lnTo>
                    <a:pt x="2061" y="307"/>
                  </a:lnTo>
                  <a:lnTo>
                    <a:pt x="2064" y="306"/>
                  </a:lnTo>
                  <a:lnTo>
                    <a:pt x="2065" y="305"/>
                  </a:lnTo>
                  <a:lnTo>
                    <a:pt x="2065" y="302"/>
                  </a:lnTo>
                  <a:lnTo>
                    <a:pt x="2064" y="295"/>
                  </a:lnTo>
                  <a:lnTo>
                    <a:pt x="2063" y="291"/>
                  </a:lnTo>
                  <a:lnTo>
                    <a:pt x="2063" y="288"/>
                  </a:lnTo>
                  <a:lnTo>
                    <a:pt x="2061" y="285"/>
                  </a:lnTo>
                  <a:lnTo>
                    <a:pt x="2060" y="282"/>
                  </a:lnTo>
                  <a:lnTo>
                    <a:pt x="2055" y="277"/>
                  </a:lnTo>
                  <a:lnTo>
                    <a:pt x="2052" y="275"/>
                  </a:lnTo>
                  <a:lnTo>
                    <a:pt x="2049" y="273"/>
                  </a:lnTo>
                  <a:lnTo>
                    <a:pt x="2045" y="271"/>
                  </a:lnTo>
                  <a:lnTo>
                    <a:pt x="2041" y="269"/>
                  </a:lnTo>
                  <a:lnTo>
                    <a:pt x="2031" y="267"/>
                  </a:lnTo>
                  <a:lnTo>
                    <a:pt x="2025" y="267"/>
                  </a:lnTo>
                  <a:lnTo>
                    <a:pt x="2018" y="267"/>
                  </a:lnTo>
                  <a:lnTo>
                    <a:pt x="2009" y="267"/>
                  </a:lnTo>
                  <a:lnTo>
                    <a:pt x="2000" y="268"/>
                  </a:lnTo>
                  <a:lnTo>
                    <a:pt x="1992" y="269"/>
                  </a:lnTo>
                  <a:lnTo>
                    <a:pt x="1983" y="270"/>
                  </a:lnTo>
                  <a:lnTo>
                    <a:pt x="1974" y="272"/>
                  </a:lnTo>
                  <a:lnTo>
                    <a:pt x="1966" y="274"/>
                  </a:lnTo>
                  <a:lnTo>
                    <a:pt x="1958" y="277"/>
                  </a:lnTo>
                  <a:lnTo>
                    <a:pt x="1950" y="280"/>
                  </a:lnTo>
                  <a:lnTo>
                    <a:pt x="1934" y="286"/>
                  </a:lnTo>
                  <a:lnTo>
                    <a:pt x="1920" y="293"/>
                  </a:lnTo>
                  <a:lnTo>
                    <a:pt x="1907" y="300"/>
                  </a:lnTo>
                  <a:lnTo>
                    <a:pt x="1895" y="308"/>
                  </a:lnTo>
                  <a:lnTo>
                    <a:pt x="1893" y="309"/>
                  </a:lnTo>
                  <a:lnTo>
                    <a:pt x="1891" y="309"/>
                  </a:lnTo>
                  <a:lnTo>
                    <a:pt x="1889" y="309"/>
                  </a:lnTo>
                  <a:lnTo>
                    <a:pt x="1888" y="309"/>
                  </a:lnTo>
                  <a:lnTo>
                    <a:pt x="1886" y="307"/>
                  </a:lnTo>
                  <a:lnTo>
                    <a:pt x="1885" y="306"/>
                  </a:lnTo>
                  <a:lnTo>
                    <a:pt x="1830" y="230"/>
                  </a:lnTo>
                  <a:lnTo>
                    <a:pt x="1828" y="227"/>
                  </a:lnTo>
                  <a:lnTo>
                    <a:pt x="1828" y="225"/>
                  </a:lnTo>
                  <a:lnTo>
                    <a:pt x="1829" y="224"/>
                  </a:lnTo>
                  <a:lnTo>
                    <a:pt x="1830" y="221"/>
                  </a:lnTo>
                  <a:lnTo>
                    <a:pt x="1831" y="220"/>
                  </a:lnTo>
                  <a:lnTo>
                    <a:pt x="1847" y="207"/>
                  </a:lnTo>
                  <a:lnTo>
                    <a:pt x="1866" y="195"/>
                  </a:lnTo>
                  <a:lnTo>
                    <a:pt x="1876" y="189"/>
                  </a:lnTo>
                  <a:lnTo>
                    <a:pt x="1887" y="184"/>
                  </a:lnTo>
                  <a:lnTo>
                    <a:pt x="1899" y="178"/>
                  </a:lnTo>
                  <a:lnTo>
                    <a:pt x="1912" y="173"/>
                  </a:lnTo>
                  <a:lnTo>
                    <a:pt x="1925" y="169"/>
                  </a:lnTo>
                  <a:lnTo>
                    <a:pt x="1939" y="165"/>
                  </a:lnTo>
                  <a:lnTo>
                    <a:pt x="1954" y="161"/>
                  </a:lnTo>
                  <a:lnTo>
                    <a:pt x="1970" y="158"/>
                  </a:lnTo>
                  <a:lnTo>
                    <a:pt x="1987" y="155"/>
                  </a:lnTo>
                  <a:lnTo>
                    <a:pt x="2005" y="153"/>
                  </a:lnTo>
                  <a:lnTo>
                    <a:pt x="2023" y="152"/>
                  </a:lnTo>
                  <a:lnTo>
                    <a:pt x="2043" y="152"/>
                  </a:lnTo>
                  <a:lnTo>
                    <a:pt x="2054" y="152"/>
                  </a:lnTo>
                  <a:lnTo>
                    <a:pt x="2065" y="152"/>
                  </a:lnTo>
                  <a:lnTo>
                    <a:pt x="2086" y="154"/>
                  </a:lnTo>
                  <a:lnTo>
                    <a:pt x="2096" y="156"/>
                  </a:lnTo>
                  <a:lnTo>
                    <a:pt x="2105" y="158"/>
                  </a:lnTo>
                  <a:lnTo>
                    <a:pt x="2114" y="160"/>
                  </a:lnTo>
                  <a:lnTo>
                    <a:pt x="2122" y="163"/>
                  </a:lnTo>
                  <a:lnTo>
                    <a:pt x="2130" y="166"/>
                  </a:lnTo>
                  <a:lnTo>
                    <a:pt x="2138" y="169"/>
                  </a:lnTo>
                  <a:lnTo>
                    <a:pt x="2145" y="172"/>
                  </a:lnTo>
                  <a:lnTo>
                    <a:pt x="2152" y="176"/>
                  </a:lnTo>
                  <a:lnTo>
                    <a:pt x="2159" y="181"/>
                  </a:lnTo>
                  <a:lnTo>
                    <a:pt x="2165" y="185"/>
                  </a:lnTo>
                  <a:lnTo>
                    <a:pt x="2170" y="190"/>
                  </a:lnTo>
                  <a:lnTo>
                    <a:pt x="2176" y="196"/>
                  </a:lnTo>
                  <a:lnTo>
                    <a:pt x="2181" y="201"/>
                  </a:lnTo>
                  <a:lnTo>
                    <a:pt x="2186" y="207"/>
                  </a:lnTo>
                  <a:lnTo>
                    <a:pt x="2190" y="214"/>
                  </a:lnTo>
                  <a:lnTo>
                    <a:pt x="2194" y="220"/>
                  </a:lnTo>
                  <a:lnTo>
                    <a:pt x="2197" y="227"/>
                  </a:lnTo>
                  <a:lnTo>
                    <a:pt x="2201" y="235"/>
                  </a:lnTo>
                  <a:lnTo>
                    <a:pt x="2204" y="242"/>
                  </a:lnTo>
                  <a:lnTo>
                    <a:pt x="2206" y="251"/>
                  </a:lnTo>
                  <a:lnTo>
                    <a:pt x="2209" y="259"/>
                  </a:lnTo>
                  <a:lnTo>
                    <a:pt x="2211" y="268"/>
                  </a:lnTo>
                  <a:lnTo>
                    <a:pt x="2212" y="277"/>
                  </a:lnTo>
                  <a:lnTo>
                    <a:pt x="2214" y="287"/>
                  </a:lnTo>
                  <a:lnTo>
                    <a:pt x="2215" y="296"/>
                  </a:lnTo>
                  <a:lnTo>
                    <a:pt x="2215" y="307"/>
                  </a:lnTo>
                  <a:lnTo>
                    <a:pt x="2216" y="317"/>
                  </a:lnTo>
                  <a:lnTo>
                    <a:pt x="2216" y="328"/>
                  </a:lnTo>
                  <a:lnTo>
                    <a:pt x="2216" y="478"/>
                  </a:lnTo>
                  <a:lnTo>
                    <a:pt x="2217" y="512"/>
                  </a:lnTo>
                  <a:lnTo>
                    <a:pt x="2218" y="539"/>
                  </a:lnTo>
                  <a:lnTo>
                    <a:pt x="2220" y="549"/>
                  </a:lnTo>
                  <a:lnTo>
                    <a:pt x="2221" y="559"/>
                  </a:lnTo>
                  <a:lnTo>
                    <a:pt x="2223" y="566"/>
                  </a:lnTo>
                  <a:lnTo>
                    <a:pt x="2225" y="572"/>
                  </a:lnTo>
                  <a:close/>
                  <a:moveTo>
                    <a:pt x="1869" y="7"/>
                  </a:moveTo>
                  <a:lnTo>
                    <a:pt x="1869" y="5"/>
                  </a:lnTo>
                  <a:lnTo>
                    <a:pt x="1870" y="3"/>
                  </a:lnTo>
                  <a:lnTo>
                    <a:pt x="1873" y="0"/>
                  </a:lnTo>
                  <a:lnTo>
                    <a:pt x="1875" y="0"/>
                  </a:lnTo>
                  <a:lnTo>
                    <a:pt x="1877" y="0"/>
                  </a:lnTo>
                  <a:lnTo>
                    <a:pt x="1987" y="0"/>
                  </a:lnTo>
                  <a:lnTo>
                    <a:pt x="1989" y="0"/>
                  </a:lnTo>
                  <a:lnTo>
                    <a:pt x="1991" y="1"/>
                  </a:lnTo>
                  <a:lnTo>
                    <a:pt x="1994" y="3"/>
                  </a:lnTo>
                  <a:lnTo>
                    <a:pt x="1994" y="6"/>
                  </a:lnTo>
                  <a:lnTo>
                    <a:pt x="1995" y="7"/>
                  </a:lnTo>
                  <a:lnTo>
                    <a:pt x="1995" y="121"/>
                  </a:lnTo>
                  <a:lnTo>
                    <a:pt x="1994" y="123"/>
                  </a:lnTo>
                  <a:lnTo>
                    <a:pt x="1993" y="125"/>
                  </a:lnTo>
                  <a:lnTo>
                    <a:pt x="1991" y="128"/>
                  </a:lnTo>
                  <a:lnTo>
                    <a:pt x="1988" y="128"/>
                  </a:lnTo>
                  <a:lnTo>
                    <a:pt x="1987" y="129"/>
                  </a:lnTo>
                  <a:lnTo>
                    <a:pt x="1877" y="129"/>
                  </a:lnTo>
                  <a:lnTo>
                    <a:pt x="1874" y="128"/>
                  </a:lnTo>
                  <a:lnTo>
                    <a:pt x="1872" y="127"/>
                  </a:lnTo>
                  <a:lnTo>
                    <a:pt x="1870" y="125"/>
                  </a:lnTo>
                  <a:lnTo>
                    <a:pt x="1869" y="122"/>
                  </a:lnTo>
                  <a:lnTo>
                    <a:pt x="1869" y="121"/>
                  </a:lnTo>
                  <a:lnTo>
                    <a:pt x="1869" y="7"/>
                  </a:lnTo>
                  <a:close/>
                  <a:moveTo>
                    <a:pt x="2047" y="121"/>
                  </a:moveTo>
                  <a:lnTo>
                    <a:pt x="2047" y="7"/>
                  </a:lnTo>
                  <a:lnTo>
                    <a:pt x="2047" y="5"/>
                  </a:lnTo>
                  <a:lnTo>
                    <a:pt x="2048" y="3"/>
                  </a:lnTo>
                  <a:lnTo>
                    <a:pt x="2051" y="0"/>
                  </a:lnTo>
                  <a:lnTo>
                    <a:pt x="2053" y="0"/>
                  </a:lnTo>
                  <a:lnTo>
                    <a:pt x="2054" y="0"/>
                  </a:lnTo>
                  <a:lnTo>
                    <a:pt x="2165" y="0"/>
                  </a:lnTo>
                  <a:lnTo>
                    <a:pt x="2167" y="0"/>
                  </a:lnTo>
                  <a:lnTo>
                    <a:pt x="2169" y="1"/>
                  </a:lnTo>
                  <a:lnTo>
                    <a:pt x="2171" y="3"/>
                  </a:lnTo>
                  <a:lnTo>
                    <a:pt x="2172" y="6"/>
                  </a:lnTo>
                  <a:lnTo>
                    <a:pt x="2172" y="7"/>
                  </a:lnTo>
                  <a:lnTo>
                    <a:pt x="2172" y="121"/>
                  </a:lnTo>
                  <a:lnTo>
                    <a:pt x="2172" y="123"/>
                  </a:lnTo>
                  <a:lnTo>
                    <a:pt x="2171" y="125"/>
                  </a:lnTo>
                  <a:lnTo>
                    <a:pt x="2169" y="127"/>
                  </a:lnTo>
                  <a:lnTo>
                    <a:pt x="2166" y="128"/>
                  </a:lnTo>
                  <a:lnTo>
                    <a:pt x="2165" y="128"/>
                  </a:lnTo>
                  <a:lnTo>
                    <a:pt x="2054" y="128"/>
                  </a:lnTo>
                  <a:lnTo>
                    <a:pt x="2052" y="128"/>
                  </a:lnTo>
                  <a:lnTo>
                    <a:pt x="2050" y="127"/>
                  </a:lnTo>
                  <a:lnTo>
                    <a:pt x="2048" y="125"/>
                  </a:lnTo>
                  <a:lnTo>
                    <a:pt x="2047" y="122"/>
                  </a:lnTo>
                  <a:lnTo>
                    <a:pt x="2047" y="121"/>
                  </a:lnTo>
                  <a:close/>
                  <a:moveTo>
                    <a:pt x="1274" y="585"/>
                  </a:moveTo>
                  <a:lnTo>
                    <a:pt x="1249" y="584"/>
                  </a:lnTo>
                  <a:lnTo>
                    <a:pt x="1226" y="583"/>
                  </a:lnTo>
                  <a:lnTo>
                    <a:pt x="1207" y="580"/>
                  </a:lnTo>
                  <a:lnTo>
                    <a:pt x="1190" y="576"/>
                  </a:lnTo>
                  <a:lnTo>
                    <a:pt x="1175" y="571"/>
                  </a:lnTo>
                  <a:lnTo>
                    <a:pt x="1168" y="568"/>
                  </a:lnTo>
                  <a:lnTo>
                    <a:pt x="1162" y="565"/>
                  </a:lnTo>
                  <a:lnTo>
                    <a:pt x="1156" y="561"/>
                  </a:lnTo>
                  <a:lnTo>
                    <a:pt x="1151" y="558"/>
                  </a:lnTo>
                  <a:lnTo>
                    <a:pt x="1149" y="556"/>
                  </a:lnTo>
                  <a:lnTo>
                    <a:pt x="1147" y="554"/>
                  </a:lnTo>
                  <a:lnTo>
                    <a:pt x="1143" y="550"/>
                  </a:lnTo>
                  <a:lnTo>
                    <a:pt x="1139" y="545"/>
                  </a:lnTo>
                  <a:lnTo>
                    <a:pt x="1135" y="541"/>
                  </a:lnTo>
                  <a:lnTo>
                    <a:pt x="1130" y="531"/>
                  </a:lnTo>
                  <a:lnTo>
                    <a:pt x="1127" y="525"/>
                  </a:lnTo>
                  <a:lnTo>
                    <a:pt x="1125" y="520"/>
                  </a:lnTo>
                  <a:lnTo>
                    <a:pt x="1122" y="508"/>
                  </a:lnTo>
                  <a:lnTo>
                    <a:pt x="1121" y="502"/>
                  </a:lnTo>
                  <a:lnTo>
                    <a:pt x="1120" y="496"/>
                  </a:lnTo>
                  <a:lnTo>
                    <a:pt x="1119" y="482"/>
                  </a:lnTo>
                  <a:lnTo>
                    <a:pt x="1118" y="468"/>
                  </a:lnTo>
                  <a:lnTo>
                    <a:pt x="1118" y="453"/>
                  </a:lnTo>
                  <a:lnTo>
                    <a:pt x="1118" y="278"/>
                  </a:lnTo>
                  <a:lnTo>
                    <a:pt x="1117" y="276"/>
                  </a:lnTo>
                  <a:lnTo>
                    <a:pt x="1117" y="274"/>
                  </a:lnTo>
                  <a:lnTo>
                    <a:pt x="1114" y="272"/>
                  </a:lnTo>
                  <a:lnTo>
                    <a:pt x="1111" y="271"/>
                  </a:lnTo>
                  <a:lnTo>
                    <a:pt x="1110" y="271"/>
                  </a:lnTo>
                  <a:lnTo>
                    <a:pt x="1067" y="271"/>
                  </a:lnTo>
                  <a:lnTo>
                    <a:pt x="1064" y="270"/>
                  </a:lnTo>
                  <a:lnTo>
                    <a:pt x="1062" y="269"/>
                  </a:lnTo>
                  <a:lnTo>
                    <a:pt x="1060" y="267"/>
                  </a:lnTo>
                  <a:lnTo>
                    <a:pt x="1059" y="264"/>
                  </a:lnTo>
                  <a:lnTo>
                    <a:pt x="1059" y="263"/>
                  </a:lnTo>
                  <a:lnTo>
                    <a:pt x="1059" y="167"/>
                  </a:lnTo>
                  <a:lnTo>
                    <a:pt x="1059" y="164"/>
                  </a:lnTo>
                  <a:lnTo>
                    <a:pt x="1060" y="162"/>
                  </a:lnTo>
                  <a:lnTo>
                    <a:pt x="1063" y="160"/>
                  </a:lnTo>
                  <a:lnTo>
                    <a:pt x="1065" y="159"/>
                  </a:lnTo>
                  <a:lnTo>
                    <a:pt x="1067" y="159"/>
                  </a:lnTo>
                  <a:lnTo>
                    <a:pt x="1110" y="159"/>
                  </a:lnTo>
                  <a:lnTo>
                    <a:pt x="1113" y="159"/>
                  </a:lnTo>
                  <a:lnTo>
                    <a:pt x="1115" y="158"/>
                  </a:lnTo>
                  <a:lnTo>
                    <a:pt x="1117" y="157"/>
                  </a:lnTo>
                  <a:lnTo>
                    <a:pt x="1118" y="156"/>
                  </a:lnTo>
                  <a:lnTo>
                    <a:pt x="1120" y="153"/>
                  </a:lnTo>
                  <a:lnTo>
                    <a:pt x="1121" y="152"/>
                  </a:lnTo>
                  <a:lnTo>
                    <a:pt x="1170" y="25"/>
                  </a:lnTo>
                  <a:lnTo>
                    <a:pt x="1171" y="23"/>
                  </a:lnTo>
                  <a:lnTo>
                    <a:pt x="1173" y="21"/>
                  </a:lnTo>
                  <a:lnTo>
                    <a:pt x="1175" y="20"/>
                  </a:lnTo>
                  <a:lnTo>
                    <a:pt x="1176" y="19"/>
                  </a:lnTo>
                  <a:lnTo>
                    <a:pt x="1179" y="18"/>
                  </a:lnTo>
                  <a:lnTo>
                    <a:pt x="1180" y="18"/>
                  </a:lnTo>
                  <a:lnTo>
                    <a:pt x="1265" y="18"/>
                  </a:lnTo>
                  <a:lnTo>
                    <a:pt x="1268" y="19"/>
                  </a:lnTo>
                  <a:lnTo>
                    <a:pt x="1270" y="19"/>
                  </a:lnTo>
                  <a:lnTo>
                    <a:pt x="1272" y="22"/>
                  </a:lnTo>
                  <a:lnTo>
                    <a:pt x="1273" y="25"/>
                  </a:lnTo>
                  <a:lnTo>
                    <a:pt x="1273" y="26"/>
                  </a:lnTo>
                  <a:lnTo>
                    <a:pt x="1273" y="152"/>
                  </a:lnTo>
                  <a:lnTo>
                    <a:pt x="1273" y="154"/>
                  </a:lnTo>
                  <a:lnTo>
                    <a:pt x="1274" y="156"/>
                  </a:lnTo>
                  <a:lnTo>
                    <a:pt x="1277" y="158"/>
                  </a:lnTo>
                  <a:lnTo>
                    <a:pt x="1279" y="159"/>
                  </a:lnTo>
                  <a:lnTo>
                    <a:pt x="1281" y="159"/>
                  </a:lnTo>
                  <a:lnTo>
                    <a:pt x="1374" y="159"/>
                  </a:lnTo>
                  <a:lnTo>
                    <a:pt x="1376" y="160"/>
                  </a:lnTo>
                  <a:lnTo>
                    <a:pt x="1378" y="161"/>
                  </a:lnTo>
                  <a:lnTo>
                    <a:pt x="1381" y="163"/>
                  </a:lnTo>
                  <a:lnTo>
                    <a:pt x="1381" y="166"/>
                  </a:lnTo>
                  <a:lnTo>
                    <a:pt x="1381" y="167"/>
                  </a:lnTo>
                  <a:lnTo>
                    <a:pt x="1381" y="263"/>
                  </a:lnTo>
                  <a:lnTo>
                    <a:pt x="1381" y="266"/>
                  </a:lnTo>
                  <a:lnTo>
                    <a:pt x="1380" y="268"/>
                  </a:lnTo>
                  <a:lnTo>
                    <a:pt x="1378" y="270"/>
                  </a:lnTo>
                  <a:lnTo>
                    <a:pt x="1375" y="271"/>
                  </a:lnTo>
                  <a:lnTo>
                    <a:pt x="1374" y="271"/>
                  </a:lnTo>
                  <a:lnTo>
                    <a:pt x="1281" y="271"/>
                  </a:lnTo>
                  <a:lnTo>
                    <a:pt x="1278" y="271"/>
                  </a:lnTo>
                  <a:lnTo>
                    <a:pt x="1276" y="272"/>
                  </a:lnTo>
                  <a:lnTo>
                    <a:pt x="1274" y="275"/>
                  </a:lnTo>
                  <a:lnTo>
                    <a:pt x="1273" y="277"/>
                  </a:lnTo>
                  <a:lnTo>
                    <a:pt x="1273" y="278"/>
                  </a:lnTo>
                  <a:lnTo>
                    <a:pt x="1273" y="419"/>
                  </a:lnTo>
                  <a:lnTo>
                    <a:pt x="1274" y="434"/>
                  </a:lnTo>
                  <a:lnTo>
                    <a:pt x="1275" y="446"/>
                  </a:lnTo>
                  <a:lnTo>
                    <a:pt x="1277" y="452"/>
                  </a:lnTo>
                  <a:lnTo>
                    <a:pt x="1279" y="456"/>
                  </a:lnTo>
                  <a:lnTo>
                    <a:pt x="1281" y="460"/>
                  </a:lnTo>
                  <a:lnTo>
                    <a:pt x="1284" y="463"/>
                  </a:lnTo>
                  <a:lnTo>
                    <a:pt x="1287" y="466"/>
                  </a:lnTo>
                  <a:lnTo>
                    <a:pt x="1291" y="469"/>
                  </a:lnTo>
                  <a:lnTo>
                    <a:pt x="1296" y="471"/>
                  </a:lnTo>
                  <a:lnTo>
                    <a:pt x="1301" y="472"/>
                  </a:lnTo>
                  <a:lnTo>
                    <a:pt x="1307" y="473"/>
                  </a:lnTo>
                  <a:lnTo>
                    <a:pt x="1313" y="474"/>
                  </a:lnTo>
                  <a:lnTo>
                    <a:pt x="1320" y="474"/>
                  </a:lnTo>
                  <a:lnTo>
                    <a:pt x="1328" y="475"/>
                  </a:lnTo>
                  <a:lnTo>
                    <a:pt x="1340" y="474"/>
                  </a:lnTo>
                  <a:lnTo>
                    <a:pt x="1351" y="473"/>
                  </a:lnTo>
                  <a:lnTo>
                    <a:pt x="1361" y="472"/>
                  </a:lnTo>
                  <a:lnTo>
                    <a:pt x="1366" y="471"/>
                  </a:lnTo>
                  <a:lnTo>
                    <a:pt x="1367" y="471"/>
                  </a:lnTo>
                  <a:lnTo>
                    <a:pt x="1368" y="471"/>
                  </a:lnTo>
                  <a:lnTo>
                    <a:pt x="1369" y="474"/>
                  </a:lnTo>
                  <a:lnTo>
                    <a:pt x="1370" y="477"/>
                  </a:lnTo>
                  <a:lnTo>
                    <a:pt x="1370" y="564"/>
                  </a:lnTo>
                  <a:lnTo>
                    <a:pt x="1369" y="569"/>
                  </a:lnTo>
                  <a:lnTo>
                    <a:pt x="1369" y="572"/>
                  </a:lnTo>
                  <a:lnTo>
                    <a:pt x="1368" y="575"/>
                  </a:lnTo>
                  <a:lnTo>
                    <a:pt x="1366" y="577"/>
                  </a:lnTo>
                  <a:lnTo>
                    <a:pt x="1364" y="578"/>
                  </a:lnTo>
                  <a:lnTo>
                    <a:pt x="1362" y="579"/>
                  </a:lnTo>
                  <a:lnTo>
                    <a:pt x="1358" y="580"/>
                  </a:lnTo>
                  <a:lnTo>
                    <a:pt x="1340" y="582"/>
                  </a:lnTo>
                  <a:lnTo>
                    <a:pt x="1317" y="583"/>
                  </a:lnTo>
                  <a:lnTo>
                    <a:pt x="1294" y="584"/>
                  </a:lnTo>
                  <a:lnTo>
                    <a:pt x="1274" y="585"/>
                  </a:lnTo>
                  <a:close/>
                  <a:moveTo>
                    <a:pt x="0" y="572"/>
                  </a:moveTo>
                  <a:lnTo>
                    <a:pt x="0" y="7"/>
                  </a:lnTo>
                  <a:lnTo>
                    <a:pt x="0" y="5"/>
                  </a:lnTo>
                  <a:lnTo>
                    <a:pt x="1" y="3"/>
                  </a:lnTo>
                  <a:lnTo>
                    <a:pt x="4" y="1"/>
                  </a:lnTo>
                  <a:lnTo>
                    <a:pt x="6" y="0"/>
                  </a:lnTo>
                  <a:lnTo>
                    <a:pt x="7" y="0"/>
                  </a:lnTo>
                  <a:lnTo>
                    <a:pt x="200" y="0"/>
                  </a:lnTo>
                  <a:lnTo>
                    <a:pt x="202" y="0"/>
                  </a:lnTo>
                  <a:lnTo>
                    <a:pt x="204" y="1"/>
                  </a:lnTo>
                  <a:lnTo>
                    <a:pt x="206" y="2"/>
                  </a:lnTo>
                  <a:lnTo>
                    <a:pt x="207" y="3"/>
                  </a:lnTo>
                  <a:lnTo>
                    <a:pt x="209" y="6"/>
                  </a:lnTo>
                  <a:lnTo>
                    <a:pt x="209" y="7"/>
                  </a:lnTo>
                  <a:lnTo>
                    <a:pt x="307" y="386"/>
                  </a:lnTo>
                  <a:lnTo>
                    <a:pt x="307" y="387"/>
                  </a:lnTo>
                  <a:lnTo>
                    <a:pt x="308" y="388"/>
                  </a:lnTo>
                  <a:lnTo>
                    <a:pt x="310" y="389"/>
                  </a:lnTo>
                  <a:lnTo>
                    <a:pt x="312" y="389"/>
                  </a:lnTo>
                  <a:lnTo>
                    <a:pt x="313" y="387"/>
                  </a:lnTo>
                  <a:lnTo>
                    <a:pt x="313" y="386"/>
                  </a:lnTo>
                  <a:lnTo>
                    <a:pt x="401" y="7"/>
                  </a:lnTo>
                  <a:lnTo>
                    <a:pt x="402" y="5"/>
                  </a:lnTo>
                  <a:lnTo>
                    <a:pt x="403" y="3"/>
                  </a:lnTo>
                  <a:lnTo>
                    <a:pt x="406" y="1"/>
                  </a:lnTo>
                  <a:lnTo>
                    <a:pt x="409" y="0"/>
                  </a:lnTo>
                  <a:lnTo>
                    <a:pt x="410" y="0"/>
                  </a:lnTo>
                  <a:lnTo>
                    <a:pt x="607" y="0"/>
                  </a:lnTo>
                  <a:lnTo>
                    <a:pt x="610" y="0"/>
                  </a:lnTo>
                  <a:lnTo>
                    <a:pt x="611" y="1"/>
                  </a:lnTo>
                  <a:lnTo>
                    <a:pt x="614" y="4"/>
                  </a:lnTo>
                  <a:lnTo>
                    <a:pt x="615" y="6"/>
                  </a:lnTo>
                  <a:lnTo>
                    <a:pt x="615" y="7"/>
                  </a:lnTo>
                  <a:lnTo>
                    <a:pt x="615" y="572"/>
                  </a:lnTo>
                  <a:lnTo>
                    <a:pt x="614" y="575"/>
                  </a:lnTo>
                  <a:lnTo>
                    <a:pt x="613" y="576"/>
                  </a:lnTo>
                  <a:lnTo>
                    <a:pt x="611" y="579"/>
                  </a:lnTo>
                  <a:lnTo>
                    <a:pt x="608" y="579"/>
                  </a:lnTo>
                  <a:lnTo>
                    <a:pt x="607" y="580"/>
                  </a:lnTo>
                  <a:lnTo>
                    <a:pt x="473" y="580"/>
                  </a:lnTo>
                  <a:lnTo>
                    <a:pt x="470" y="579"/>
                  </a:lnTo>
                  <a:lnTo>
                    <a:pt x="468" y="578"/>
                  </a:lnTo>
                  <a:lnTo>
                    <a:pt x="466" y="576"/>
                  </a:lnTo>
                  <a:lnTo>
                    <a:pt x="465" y="573"/>
                  </a:lnTo>
                  <a:lnTo>
                    <a:pt x="465" y="572"/>
                  </a:lnTo>
                  <a:lnTo>
                    <a:pt x="465" y="226"/>
                  </a:lnTo>
                  <a:lnTo>
                    <a:pt x="465" y="224"/>
                  </a:lnTo>
                  <a:lnTo>
                    <a:pt x="464" y="223"/>
                  </a:lnTo>
                  <a:lnTo>
                    <a:pt x="463" y="222"/>
                  </a:lnTo>
                  <a:lnTo>
                    <a:pt x="462" y="222"/>
                  </a:lnTo>
                  <a:lnTo>
                    <a:pt x="461" y="222"/>
                  </a:lnTo>
                  <a:lnTo>
                    <a:pt x="460" y="223"/>
                  </a:lnTo>
                  <a:lnTo>
                    <a:pt x="458" y="226"/>
                  </a:lnTo>
                  <a:lnTo>
                    <a:pt x="452" y="264"/>
                  </a:lnTo>
                  <a:lnTo>
                    <a:pt x="446" y="298"/>
                  </a:lnTo>
                  <a:lnTo>
                    <a:pt x="443" y="314"/>
                  </a:lnTo>
                  <a:lnTo>
                    <a:pt x="440" y="330"/>
                  </a:lnTo>
                  <a:lnTo>
                    <a:pt x="436" y="346"/>
                  </a:lnTo>
                  <a:lnTo>
                    <a:pt x="432" y="362"/>
                  </a:lnTo>
                  <a:lnTo>
                    <a:pt x="373" y="572"/>
                  </a:lnTo>
                  <a:lnTo>
                    <a:pt x="372" y="575"/>
                  </a:lnTo>
                  <a:lnTo>
                    <a:pt x="371" y="577"/>
                  </a:lnTo>
                  <a:lnTo>
                    <a:pt x="368" y="579"/>
                  </a:lnTo>
                  <a:lnTo>
                    <a:pt x="365" y="579"/>
                  </a:lnTo>
                  <a:lnTo>
                    <a:pt x="364" y="580"/>
                  </a:lnTo>
                  <a:lnTo>
                    <a:pt x="241" y="580"/>
                  </a:lnTo>
                  <a:lnTo>
                    <a:pt x="238" y="579"/>
                  </a:lnTo>
                  <a:lnTo>
                    <a:pt x="236" y="578"/>
                  </a:lnTo>
                  <a:lnTo>
                    <a:pt x="234" y="577"/>
                  </a:lnTo>
                  <a:lnTo>
                    <a:pt x="233" y="576"/>
                  </a:lnTo>
                  <a:lnTo>
                    <a:pt x="232" y="573"/>
                  </a:lnTo>
                  <a:lnTo>
                    <a:pt x="231" y="572"/>
                  </a:lnTo>
                  <a:lnTo>
                    <a:pt x="174" y="362"/>
                  </a:lnTo>
                  <a:lnTo>
                    <a:pt x="169" y="345"/>
                  </a:lnTo>
                  <a:lnTo>
                    <a:pt x="165" y="330"/>
                  </a:lnTo>
                  <a:lnTo>
                    <a:pt x="159" y="301"/>
                  </a:lnTo>
                  <a:lnTo>
                    <a:pt x="153" y="268"/>
                  </a:lnTo>
                  <a:lnTo>
                    <a:pt x="146" y="224"/>
                  </a:lnTo>
                  <a:lnTo>
                    <a:pt x="146" y="223"/>
                  </a:lnTo>
                  <a:lnTo>
                    <a:pt x="145" y="222"/>
                  </a:lnTo>
                  <a:lnTo>
                    <a:pt x="142" y="221"/>
                  </a:lnTo>
                  <a:lnTo>
                    <a:pt x="140" y="222"/>
                  </a:lnTo>
                  <a:lnTo>
                    <a:pt x="140" y="223"/>
                  </a:lnTo>
                  <a:lnTo>
                    <a:pt x="139" y="224"/>
                  </a:lnTo>
                  <a:lnTo>
                    <a:pt x="139" y="572"/>
                  </a:lnTo>
                  <a:lnTo>
                    <a:pt x="139" y="575"/>
                  </a:lnTo>
                  <a:lnTo>
                    <a:pt x="138" y="576"/>
                  </a:lnTo>
                  <a:lnTo>
                    <a:pt x="136" y="579"/>
                  </a:lnTo>
                  <a:lnTo>
                    <a:pt x="133" y="579"/>
                  </a:lnTo>
                  <a:lnTo>
                    <a:pt x="132" y="580"/>
                  </a:lnTo>
                  <a:lnTo>
                    <a:pt x="8" y="580"/>
                  </a:lnTo>
                  <a:lnTo>
                    <a:pt x="5" y="579"/>
                  </a:lnTo>
                  <a:lnTo>
                    <a:pt x="3" y="578"/>
                  </a:lnTo>
                  <a:lnTo>
                    <a:pt x="1" y="576"/>
                  </a:lnTo>
                  <a:lnTo>
                    <a:pt x="0" y="573"/>
                  </a:lnTo>
                  <a:lnTo>
                    <a:pt x="0" y="572"/>
                  </a:lnTo>
                  <a:close/>
                  <a:moveTo>
                    <a:pt x="1063" y="408"/>
                  </a:moveTo>
                  <a:lnTo>
                    <a:pt x="1062" y="410"/>
                  </a:lnTo>
                  <a:lnTo>
                    <a:pt x="1062" y="412"/>
                  </a:lnTo>
                  <a:lnTo>
                    <a:pt x="1061" y="413"/>
                  </a:lnTo>
                  <a:lnTo>
                    <a:pt x="1060" y="414"/>
                  </a:lnTo>
                  <a:lnTo>
                    <a:pt x="1058" y="414"/>
                  </a:lnTo>
                  <a:lnTo>
                    <a:pt x="1057" y="414"/>
                  </a:lnTo>
                  <a:lnTo>
                    <a:pt x="801" y="414"/>
                  </a:lnTo>
                  <a:lnTo>
                    <a:pt x="799" y="415"/>
                  </a:lnTo>
                  <a:lnTo>
                    <a:pt x="797" y="415"/>
                  </a:lnTo>
                  <a:lnTo>
                    <a:pt x="796" y="417"/>
                  </a:lnTo>
                  <a:lnTo>
                    <a:pt x="795" y="418"/>
                  </a:lnTo>
                  <a:lnTo>
                    <a:pt x="795" y="421"/>
                  </a:lnTo>
                  <a:lnTo>
                    <a:pt x="795" y="422"/>
                  </a:lnTo>
                  <a:lnTo>
                    <a:pt x="796" y="430"/>
                  </a:lnTo>
                  <a:lnTo>
                    <a:pt x="799" y="438"/>
                  </a:lnTo>
                  <a:lnTo>
                    <a:pt x="801" y="445"/>
                  </a:lnTo>
                  <a:lnTo>
                    <a:pt x="804" y="451"/>
                  </a:lnTo>
                  <a:lnTo>
                    <a:pt x="808" y="457"/>
                  </a:lnTo>
                  <a:lnTo>
                    <a:pt x="812" y="462"/>
                  </a:lnTo>
                  <a:lnTo>
                    <a:pt x="817" y="466"/>
                  </a:lnTo>
                  <a:lnTo>
                    <a:pt x="822" y="470"/>
                  </a:lnTo>
                  <a:lnTo>
                    <a:pt x="827" y="473"/>
                  </a:lnTo>
                  <a:lnTo>
                    <a:pt x="833" y="476"/>
                  </a:lnTo>
                  <a:lnTo>
                    <a:pt x="840" y="478"/>
                  </a:lnTo>
                  <a:lnTo>
                    <a:pt x="846" y="480"/>
                  </a:lnTo>
                  <a:lnTo>
                    <a:pt x="854" y="481"/>
                  </a:lnTo>
                  <a:lnTo>
                    <a:pt x="861" y="482"/>
                  </a:lnTo>
                  <a:lnTo>
                    <a:pt x="878" y="482"/>
                  </a:lnTo>
                  <a:lnTo>
                    <a:pt x="886" y="482"/>
                  </a:lnTo>
                  <a:lnTo>
                    <a:pt x="894" y="481"/>
                  </a:lnTo>
                  <a:lnTo>
                    <a:pt x="903" y="480"/>
                  </a:lnTo>
                  <a:lnTo>
                    <a:pt x="911" y="479"/>
                  </a:lnTo>
                  <a:lnTo>
                    <a:pt x="928" y="475"/>
                  </a:lnTo>
                  <a:lnTo>
                    <a:pt x="943" y="470"/>
                  </a:lnTo>
                  <a:lnTo>
                    <a:pt x="958" y="464"/>
                  </a:lnTo>
                  <a:lnTo>
                    <a:pt x="971" y="459"/>
                  </a:lnTo>
                  <a:lnTo>
                    <a:pt x="983" y="453"/>
                  </a:lnTo>
                  <a:lnTo>
                    <a:pt x="992" y="448"/>
                  </a:lnTo>
                  <a:lnTo>
                    <a:pt x="994" y="447"/>
                  </a:lnTo>
                  <a:lnTo>
                    <a:pt x="996" y="447"/>
                  </a:lnTo>
                  <a:lnTo>
                    <a:pt x="998" y="447"/>
                  </a:lnTo>
                  <a:lnTo>
                    <a:pt x="999" y="448"/>
                  </a:lnTo>
                  <a:lnTo>
                    <a:pt x="1002" y="450"/>
                  </a:lnTo>
                  <a:lnTo>
                    <a:pt x="1050" y="531"/>
                  </a:lnTo>
                  <a:lnTo>
                    <a:pt x="1052" y="535"/>
                  </a:lnTo>
                  <a:lnTo>
                    <a:pt x="1052" y="537"/>
                  </a:lnTo>
                  <a:lnTo>
                    <a:pt x="1051" y="538"/>
                  </a:lnTo>
                  <a:lnTo>
                    <a:pt x="1051" y="540"/>
                  </a:lnTo>
                  <a:lnTo>
                    <a:pt x="1050" y="540"/>
                  </a:lnTo>
                  <a:lnTo>
                    <a:pt x="1048" y="542"/>
                  </a:lnTo>
                  <a:lnTo>
                    <a:pt x="1038" y="547"/>
                  </a:lnTo>
                  <a:lnTo>
                    <a:pt x="1028" y="553"/>
                  </a:lnTo>
                  <a:lnTo>
                    <a:pt x="1018" y="558"/>
                  </a:lnTo>
                  <a:lnTo>
                    <a:pt x="1007" y="562"/>
                  </a:lnTo>
                  <a:lnTo>
                    <a:pt x="996" y="567"/>
                  </a:lnTo>
                  <a:lnTo>
                    <a:pt x="985" y="570"/>
                  </a:lnTo>
                  <a:lnTo>
                    <a:pt x="974" y="574"/>
                  </a:lnTo>
                  <a:lnTo>
                    <a:pt x="963" y="577"/>
                  </a:lnTo>
                  <a:lnTo>
                    <a:pt x="951" y="580"/>
                  </a:lnTo>
                  <a:lnTo>
                    <a:pt x="939" y="582"/>
                  </a:lnTo>
                  <a:lnTo>
                    <a:pt x="927" y="584"/>
                  </a:lnTo>
                  <a:lnTo>
                    <a:pt x="915" y="585"/>
                  </a:lnTo>
                  <a:lnTo>
                    <a:pt x="903" y="587"/>
                  </a:lnTo>
                  <a:lnTo>
                    <a:pt x="891" y="587"/>
                  </a:lnTo>
                  <a:lnTo>
                    <a:pt x="866" y="588"/>
                  </a:lnTo>
                  <a:lnTo>
                    <a:pt x="844" y="588"/>
                  </a:lnTo>
                  <a:lnTo>
                    <a:pt x="823" y="586"/>
                  </a:lnTo>
                  <a:lnTo>
                    <a:pt x="813" y="584"/>
                  </a:lnTo>
                  <a:lnTo>
                    <a:pt x="802" y="583"/>
                  </a:lnTo>
                  <a:lnTo>
                    <a:pt x="792" y="580"/>
                  </a:lnTo>
                  <a:lnTo>
                    <a:pt x="782" y="578"/>
                  </a:lnTo>
                  <a:lnTo>
                    <a:pt x="772" y="575"/>
                  </a:lnTo>
                  <a:lnTo>
                    <a:pt x="762" y="572"/>
                  </a:lnTo>
                  <a:lnTo>
                    <a:pt x="753" y="568"/>
                  </a:lnTo>
                  <a:lnTo>
                    <a:pt x="744" y="564"/>
                  </a:lnTo>
                  <a:lnTo>
                    <a:pt x="735" y="559"/>
                  </a:lnTo>
                  <a:lnTo>
                    <a:pt x="726" y="554"/>
                  </a:lnTo>
                  <a:lnTo>
                    <a:pt x="718" y="549"/>
                  </a:lnTo>
                  <a:lnTo>
                    <a:pt x="710" y="543"/>
                  </a:lnTo>
                  <a:lnTo>
                    <a:pt x="702" y="537"/>
                  </a:lnTo>
                  <a:lnTo>
                    <a:pt x="694" y="530"/>
                  </a:lnTo>
                  <a:lnTo>
                    <a:pt x="687" y="522"/>
                  </a:lnTo>
                  <a:lnTo>
                    <a:pt x="681" y="514"/>
                  </a:lnTo>
                  <a:lnTo>
                    <a:pt x="675" y="505"/>
                  </a:lnTo>
                  <a:lnTo>
                    <a:pt x="669" y="496"/>
                  </a:lnTo>
                  <a:lnTo>
                    <a:pt x="664" y="486"/>
                  </a:lnTo>
                  <a:lnTo>
                    <a:pt x="659" y="476"/>
                  </a:lnTo>
                  <a:lnTo>
                    <a:pt x="654" y="465"/>
                  </a:lnTo>
                  <a:lnTo>
                    <a:pt x="652" y="459"/>
                  </a:lnTo>
                  <a:lnTo>
                    <a:pt x="651" y="454"/>
                  </a:lnTo>
                  <a:lnTo>
                    <a:pt x="647" y="441"/>
                  </a:lnTo>
                  <a:lnTo>
                    <a:pt x="645" y="429"/>
                  </a:lnTo>
                  <a:lnTo>
                    <a:pt x="642" y="415"/>
                  </a:lnTo>
                  <a:lnTo>
                    <a:pt x="642" y="408"/>
                  </a:lnTo>
                  <a:lnTo>
                    <a:pt x="641" y="401"/>
                  </a:lnTo>
                  <a:lnTo>
                    <a:pt x="640" y="386"/>
                  </a:lnTo>
                  <a:lnTo>
                    <a:pt x="640" y="370"/>
                  </a:lnTo>
                  <a:lnTo>
                    <a:pt x="640" y="355"/>
                  </a:lnTo>
                  <a:lnTo>
                    <a:pt x="641" y="340"/>
                  </a:lnTo>
                  <a:lnTo>
                    <a:pt x="643" y="326"/>
                  </a:lnTo>
                  <a:lnTo>
                    <a:pt x="646" y="313"/>
                  </a:lnTo>
                  <a:lnTo>
                    <a:pt x="649" y="300"/>
                  </a:lnTo>
                  <a:lnTo>
                    <a:pt x="653" y="288"/>
                  </a:lnTo>
                  <a:lnTo>
                    <a:pt x="657" y="276"/>
                  </a:lnTo>
                  <a:lnTo>
                    <a:pt x="662" y="265"/>
                  </a:lnTo>
                  <a:lnTo>
                    <a:pt x="668" y="255"/>
                  </a:lnTo>
                  <a:lnTo>
                    <a:pt x="674" y="245"/>
                  </a:lnTo>
                  <a:lnTo>
                    <a:pt x="680" y="236"/>
                  </a:lnTo>
                  <a:lnTo>
                    <a:pt x="687" y="227"/>
                  </a:lnTo>
                  <a:lnTo>
                    <a:pt x="694" y="219"/>
                  </a:lnTo>
                  <a:lnTo>
                    <a:pt x="702" y="212"/>
                  </a:lnTo>
                  <a:lnTo>
                    <a:pt x="710" y="204"/>
                  </a:lnTo>
                  <a:lnTo>
                    <a:pt x="718" y="198"/>
                  </a:lnTo>
                  <a:lnTo>
                    <a:pt x="727" y="192"/>
                  </a:lnTo>
                  <a:lnTo>
                    <a:pt x="735" y="186"/>
                  </a:lnTo>
                  <a:lnTo>
                    <a:pt x="744" y="181"/>
                  </a:lnTo>
                  <a:lnTo>
                    <a:pt x="753" y="177"/>
                  </a:lnTo>
                  <a:lnTo>
                    <a:pt x="762" y="172"/>
                  </a:lnTo>
                  <a:lnTo>
                    <a:pt x="771" y="169"/>
                  </a:lnTo>
                  <a:lnTo>
                    <a:pt x="781" y="165"/>
                  </a:lnTo>
                  <a:lnTo>
                    <a:pt x="790" y="162"/>
                  </a:lnTo>
                  <a:lnTo>
                    <a:pt x="799" y="160"/>
                  </a:lnTo>
                  <a:lnTo>
                    <a:pt x="808" y="158"/>
                  </a:lnTo>
                  <a:lnTo>
                    <a:pt x="817" y="156"/>
                  </a:lnTo>
                  <a:lnTo>
                    <a:pt x="826" y="154"/>
                  </a:lnTo>
                  <a:lnTo>
                    <a:pt x="844" y="152"/>
                  </a:lnTo>
                  <a:lnTo>
                    <a:pt x="852" y="152"/>
                  </a:lnTo>
                  <a:lnTo>
                    <a:pt x="860" y="152"/>
                  </a:lnTo>
                  <a:lnTo>
                    <a:pt x="868" y="152"/>
                  </a:lnTo>
                  <a:lnTo>
                    <a:pt x="876" y="152"/>
                  </a:lnTo>
                  <a:lnTo>
                    <a:pt x="893" y="153"/>
                  </a:lnTo>
                  <a:lnTo>
                    <a:pt x="901" y="155"/>
                  </a:lnTo>
                  <a:lnTo>
                    <a:pt x="910" y="156"/>
                  </a:lnTo>
                  <a:lnTo>
                    <a:pt x="927" y="160"/>
                  </a:lnTo>
                  <a:lnTo>
                    <a:pt x="936" y="162"/>
                  </a:lnTo>
                  <a:lnTo>
                    <a:pt x="944" y="165"/>
                  </a:lnTo>
                  <a:lnTo>
                    <a:pt x="953" y="168"/>
                  </a:lnTo>
                  <a:lnTo>
                    <a:pt x="961" y="172"/>
                  </a:lnTo>
                  <a:lnTo>
                    <a:pt x="969" y="177"/>
                  </a:lnTo>
                  <a:lnTo>
                    <a:pt x="977" y="181"/>
                  </a:lnTo>
                  <a:lnTo>
                    <a:pt x="985" y="187"/>
                  </a:lnTo>
                  <a:lnTo>
                    <a:pt x="993" y="193"/>
                  </a:lnTo>
                  <a:lnTo>
                    <a:pt x="1000" y="199"/>
                  </a:lnTo>
                  <a:lnTo>
                    <a:pt x="1007" y="207"/>
                  </a:lnTo>
                  <a:lnTo>
                    <a:pt x="1014" y="215"/>
                  </a:lnTo>
                  <a:lnTo>
                    <a:pt x="1021" y="223"/>
                  </a:lnTo>
                  <a:lnTo>
                    <a:pt x="1027" y="233"/>
                  </a:lnTo>
                  <a:lnTo>
                    <a:pt x="1032" y="243"/>
                  </a:lnTo>
                  <a:lnTo>
                    <a:pt x="1035" y="248"/>
                  </a:lnTo>
                  <a:lnTo>
                    <a:pt x="1038" y="253"/>
                  </a:lnTo>
                  <a:lnTo>
                    <a:pt x="1043" y="265"/>
                  </a:lnTo>
                  <a:lnTo>
                    <a:pt x="1047" y="278"/>
                  </a:lnTo>
                  <a:lnTo>
                    <a:pt x="1051" y="291"/>
                  </a:lnTo>
                  <a:lnTo>
                    <a:pt x="1054" y="305"/>
                  </a:lnTo>
                  <a:lnTo>
                    <a:pt x="1057" y="320"/>
                  </a:lnTo>
                  <a:lnTo>
                    <a:pt x="1060" y="336"/>
                  </a:lnTo>
                  <a:lnTo>
                    <a:pt x="1061" y="354"/>
                  </a:lnTo>
                  <a:lnTo>
                    <a:pt x="1062" y="372"/>
                  </a:lnTo>
                  <a:lnTo>
                    <a:pt x="1063" y="391"/>
                  </a:lnTo>
                  <a:lnTo>
                    <a:pt x="1063" y="408"/>
                  </a:lnTo>
                  <a:close/>
                  <a:moveTo>
                    <a:pt x="918" y="326"/>
                  </a:moveTo>
                  <a:lnTo>
                    <a:pt x="921" y="325"/>
                  </a:lnTo>
                  <a:lnTo>
                    <a:pt x="922" y="325"/>
                  </a:lnTo>
                  <a:lnTo>
                    <a:pt x="923" y="323"/>
                  </a:lnTo>
                  <a:lnTo>
                    <a:pt x="924" y="322"/>
                  </a:lnTo>
                  <a:lnTo>
                    <a:pt x="925" y="319"/>
                  </a:lnTo>
                  <a:lnTo>
                    <a:pt x="924" y="318"/>
                  </a:lnTo>
                  <a:lnTo>
                    <a:pt x="923" y="311"/>
                  </a:lnTo>
                  <a:lnTo>
                    <a:pt x="922" y="304"/>
                  </a:lnTo>
                  <a:lnTo>
                    <a:pt x="920" y="297"/>
                  </a:lnTo>
                  <a:lnTo>
                    <a:pt x="917" y="291"/>
                  </a:lnTo>
                  <a:lnTo>
                    <a:pt x="915" y="286"/>
                  </a:lnTo>
                  <a:lnTo>
                    <a:pt x="911" y="281"/>
                  </a:lnTo>
                  <a:lnTo>
                    <a:pt x="908" y="277"/>
                  </a:lnTo>
                  <a:lnTo>
                    <a:pt x="904" y="273"/>
                  </a:lnTo>
                  <a:lnTo>
                    <a:pt x="900" y="270"/>
                  </a:lnTo>
                  <a:lnTo>
                    <a:pt x="895" y="267"/>
                  </a:lnTo>
                  <a:lnTo>
                    <a:pt x="890" y="265"/>
                  </a:lnTo>
                  <a:lnTo>
                    <a:pt x="885" y="263"/>
                  </a:lnTo>
                  <a:lnTo>
                    <a:pt x="879" y="262"/>
                  </a:lnTo>
                  <a:lnTo>
                    <a:pt x="873" y="261"/>
                  </a:lnTo>
                  <a:lnTo>
                    <a:pt x="866" y="260"/>
                  </a:lnTo>
                  <a:lnTo>
                    <a:pt x="860" y="260"/>
                  </a:lnTo>
                  <a:lnTo>
                    <a:pt x="854" y="260"/>
                  </a:lnTo>
                  <a:lnTo>
                    <a:pt x="849" y="261"/>
                  </a:lnTo>
                  <a:lnTo>
                    <a:pt x="844" y="262"/>
                  </a:lnTo>
                  <a:lnTo>
                    <a:pt x="839" y="263"/>
                  </a:lnTo>
                  <a:lnTo>
                    <a:pt x="834" y="265"/>
                  </a:lnTo>
                  <a:lnTo>
                    <a:pt x="830" y="267"/>
                  </a:lnTo>
                  <a:lnTo>
                    <a:pt x="826" y="270"/>
                  </a:lnTo>
                  <a:lnTo>
                    <a:pt x="821" y="273"/>
                  </a:lnTo>
                  <a:lnTo>
                    <a:pt x="818" y="277"/>
                  </a:lnTo>
                  <a:lnTo>
                    <a:pt x="814" y="281"/>
                  </a:lnTo>
                  <a:lnTo>
                    <a:pt x="810" y="286"/>
                  </a:lnTo>
                  <a:lnTo>
                    <a:pt x="807" y="291"/>
                  </a:lnTo>
                  <a:lnTo>
                    <a:pt x="804" y="297"/>
                  </a:lnTo>
                  <a:lnTo>
                    <a:pt x="802" y="304"/>
                  </a:lnTo>
                  <a:lnTo>
                    <a:pt x="799" y="311"/>
                  </a:lnTo>
                  <a:lnTo>
                    <a:pt x="797" y="318"/>
                  </a:lnTo>
                  <a:lnTo>
                    <a:pt x="797" y="321"/>
                  </a:lnTo>
                  <a:lnTo>
                    <a:pt x="797" y="323"/>
                  </a:lnTo>
                  <a:lnTo>
                    <a:pt x="798" y="324"/>
                  </a:lnTo>
                  <a:lnTo>
                    <a:pt x="799" y="325"/>
                  </a:lnTo>
                  <a:lnTo>
                    <a:pt x="800" y="326"/>
                  </a:lnTo>
                  <a:lnTo>
                    <a:pt x="802" y="326"/>
                  </a:lnTo>
                  <a:lnTo>
                    <a:pt x="918" y="326"/>
                  </a:lnTo>
                  <a:close/>
                  <a:moveTo>
                    <a:pt x="1595" y="588"/>
                  </a:moveTo>
                  <a:lnTo>
                    <a:pt x="1577" y="588"/>
                  </a:lnTo>
                  <a:lnTo>
                    <a:pt x="1560" y="587"/>
                  </a:lnTo>
                  <a:lnTo>
                    <a:pt x="1543" y="585"/>
                  </a:lnTo>
                  <a:lnTo>
                    <a:pt x="1528" y="584"/>
                  </a:lnTo>
                  <a:lnTo>
                    <a:pt x="1513" y="581"/>
                  </a:lnTo>
                  <a:lnTo>
                    <a:pt x="1499" y="578"/>
                  </a:lnTo>
                  <a:lnTo>
                    <a:pt x="1485" y="575"/>
                  </a:lnTo>
                  <a:lnTo>
                    <a:pt x="1472" y="571"/>
                  </a:lnTo>
                  <a:lnTo>
                    <a:pt x="1460" y="567"/>
                  </a:lnTo>
                  <a:lnTo>
                    <a:pt x="1449" y="563"/>
                  </a:lnTo>
                  <a:lnTo>
                    <a:pt x="1438" y="558"/>
                  </a:lnTo>
                  <a:lnTo>
                    <a:pt x="1427" y="553"/>
                  </a:lnTo>
                  <a:lnTo>
                    <a:pt x="1418" y="548"/>
                  </a:lnTo>
                  <a:lnTo>
                    <a:pt x="1409" y="543"/>
                  </a:lnTo>
                  <a:lnTo>
                    <a:pt x="1393" y="532"/>
                  </a:lnTo>
                  <a:lnTo>
                    <a:pt x="1391" y="531"/>
                  </a:lnTo>
                  <a:lnTo>
                    <a:pt x="1390" y="529"/>
                  </a:lnTo>
                  <a:lnTo>
                    <a:pt x="1389" y="527"/>
                  </a:lnTo>
                  <a:lnTo>
                    <a:pt x="1389" y="525"/>
                  </a:lnTo>
                  <a:lnTo>
                    <a:pt x="1390" y="523"/>
                  </a:lnTo>
                  <a:lnTo>
                    <a:pt x="1391" y="522"/>
                  </a:lnTo>
                  <a:lnTo>
                    <a:pt x="1440" y="446"/>
                  </a:lnTo>
                  <a:lnTo>
                    <a:pt x="1442" y="444"/>
                  </a:lnTo>
                  <a:lnTo>
                    <a:pt x="1443" y="444"/>
                  </a:lnTo>
                  <a:lnTo>
                    <a:pt x="1444" y="443"/>
                  </a:lnTo>
                  <a:lnTo>
                    <a:pt x="1446" y="443"/>
                  </a:lnTo>
                  <a:lnTo>
                    <a:pt x="1448" y="444"/>
                  </a:lnTo>
                  <a:lnTo>
                    <a:pt x="1450" y="445"/>
                  </a:lnTo>
                  <a:lnTo>
                    <a:pt x="1465" y="456"/>
                  </a:lnTo>
                  <a:lnTo>
                    <a:pt x="1483" y="465"/>
                  </a:lnTo>
                  <a:lnTo>
                    <a:pt x="1501" y="473"/>
                  </a:lnTo>
                  <a:lnTo>
                    <a:pt x="1510" y="476"/>
                  </a:lnTo>
                  <a:lnTo>
                    <a:pt x="1520" y="479"/>
                  </a:lnTo>
                  <a:lnTo>
                    <a:pt x="1529" y="482"/>
                  </a:lnTo>
                  <a:lnTo>
                    <a:pt x="1539" y="485"/>
                  </a:lnTo>
                  <a:lnTo>
                    <a:pt x="1558" y="489"/>
                  </a:lnTo>
                  <a:lnTo>
                    <a:pt x="1576" y="491"/>
                  </a:lnTo>
                  <a:lnTo>
                    <a:pt x="1594" y="492"/>
                  </a:lnTo>
                  <a:lnTo>
                    <a:pt x="1604" y="491"/>
                  </a:lnTo>
                  <a:lnTo>
                    <a:pt x="1613" y="490"/>
                  </a:lnTo>
                  <a:lnTo>
                    <a:pt x="1622" y="488"/>
                  </a:lnTo>
                  <a:lnTo>
                    <a:pt x="1629" y="486"/>
                  </a:lnTo>
                  <a:lnTo>
                    <a:pt x="1632" y="484"/>
                  </a:lnTo>
                  <a:lnTo>
                    <a:pt x="1635" y="482"/>
                  </a:lnTo>
                  <a:lnTo>
                    <a:pt x="1638" y="480"/>
                  </a:lnTo>
                  <a:lnTo>
                    <a:pt x="1640" y="477"/>
                  </a:lnTo>
                  <a:lnTo>
                    <a:pt x="1642" y="474"/>
                  </a:lnTo>
                  <a:lnTo>
                    <a:pt x="1643" y="471"/>
                  </a:lnTo>
                  <a:lnTo>
                    <a:pt x="1644" y="468"/>
                  </a:lnTo>
                  <a:lnTo>
                    <a:pt x="1644" y="464"/>
                  </a:lnTo>
                  <a:lnTo>
                    <a:pt x="1644" y="461"/>
                  </a:lnTo>
                  <a:lnTo>
                    <a:pt x="1643" y="457"/>
                  </a:lnTo>
                  <a:lnTo>
                    <a:pt x="1642" y="454"/>
                  </a:lnTo>
                  <a:lnTo>
                    <a:pt x="1641" y="451"/>
                  </a:lnTo>
                  <a:lnTo>
                    <a:pt x="1640" y="449"/>
                  </a:lnTo>
                  <a:lnTo>
                    <a:pt x="1638" y="448"/>
                  </a:lnTo>
                  <a:lnTo>
                    <a:pt x="1636" y="445"/>
                  </a:lnTo>
                  <a:lnTo>
                    <a:pt x="1629" y="441"/>
                  </a:lnTo>
                  <a:lnTo>
                    <a:pt x="1620" y="437"/>
                  </a:lnTo>
                  <a:lnTo>
                    <a:pt x="1609" y="434"/>
                  </a:lnTo>
                  <a:lnTo>
                    <a:pt x="1595" y="432"/>
                  </a:lnTo>
                  <a:lnTo>
                    <a:pt x="1579" y="429"/>
                  </a:lnTo>
                  <a:lnTo>
                    <a:pt x="1551" y="425"/>
                  </a:lnTo>
                  <a:lnTo>
                    <a:pt x="1537" y="422"/>
                  </a:lnTo>
                  <a:lnTo>
                    <a:pt x="1522" y="419"/>
                  </a:lnTo>
                  <a:lnTo>
                    <a:pt x="1508" y="415"/>
                  </a:lnTo>
                  <a:lnTo>
                    <a:pt x="1493" y="411"/>
                  </a:lnTo>
                  <a:lnTo>
                    <a:pt x="1480" y="405"/>
                  </a:lnTo>
                  <a:lnTo>
                    <a:pt x="1466" y="398"/>
                  </a:lnTo>
                  <a:lnTo>
                    <a:pt x="1460" y="395"/>
                  </a:lnTo>
                  <a:lnTo>
                    <a:pt x="1454" y="391"/>
                  </a:lnTo>
                  <a:lnTo>
                    <a:pt x="1448" y="386"/>
                  </a:lnTo>
                  <a:lnTo>
                    <a:pt x="1443" y="382"/>
                  </a:lnTo>
                  <a:lnTo>
                    <a:pt x="1438" y="377"/>
                  </a:lnTo>
                  <a:lnTo>
                    <a:pt x="1433" y="371"/>
                  </a:lnTo>
                  <a:lnTo>
                    <a:pt x="1428" y="366"/>
                  </a:lnTo>
                  <a:lnTo>
                    <a:pt x="1424" y="359"/>
                  </a:lnTo>
                  <a:lnTo>
                    <a:pt x="1420" y="353"/>
                  </a:lnTo>
                  <a:lnTo>
                    <a:pt x="1417" y="346"/>
                  </a:lnTo>
                  <a:lnTo>
                    <a:pt x="1414" y="338"/>
                  </a:lnTo>
                  <a:lnTo>
                    <a:pt x="1411" y="330"/>
                  </a:lnTo>
                  <a:lnTo>
                    <a:pt x="1410" y="322"/>
                  </a:lnTo>
                  <a:lnTo>
                    <a:pt x="1408" y="313"/>
                  </a:lnTo>
                  <a:lnTo>
                    <a:pt x="1408" y="308"/>
                  </a:lnTo>
                  <a:lnTo>
                    <a:pt x="1407" y="304"/>
                  </a:lnTo>
                  <a:lnTo>
                    <a:pt x="1407" y="294"/>
                  </a:lnTo>
                  <a:lnTo>
                    <a:pt x="1407" y="285"/>
                  </a:lnTo>
                  <a:lnTo>
                    <a:pt x="1408" y="277"/>
                  </a:lnTo>
                  <a:lnTo>
                    <a:pt x="1409" y="268"/>
                  </a:lnTo>
                  <a:lnTo>
                    <a:pt x="1410" y="261"/>
                  </a:lnTo>
                  <a:lnTo>
                    <a:pt x="1412" y="253"/>
                  </a:lnTo>
                  <a:lnTo>
                    <a:pt x="1415" y="246"/>
                  </a:lnTo>
                  <a:lnTo>
                    <a:pt x="1417" y="239"/>
                  </a:lnTo>
                  <a:lnTo>
                    <a:pt x="1420" y="232"/>
                  </a:lnTo>
                  <a:lnTo>
                    <a:pt x="1424" y="225"/>
                  </a:lnTo>
                  <a:lnTo>
                    <a:pt x="1428" y="219"/>
                  </a:lnTo>
                  <a:lnTo>
                    <a:pt x="1436" y="208"/>
                  </a:lnTo>
                  <a:lnTo>
                    <a:pt x="1441" y="202"/>
                  </a:lnTo>
                  <a:lnTo>
                    <a:pt x="1446" y="197"/>
                  </a:lnTo>
                  <a:lnTo>
                    <a:pt x="1457" y="188"/>
                  </a:lnTo>
                  <a:lnTo>
                    <a:pt x="1463" y="183"/>
                  </a:lnTo>
                  <a:lnTo>
                    <a:pt x="1469" y="179"/>
                  </a:lnTo>
                  <a:lnTo>
                    <a:pt x="1483" y="172"/>
                  </a:lnTo>
                  <a:lnTo>
                    <a:pt x="1490" y="169"/>
                  </a:lnTo>
                  <a:lnTo>
                    <a:pt x="1497" y="166"/>
                  </a:lnTo>
                  <a:lnTo>
                    <a:pt x="1512" y="161"/>
                  </a:lnTo>
                  <a:lnTo>
                    <a:pt x="1528" y="157"/>
                  </a:lnTo>
                  <a:lnTo>
                    <a:pt x="1544" y="154"/>
                  </a:lnTo>
                  <a:lnTo>
                    <a:pt x="1561" y="152"/>
                  </a:lnTo>
                  <a:lnTo>
                    <a:pt x="1579" y="152"/>
                  </a:lnTo>
                  <a:lnTo>
                    <a:pt x="1595" y="152"/>
                  </a:lnTo>
                  <a:lnTo>
                    <a:pt x="1611" y="153"/>
                  </a:lnTo>
                  <a:lnTo>
                    <a:pt x="1626" y="154"/>
                  </a:lnTo>
                  <a:lnTo>
                    <a:pt x="1641" y="156"/>
                  </a:lnTo>
                  <a:lnTo>
                    <a:pt x="1654" y="158"/>
                  </a:lnTo>
                  <a:lnTo>
                    <a:pt x="1667" y="160"/>
                  </a:lnTo>
                  <a:lnTo>
                    <a:pt x="1679" y="163"/>
                  </a:lnTo>
                  <a:lnTo>
                    <a:pt x="1691" y="167"/>
                  </a:lnTo>
                  <a:lnTo>
                    <a:pt x="1702" y="170"/>
                  </a:lnTo>
                  <a:lnTo>
                    <a:pt x="1713" y="174"/>
                  </a:lnTo>
                  <a:lnTo>
                    <a:pt x="1723" y="179"/>
                  </a:lnTo>
                  <a:lnTo>
                    <a:pt x="1733" y="183"/>
                  </a:lnTo>
                  <a:lnTo>
                    <a:pt x="1742" y="188"/>
                  </a:lnTo>
                  <a:lnTo>
                    <a:pt x="1751" y="194"/>
                  </a:lnTo>
                  <a:lnTo>
                    <a:pt x="1768" y="205"/>
                  </a:lnTo>
                  <a:lnTo>
                    <a:pt x="1770" y="207"/>
                  </a:lnTo>
                  <a:lnTo>
                    <a:pt x="1771" y="209"/>
                  </a:lnTo>
                  <a:lnTo>
                    <a:pt x="1772" y="211"/>
                  </a:lnTo>
                  <a:lnTo>
                    <a:pt x="1772" y="212"/>
                  </a:lnTo>
                  <a:lnTo>
                    <a:pt x="1771" y="215"/>
                  </a:lnTo>
                  <a:lnTo>
                    <a:pt x="1770" y="216"/>
                  </a:lnTo>
                  <a:lnTo>
                    <a:pt x="1722" y="288"/>
                  </a:lnTo>
                  <a:lnTo>
                    <a:pt x="1720" y="290"/>
                  </a:lnTo>
                  <a:lnTo>
                    <a:pt x="1718" y="292"/>
                  </a:lnTo>
                  <a:lnTo>
                    <a:pt x="1716" y="292"/>
                  </a:lnTo>
                  <a:lnTo>
                    <a:pt x="1715" y="292"/>
                  </a:lnTo>
                  <a:lnTo>
                    <a:pt x="1711" y="292"/>
                  </a:lnTo>
                  <a:lnTo>
                    <a:pt x="1708" y="290"/>
                  </a:lnTo>
                  <a:lnTo>
                    <a:pt x="1693" y="282"/>
                  </a:lnTo>
                  <a:lnTo>
                    <a:pt x="1677" y="274"/>
                  </a:lnTo>
                  <a:lnTo>
                    <a:pt x="1662" y="268"/>
                  </a:lnTo>
                  <a:lnTo>
                    <a:pt x="1647" y="263"/>
                  </a:lnTo>
                  <a:lnTo>
                    <a:pt x="1633" y="258"/>
                  </a:lnTo>
                  <a:lnTo>
                    <a:pt x="1619" y="255"/>
                  </a:lnTo>
                  <a:lnTo>
                    <a:pt x="1612" y="254"/>
                  </a:lnTo>
                  <a:lnTo>
                    <a:pt x="1606" y="254"/>
                  </a:lnTo>
                  <a:lnTo>
                    <a:pt x="1593" y="253"/>
                  </a:lnTo>
                  <a:lnTo>
                    <a:pt x="1584" y="253"/>
                  </a:lnTo>
                  <a:lnTo>
                    <a:pt x="1576" y="254"/>
                  </a:lnTo>
                  <a:lnTo>
                    <a:pt x="1568" y="256"/>
                  </a:lnTo>
                  <a:lnTo>
                    <a:pt x="1562" y="259"/>
                  </a:lnTo>
                  <a:lnTo>
                    <a:pt x="1560" y="261"/>
                  </a:lnTo>
                  <a:lnTo>
                    <a:pt x="1557" y="263"/>
                  </a:lnTo>
                  <a:lnTo>
                    <a:pt x="1554" y="267"/>
                  </a:lnTo>
                  <a:lnTo>
                    <a:pt x="1552" y="270"/>
                  </a:lnTo>
                  <a:lnTo>
                    <a:pt x="1551" y="273"/>
                  </a:lnTo>
                  <a:lnTo>
                    <a:pt x="1551" y="276"/>
                  </a:lnTo>
                  <a:lnTo>
                    <a:pt x="1550" y="280"/>
                  </a:lnTo>
                  <a:lnTo>
                    <a:pt x="1551" y="283"/>
                  </a:lnTo>
                  <a:lnTo>
                    <a:pt x="1551" y="286"/>
                  </a:lnTo>
                  <a:lnTo>
                    <a:pt x="1553" y="289"/>
                  </a:lnTo>
                  <a:lnTo>
                    <a:pt x="1555" y="292"/>
                  </a:lnTo>
                  <a:lnTo>
                    <a:pt x="1557" y="295"/>
                  </a:lnTo>
                  <a:lnTo>
                    <a:pt x="1560" y="297"/>
                  </a:lnTo>
                  <a:lnTo>
                    <a:pt x="1563" y="299"/>
                  </a:lnTo>
                  <a:lnTo>
                    <a:pt x="1567" y="301"/>
                  </a:lnTo>
                  <a:lnTo>
                    <a:pt x="1576" y="304"/>
                  </a:lnTo>
                  <a:lnTo>
                    <a:pt x="1587" y="307"/>
                  </a:lnTo>
                  <a:lnTo>
                    <a:pt x="1600" y="309"/>
                  </a:lnTo>
                  <a:lnTo>
                    <a:pt x="1615" y="312"/>
                  </a:lnTo>
                  <a:lnTo>
                    <a:pt x="1642" y="316"/>
                  </a:lnTo>
                  <a:lnTo>
                    <a:pt x="1657" y="318"/>
                  </a:lnTo>
                  <a:lnTo>
                    <a:pt x="1672" y="321"/>
                  </a:lnTo>
                  <a:lnTo>
                    <a:pt x="1686" y="325"/>
                  </a:lnTo>
                  <a:lnTo>
                    <a:pt x="1701" y="329"/>
                  </a:lnTo>
                  <a:lnTo>
                    <a:pt x="1715" y="334"/>
                  </a:lnTo>
                  <a:lnTo>
                    <a:pt x="1728" y="340"/>
                  </a:lnTo>
                  <a:lnTo>
                    <a:pt x="1740" y="348"/>
                  </a:lnTo>
                  <a:lnTo>
                    <a:pt x="1746" y="352"/>
                  </a:lnTo>
                  <a:lnTo>
                    <a:pt x="1752" y="356"/>
                  </a:lnTo>
                  <a:lnTo>
                    <a:pt x="1757" y="361"/>
                  </a:lnTo>
                  <a:lnTo>
                    <a:pt x="1762" y="366"/>
                  </a:lnTo>
                  <a:lnTo>
                    <a:pt x="1766" y="371"/>
                  </a:lnTo>
                  <a:lnTo>
                    <a:pt x="1771" y="377"/>
                  </a:lnTo>
                  <a:lnTo>
                    <a:pt x="1774" y="383"/>
                  </a:lnTo>
                  <a:lnTo>
                    <a:pt x="1778" y="390"/>
                  </a:lnTo>
                  <a:lnTo>
                    <a:pt x="1781" y="397"/>
                  </a:lnTo>
                  <a:lnTo>
                    <a:pt x="1783" y="404"/>
                  </a:lnTo>
                  <a:lnTo>
                    <a:pt x="1785" y="412"/>
                  </a:lnTo>
                  <a:lnTo>
                    <a:pt x="1787" y="420"/>
                  </a:lnTo>
                  <a:lnTo>
                    <a:pt x="1787" y="425"/>
                  </a:lnTo>
                  <a:lnTo>
                    <a:pt x="1787" y="429"/>
                  </a:lnTo>
                  <a:lnTo>
                    <a:pt x="1788" y="438"/>
                  </a:lnTo>
                  <a:lnTo>
                    <a:pt x="1787" y="449"/>
                  </a:lnTo>
                  <a:lnTo>
                    <a:pt x="1787" y="458"/>
                  </a:lnTo>
                  <a:lnTo>
                    <a:pt x="1785" y="468"/>
                  </a:lnTo>
                  <a:lnTo>
                    <a:pt x="1783" y="477"/>
                  </a:lnTo>
                  <a:lnTo>
                    <a:pt x="1781" y="485"/>
                  </a:lnTo>
                  <a:lnTo>
                    <a:pt x="1778" y="494"/>
                  </a:lnTo>
                  <a:lnTo>
                    <a:pt x="1775" y="501"/>
                  </a:lnTo>
                  <a:lnTo>
                    <a:pt x="1771" y="509"/>
                  </a:lnTo>
                  <a:lnTo>
                    <a:pt x="1767" y="516"/>
                  </a:lnTo>
                  <a:lnTo>
                    <a:pt x="1763" y="523"/>
                  </a:lnTo>
                  <a:lnTo>
                    <a:pt x="1758" y="529"/>
                  </a:lnTo>
                  <a:lnTo>
                    <a:pt x="1752" y="535"/>
                  </a:lnTo>
                  <a:lnTo>
                    <a:pt x="1747" y="540"/>
                  </a:lnTo>
                  <a:lnTo>
                    <a:pt x="1741" y="546"/>
                  </a:lnTo>
                  <a:lnTo>
                    <a:pt x="1734" y="550"/>
                  </a:lnTo>
                  <a:lnTo>
                    <a:pt x="1728" y="555"/>
                  </a:lnTo>
                  <a:lnTo>
                    <a:pt x="1721" y="559"/>
                  </a:lnTo>
                  <a:lnTo>
                    <a:pt x="1714" y="563"/>
                  </a:lnTo>
                  <a:lnTo>
                    <a:pt x="1699" y="570"/>
                  </a:lnTo>
                  <a:lnTo>
                    <a:pt x="1683" y="576"/>
                  </a:lnTo>
                  <a:lnTo>
                    <a:pt x="1675" y="578"/>
                  </a:lnTo>
                  <a:lnTo>
                    <a:pt x="1666" y="580"/>
                  </a:lnTo>
                  <a:lnTo>
                    <a:pt x="1649" y="584"/>
                  </a:lnTo>
                  <a:lnTo>
                    <a:pt x="1631" y="586"/>
                  </a:lnTo>
                  <a:lnTo>
                    <a:pt x="1613" y="588"/>
                  </a:lnTo>
                  <a:lnTo>
                    <a:pt x="1595" y="58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pic>
        <p:nvPicPr>
          <p:cNvPr id="14" name="Graphic 13">
            <a:extLst>
              <a:ext uri="{FF2B5EF4-FFF2-40B4-BE49-F238E27FC236}">
                <a16:creationId xmlns:a16="http://schemas.microsoft.com/office/drawing/2014/main" id="{4B61E163-71E9-3D5E-FFFD-869E61BC10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935759" y="3022464"/>
            <a:ext cx="3280921" cy="964976"/>
          </a:xfrm>
          <a:prstGeom prst="rect">
            <a:avLst/>
          </a:prstGeom>
        </p:spPr>
      </p:pic>
    </p:spTree>
    <p:extLst>
      <p:ext uri="{BB962C8B-B14F-4D97-AF65-F5344CB8AC3E}">
        <p14:creationId xmlns:p14="http://schemas.microsoft.com/office/powerpoint/2010/main" val="3706775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End slide / no picture / FIN">
    <p:bg>
      <p:bgPr>
        <a:solidFill>
          <a:schemeClr val="bg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D8C0297-F108-D845-F41D-9589207C82AC}"/>
              </a:ext>
            </a:extLst>
          </p:cNvPr>
          <p:cNvGrpSpPr>
            <a:grpSpLocks noChangeAspect="1"/>
          </p:cNvGrpSpPr>
          <p:nvPr userDrawn="1"/>
        </p:nvGrpSpPr>
        <p:grpSpPr>
          <a:xfrm>
            <a:off x="335360" y="2348880"/>
            <a:ext cx="4369707" cy="1517652"/>
            <a:chOff x="3279775" y="2451101"/>
            <a:chExt cx="5640388" cy="1958974"/>
          </a:xfrm>
        </p:grpSpPr>
        <p:sp>
          <p:nvSpPr>
            <p:cNvPr id="8" name="Freeform 7">
              <a:extLst>
                <a:ext uri="{FF2B5EF4-FFF2-40B4-BE49-F238E27FC236}">
                  <a16:creationId xmlns:a16="http://schemas.microsoft.com/office/drawing/2014/main" id="{1A62D0BC-EC33-8503-043B-8A96435B749B}"/>
                </a:ext>
              </a:extLst>
            </p:cNvPr>
            <p:cNvSpPr>
              <a:spLocks/>
            </p:cNvSpPr>
            <p:nvPr/>
          </p:nvSpPr>
          <p:spPr bwMode="auto">
            <a:xfrm>
              <a:off x="3279775" y="2451101"/>
              <a:ext cx="1838325" cy="1944687"/>
            </a:xfrm>
            <a:custGeom>
              <a:avLst/>
              <a:gdLst>
                <a:gd name="T0" fmla="*/ 978 w 1158"/>
                <a:gd name="T1" fmla="*/ 608 h 1225"/>
                <a:gd name="T2" fmla="*/ 974 w 1158"/>
                <a:gd name="T3" fmla="*/ 610 h 1225"/>
                <a:gd name="T4" fmla="*/ 968 w 1158"/>
                <a:gd name="T5" fmla="*/ 608 h 1225"/>
                <a:gd name="T6" fmla="*/ 966 w 1158"/>
                <a:gd name="T7" fmla="*/ 134 h 1225"/>
                <a:gd name="T8" fmla="*/ 963 w 1158"/>
                <a:gd name="T9" fmla="*/ 128 h 1225"/>
                <a:gd name="T10" fmla="*/ 956 w 1158"/>
                <a:gd name="T11" fmla="*/ 128 h 1225"/>
                <a:gd name="T12" fmla="*/ 953 w 1158"/>
                <a:gd name="T13" fmla="*/ 132 h 1225"/>
                <a:gd name="T14" fmla="*/ 784 w 1158"/>
                <a:gd name="T15" fmla="*/ 603 h 1225"/>
                <a:gd name="T16" fmla="*/ 779 w 1158"/>
                <a:gd name="T17" fmla="*/ 607 h 1225"/>
                <a:gd name="T18" fmla="*/ 773 w 1158"/>
                <a:gd name="T19" fmla="*/ 605 h 1225"/>
                <a:gd name="T20" fmla="*/ 771 w 1158"/>
                <a:gd name="T21" fmla="*/ 466 h 1225"/>
                <a:gd name="T22" fmla="*/ 769 w 1158"/>
                <a:gd name="T23" fmla="*/ 461 h 1225"/>
                <a:gd name="T24" fmla="*/ 764 w 1158"/>
                <a:gd name="T25" fmla="*/ 459 h 1225"/>
                <a:gd name="T26" fmla="*/ 584 w 1158"/>
                <a:gd name="T27" fmla="*/ 614 h 1225"/>
                <a:gd name="T28" fmla="*/ 579 w 1158"/>
                <a:gd name="T29" fmla="*/ 616 h 1225"/>
                <a:gd name="T30" fmla="*/ 396 w 1158"/>
                <a:gd name="T31" fmla="*/ 461 h 1225"/>
                <a:gd name="T32" fmla="*/ 390 w 1158"/>
                <a:gd name="T33" fmla="*/ 460 h 1225"/>
                <a:gd name="T34" fmla="*/ 386 w 1158"/>
                <a:gd name="T35" fmla="*/ 464 h 1225"/>
                <a:gd name="T36" fmla="*/ 386 w 1158"/>
                <a:gd name="T37" fmla="*/ 603 h 1225"/>
                <a:gd name="T38" fmla="*/ 381 w 1158"/>
                <a:gd name="T39" fmla="*/ 607 h 1225"/>
                <a:gd name="T40" fmla="*/ 375 w 1158"/>
                <a:gd name="T41" fmla="*/ 605 h 1225"/>
                <a:gd name="T42" fmla="*/ 292 w 1158"/>
                <a:gd name="T43" fmla="*/ 378 h 1225"/>
                <a:gd name="T44" fmla="*/ 203 w 1158"/>
                <a:gd name="T45" fmla="*/ 130 h 1225"/>
                <a:gd name="T46" fmla="*/ 197 w 1158"/>
                <a:gd name="T47" fmla="*/ 128 h 1225"/>
                <a:gd name="T48" fmla="*/ 192 w 1158"/>
                <a:gd name="T49" fmla="*/ 132 h 1225"/>
                <a:gd name="T50" fmla="*/ 191 w 1158"/>
                <a:gd name="T51" fmla="*/ 606 h 1225"/>
                <a:gd name="T52" fmla="*/ 186 w 1158"/>
                <a:gd name="T53" fmla="*/ 610 h 1225"/>
                <a:gd name="T54" fmla="*/ 181 w 1158"/>
                <a:gd name="T55" fmla="*/ 609 h 1225"/>
                <a:gd name="T56" fmla="*/ 13 w 1158"/>
                <a:gd name="T57" fmla="*/ 5 h 1225"/>
                <a:gd name="T58" fmla="*/ 10 w 1158"/>
                <a:gd name="T59" fmla="*/ 1 h 1225"/>
                <a:gd name="T60" fmla="*/ 4 w 1158"/>
                <a:gd name="T61" fmla="*/ 1 h 1225"/>
                <a:gd name="T62" fmla="*/ 0 w 1158"/>
                <a:gd name="T63" fmla="*/ 7 h 1225"/>
                <a:gd name="T64" fmla="*/ 1 w 1158"/>
                <a:gd name="T65" fmla="*/ 552 h 1225"/>
                <a:gd name="T66" fmla="*/ 147 w 1158"/>
                <a:gd name="T67" fmla="*/ 644 h 1225"/>
                <a:gd name="T68" fmla="*/ 389 w 1158"/>
                <a:gd name="T69" fmla="*/ 646 h 1225"/>
                <a:gd name="T70" fmla="*/ 397 w 1158"/>
                <a:gd name="T71" fmla="*/ 649 h 1225"/>
                <a:gd name="T72" fmla="*/ 500 w 1158"/>
                <a:gd name="T73" fmla="*/ 909 h 1225"/>
                <a:gd name="T74" fmla="*/ 501 w 1158"/>
                <a:gd name="T75" fmla="*/ 917 h 1225"/>
                <a:gd name="T76" fmla="*/ 447 w 1158"/>
                <a:gd name="T77" fmla="*/ 1030 h 1225"/>
                <a:gd name="T78" fmla="*/ 519 w 1158"/>
                <a:gd name="T79" fmla="*/ 1218 h 1225"/>
                <a:gd name="T80" fmla="*/ 526 w 1158"/>
                <a:gd name="T81" fmla="*/ 1224 h 1225"/>
                <a:gd name="T82" fmla="*/ 629 w 1158"/>
                <a:gd name="T83" fmla="*/ 1225 h 1225"/>
                <a:gd name="T84" fmla="*/ 637 w 1158"/>
                <a:gd name="T85" fmla="*/ 1221 h 1225"/>
                <a:gd name="T86" fmla="*/ 710 w 1158"/>
                <a:gd name="T87" fmla="*/ 1036 h 1225"/>
                <a:gd name="T88" fmla="*/ 710 w 1158"/>
                <a:gd name="T89" fmla="*/ 1030 h 1225"/>
                <a:gd name="T90" fmla="*/ 657 w 1158"/>
                <a:gd name="T91" fmla="*/ 917 h 1225"/>
                <a:gd name="T92" fmla="*/ 758 w 1158"/>
                <a:gd name="T93" fmla="*/ 652 h 1225"/>
                <a:gd name="T94" fmla="*/ 765 w 1158"/>
                <a:gd name="T95" fmla="*/ 646 h 1225"/>
                <a:gd name="T96" fmla="*/ 1009 w 1158"/>
                <a:gd name="T97" fmla="*/ 645 h 1225"/>
                <a:gd name="T98" fmla="*/ 1155 w 1158"/>
                <a:gd name="T99" fmla="*/ 554 h 1225"/>
                <a:gd name="T100" fmla="*/ 1158 w 1158"/>
                <a:gd name="T101" fmla="*/ 549 h 1225"/>
                <a:gd name="T102" fmla="*/ 1158 w 1158"/>
                <a:gd name="T103" fmla="*/ 4 h 1225"/>
                <a:gd name="T104" fmla="*/ 1152 w 1158"/>
                <a:gd name="T105" fmla="*/ 0 h 1225"/>
                <a:gd name="T106" fmla="*/ 1146 w 1158"/>
                <a:gd name="T107" fmla="*/ 3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8" h="1225">
                  <a:moveTo>
                    <a:pt x="1145" y="5"/>
                  </a:moveTo>
                  <a:lnTo>
                    <a:pt x="979" y="605"/>
                  </a:lnTo>
                  <a:lnTo>
                    <a:pt x="978" y="608"/>
                  </a:lnTo>
                  <a:lnTo>
                    <a:pt x="977" y="608"/>
                  </a:lnTo>
                  <a:lnTo>
                    <a:pt x="976" y="609"/>
                  </a:lnTo>
                  <a:lnTo>
                    <a:pt x="974" y="610"/>
                  </a:lnTo>
                  <a:lnTo>
                    <a:pt x="972" y="610"/>
                  </a:lnTo>
                  <a:lnTo>
                    <a:pt x="970" y="609"/>
                  </a:lnTo>
                  <a:lnTo>
                    <a:pt x="968" y="608"/>
                  </a:lnTo>
                  <a:lnTo>
                    <a:pt x="967" y="606"/>
                  </a:lnTo>
                  <a:lnTo>
                    <a:pt x="966" y="603"/>
                  </a:lnTo>
                  <a:lnTo>
                    <a:pt x="966" y="134"/>
                  </a:lnTo>
                  <a:lnTo>
                    <a:pt x="966" y="132"/>
                  </a:lnTo>
                  <a:lnTo>
                    <a:pt x="964" y="130"/>
                  </a:lnTo>
                  <a:lnTo>
                    <a:pt x="963" y="128"/>
                  </a:lnTo>
                  <a:lnTo>
                    <a:pt x="961" y="128"/>
                  </a:lnTo>
                  <a:lnTo>
                    <a:pt x="958" y="128"/>
                  </a:lnTo>
                  <a:lnTo>
                    <a:pt x="956" y="128"/>
                  </a:lnTo>
                  <a:lnTo>
                    <a:pt x="955" y="129"/>
                  </a:lnTo>
                  <a:lnTo>
                    <a:pt x="955" y="130"/>
                  </a:lnTo>
                  <a:lnTo>
                    <a:pt x="953" y="132"/>
                  </a:lnTo>
                  <a:lnTo>
                    <a:pt x="916" y="240"/>
                  </a:lnTo>
                  <a:lnTo>
                    <a:pt x="865" y="378"/>
                  </a:lnTo>
                  <a:lnTo>
                    <a:pt x="784" y="603"/>
                  </a:lnTo>
                  <a:lnTo>
                    <a:pt x="782" y="605"/>
                  </a:lnTo>
                  <a:lnTo>
                    <a:pt x="781" y="606"/>
                  </a:lnTo>
                  <a:lnTo>
                    <a:pt x="779" y="607"/>
                  </a:lnTo>
                  <a:lnTo>
                    <a:pt x="776" y="607"/>
                  </a:lnTo>
                  <a:lnTo>
                    <a:pt x="774" y="606"/>
                  </a:lnTo>
                  <a:lnTo>
                    <a:pt x="773" y="605"/>
                  </a:lnTo>
                  <a:lnTo>
                    <a:pt x="772" y="603"/>
                  </a:lnTo>
                  <a:lnTo>
                    <a:pt x="771" y="600"/>
                  </a:lnTo>
                  <a:lnTo>
                    <a:pt x="771" y="466"/>
                  </a:lnTo>
                  <a:lnTo>
                    <a:pt x="771" y="464"/>
                  </a:lnTo>
                  <a:lnTo>
                    <a:pt x="770" y="462"/>
                  </a:lnTo>
                  <a:lnTo>
                    <a:pt x="769" y="461"/>
                  </a:lnTo>
                  <a:lnTo>
                    <a:pt x="767" y="460"/>
                  </a:lnTo>
                  <a:lnTo>
                    <a:pt x="766" y="459"/>
                  </a:lnTo>
                  <a:lnTo>
                    <a:pt x="764" y="459"/>
                  </a:lnTo>
                  <a:lnTo>
                    <a:pt x="762" y="460"/>
                  </a:lnTo>
                  <a:lnTo>
                    <a:pt x="761" y="461"/>
                  </a:lnTo>
                  <a:lnTo>
                    <a:pt x="584" y="614"/>
                  </a:lnTo>
                  <a:lnTo>
                    <a:pt x="583" y="615"/>
                  </a:lnTo>
                  <a:lnTo>
                    <a:pt x="581" y="615"/>
                  </a:lnTo>
                  <a:lnTo>
                    <a:pt x="579" y="616"/>
                  </a:lnTo>
                  <a:lnTo>
                    <a:pt x="576" y="615"/>
                  </a:lnTo>
                  <a:lnTo>
                    <a:pt x="573" y="614"/>
                  </a:lnTo>
                  <a:lnTo>
                    <a:pt x="396" y="461"/>
                  </a:lnTo>
                  <a:lnTo>
                    <a:pt x="393" y="459"/>
                  </a:lnTo>
                  <a:lnTo>
                    <a:pt x="391" y="460"/>
                  </a:lnTo>
                  <a:lnTo>
                    <a:pt x="390" y="460"/>
                  </a:lnTo>
                  <a:lnTo>
                    <a:pt x="388" y="461"/>
                  </a:lnTo>
                  <a:lnTo>
                    <a:pt x="387" y="462"/>
                  </a:lnTo>
                  <a:lnTo>
                    <a:pt x="386" y="464"/>
                  </a:lnTo>
                  <a:lnTo>
                    <a:pt x="386" y="466"/>
                  </a:lnTo>
                  <a:lnTo>
                    <a:pt x="386" y="601"/>
                  </a:lnTo>
                  <a:lnTo>
                    <a:pt x="386" y="603"/>
                  </a:lnTo>
                  <a:lnTo>
                    <a:pt x="384" y="605"/>
                  </a:lnTo>
                  <a:lnTo>
                    <a:pt x="383" y="606"/>
                  </a:lnTo>
                  <a:lnTo>
                    <a:pt x="381" y="607"/>
                  </a:lnTo>
                  <a:lnTo>
                    <a:pt x="379" y="607"/>
                  </a:lnTo>
                  <a:lnTo>
                    <a:pt x="377" y="606"/>
                  </a:lnTo>
                  <a:lnTo>
                    <a:pt x="375" y="605"/>
                  </a:lnTo>
                  <a:lnTo>
                    <a:pt x="374" y="603"/>
                  </a:lnTo>
                  <a:lnTo>
                    <a:pt x="340" y="511"/>
                  </a:lnTo>
                  <a:lnTo>
                    <a:pt x="292" y="378"/>
                  </a:lnTo>
                  <a:lnTo>
                    <a:pt x="242" y="240"/>
                  </a:lnTo>
                  <a:lnTo>
                    <a:pt x="205" y="132"/>
                  </a:lnTo>
                  <a:lnTo>
                    <a:pt x="203" y="130"/>
                  </a:lnTo>
                  <a:lnTo>
                    <a:pt x="202" y="128"/>
                  </a:lnTo>
                  <a:lnTo>
                    <a:pt x="200" y="128"/>
                  </a:lnTo>
                  <a:lnTo>
                    <a:pt x="197" y="128"/>
                  </a:lnTo>
                  <a:lnTo>
                    <a:pt x="195" y="128"/>
                  </a:lnTo>
                  <a:lnTo>
                    <a:pt x="194" y="130"/>
                  </a:lnTo>
                  <a:lnTo>
                    <a:pt x="192" y="132"/>
                  </a:lnTo>
                  <a:lnTo>
                    <a:pt x="192" y="134"/>
                  </a:lnTo>
                  <a:lnTo>
                    <a:pt x="192" y="604"/>
                  </a:lnTo>
                  <a:lnTo>
                    <a:pt x="191" y="606"/>
                  </a:lnTo>
                  <a:lnTo>
                    <a:pt x="190" y="608"/>
                  </a:lnTo>
                  <a:lnTo>
                    <a:pt x="188" y="609"/>
                  </a:lnTo>
                  <a:lnTo>
                    <a:pt x="186" y="610"/>
                  </a:lnTo>
                  <a:lnTo>
                    <a:pt x="184" y="610"/>
                  </a:lnTo>
                  <a:lnTo>
                    <a:pt x="182" y="609"/>
                  </a:lnTo>
                  <a:lnTo>
                    <a:pt x="181" y="609"/>
                  </a:lnTo>
                  <a:lnTo>
                    <a:pt x="180" y="608"/>
                  </a:lnTo>
                  <a:lnTo>
                    <a:pt x="179" y="605"/>
                  </a:lnTo>
                  <a:lnTo>
                    <a:pt x="13" y="5"/>
                  </a:lnTo>
                  <a:lnTo>
                    <a:pt x="12" y="3"/>
                  </a:lnTo>
                  <a:lnTo>
                    <a:pt x="11" y="2"/>
                  </a:lnTo>
                  <a:lnTo>
                    <a:pt x="10" y="1"/>
                  </a:lnTo>
                  <a:lnTo>
                    <a:pt x="8" y="1"/>
                  </a:lnTo>
                  <a:lnTo>
                    <a:pt x="6" y="0"/>
                  </a:lnTo>
                  <a:lnTo>
                    <a:pt x="4" y="1"/>
                  </a:lnTo>
                  <a:lnTo>
                    <a:pt x="2" y="3"/>
                  </a:lnTo>
                  <a:lnTo>
                    <a:pt x="1" y="4"/>
                  </a:lnTo>
                  <a:lnTo>
                    <a:pt x="0" y="7"/>
                  </a:lnTo>
                  <a:lnTo>
                    <a:pt x="0" y="546"/>
                  </a:lnTo>
                  <a:lnTo>
                    <a:pt x="0" y="549"/>
                  </a:lnTo>
                  <a:lnTo>
                    <a:pt x="1" y="552"/>
                  </a:lnTo>
                  <a:lnTo>
                    <a:pt x="3" y="554"/>
                  </a:lnTo>
                  <a:lnTo>
                    <a:pt x="5" y="555"/>
                  </a:lnTo>
                  <a:lnTo>
                    <a:pt x="147" y="644"/>
                  </a:lnTo>
                  <a:lnTo>
                    <a:pt x="150" y="645"/>
                  </a:lnTo>
                  <a:lnTo>
                    <a:pt x="153" y="646"/>
                  </a:lnTo>
                  <a:lnTo>
                    <a:pt x="389" y="646"/>
                  </a:lnTo>
                  <a:lnTo>
                    <a:pt x="392" y="646"/>
                  </a:lnTo>
                  <a:lnTo>
                    <a:pt x="395" y="647"/>
                  </a:lnTo>
                  <a:lnTo>
                    <a:pt x="397" y="649"/>
                  </a:lnTo>
                  <a:lnTo>
                    <a:pt x="398" y="651"/>
                  </a:lnTo>
                  <a:lnTo>
                    <a:pt x="399" y="652"/>
                  </a:lnTo>
                  <a:lnTo>
                    <a:pt x="500" y="909"/>
                  </a:lnTo>
                  <a:lnTo>
                    <a:pt x="501" y="912"/>
                  </a:lnTo>
                  <a:lnTo>
                    <a:pt x="501" y="914"/>
                  </a:lnTo>
                  <a:lnTo>
                    <a:pt x="501" y="917"/>
                  </a:lnTo>
                  <a:lnTo>
                    <a:pt x="500" y="920"/>
                  </a:lnTo>
                  <a:lnTo>
                    <a:pt x="448" y="1028"/>
                  </a:lnTo>
                  <a:lnTo>
                    <a:pt x="447" y="1030"/>
                  </a:lnTo>
                  <a:lnTo>
                    <a:pt x="447" y="1032"/>
                  </a:lnTo>
                  <a:lnTo>
                    <a:pt x="447" y="1036"/>
                  </a:lnTo>
                  <a:lnTo>
                    <a:pt x="519" y="1218"/>
                  </a:lnTo>
                  <a:lnTo>
                    <a:pt x="520" y="1221"/>
                  </a:lnTo>
                  <a:lnTo>
                    <a:pt x="523" y="1223"/>
                  </a:lnTo>
                  <a:lnTo>
                    <a:pt x="526" y="1224"/>
                  </a:lnTo>
                  <a:lnTo>
                    <a:pt x="529" y="1225"/>
                  </a:lnTo>
                  <a:lnTo>
                    <a:pt x="579" y="1225"/>
                  </a:lnTo>
                  <a:lnTo>
                    <a:pt x="629" y="1225"/>
                  </a:lnTo>
                  <a:lnTo>
                    <a:pt x="632" y="1224"/>
                  </a:lnTo>
                  <a:lnTo>
                    <a:pt x="635" y="1223"/>
                  </a:lnTo>
                  <a:lnTo>
                    <a:pt x="637" y="1221"/>
                  </a:lnTo>
                  <a:lnTo>
                    <a:pt x="638" y="1219"/>
                  </a:lnTo>
                  <a:lnTo>
                    <a:pt x="638" y="1218"/>
                  </a:lnTo>
                  <a:lnTo>
                    <a:pt x="710" y="1036"/>
                  </a:lnTo>
                  <a:lnTo>
                    <a:pt x="711" y="1034"/>
                  </a:lnTo>
                  <a:lnTo>
                    <a:pt x="711" y="1032"/>
                  </a:lnTo>
                  <a:lnTo>
                    <a:pt x="710" y="1030"/>
                  </a:lnTo>
                  <a:lnTo>
                    <a:pt x="710" y="1028"/>
                  </a:lnTo>
                  <a:lnTo>
                    <a:pt x="657" y="920"/>
                  </a:lnTo>
                  <a:lnTo>
                    <a:pt x="657" y="917"/>
                  </a:lnTo>
                  <a:lnTo>
                    <a:pt x="656" y="914"/>
                  </a:lnTo>
                  <a:lnTo>
                    <a:pt x="657" y="909"/>
                  </a:lnTo>
                  <a:lnTo>
                    <a:pt x="758" y="652"/>
                  </a:lnTo>
                  <a:lnTo>
                    <a:pt x="760" y="650"/>
                  </a:lnTo>
                  <a:lnTo>
                    <a:pt x="762" y="647"/>
                  </a:lnTo>
                  <a:lnTo>
                    <a:pt x="765" y="646"/>
                  </a:lnTo>
                  <a:lnTo>
                    <a:pt x="768" y="646"/>
                  </a:lnTo>
                  <a:lnTo>
                    <a:pt x="1006" y="646"/>
                  </a:lnTo>
                  <a:lnTo>
                    <a:pt x="1009" y="645"/>
                  </a:lnTo>
                  <a:lnTo>
                    <a:pt x="1011" y="644"/>
                  </a:lnTo>
                  <a:lnTo>
                    <a:pt x="1153" y="555"/>
                  </a:lnTo>
                  <a:lnTo>
                    <a:pt x="1155" y="554"/>
                  </a:lnTo>
                  <a:lnTo>
                    <a:pt x="1156" y="553"/>
                  </a:lnTo>
                  <a:lnTo>
                    <a:pt x="1157" y="552"/>
                  </a:lnTo>
                  <a:lnTo>
                    <a:pt x="1158" y="549"/>
                  </a:lnTo>
                  <a:lnTo>
                    <a:pt x="1158" y="546"/>
                  </a:lnTo>
                  <a:lnTo>
                    <a:pt x="1158" y="7"/>
                  </a:lnTo>
                  <a:lnTo>
                    <a:pt x="1158" y="4"/>
                  </a:lnTo>
                  <a:lnTo>
                    <a:pt x="1156" y="3"/>
                  </a:lnTo>
                  <a:lnTo>
                    <a:pt x="1154" y="1"/>
                  </a:lnTo>
                  <a:lnTo>
                    <a:pt x="1152" y="0"/>
                  </a:lnTo>
                  <a:lnTo>
                    <a:pt x="1150" y="1"/>
                  </a:lnTo>
                  <a:lnTo>
                    <a:pt x="1148" y="1"/>
                  </a:lnTo>
                  <a:lnTo>
                    <a:pt x="1146" y="3"/>
                  </a:lnTo>
                  <a:lnTo>
                    <a:pt x="1145" y="4"/>
                  </a:lnTo>
                  <a:lnTo>
                    <a:pt x="1145" y="5"/>
                  </a:lnTo>
                  <a:close/>
                </a:path>
              </a:pathLst>
            </a:custGeom>
            <a:solidFill>
              <a:srgbClr val="62A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 name="Freeform 8">
              <a:extLst>
                <a:ext uri="{FF2B5EF4-FFF2-40B4-BE49-F238E27FC236}">
                  <a16:creationId xmlns:a16="http://schemas.microsoft.com/office/drawing/2014/main" id="{FB830023-93CD-BFF1-B2A6-E7E2869AC3D0}"/>
                </a:ext>
              </a:extLst>
            </p:cNvPr>
            <p:cNvSpPr>
              <a:spLocks noEditPoints="1"/>
            </p:cNvSpPr>
            <p:nvPr/>
          </p:nvSpPr>
          <p:spPr bwMode="auto">
            <a:xfrm>
              <a:off x="5386388" y="3476625"/>
              <a:ext cx="3533775" cy="933450"/>
            </a:xfrm>
            <a:custGeom>
              <a:avLst/>
              <a:gdLst>
                <a:gd name="T0" fmla="*/ 1976 w 2226"/>
                <a:gd name="T1" fmla="*/ 407 h 588"/>
                <a:gd name="T2" fmla="*/ 1967 w 2226"/>
                <a:gd name="T3" fmla="*/ 463 h 588"/>
                <a:gd name="T4" fmla="*/ 2059 w 2226"/>
                <a:gd name="T5" fmla="*/ 452 h 588"/>
                <a:gd name="T6" fmla="*/ 2077 w 2226"/>
                <a:gd name="T7" fmla="*/ 579 h 588"/>
                <a:gd name="T8" fmla="*/ 2048 w 2226"/>
                <a:gd name="T9" fmla="*/ 537 h 588"/>
                <a:gd name="T10" fmla="*/ 1914 w 2226"/>
                <a:gd name="T11" fmla="*/ 585 h 588"/>
                <a:gd name="T12" fmla="*/ 1811 w 2226"/>
                <a:gd name="T13" fmla="*/ 508 h 588"/>
                <a:gd name="T14" fmla="*/ 1836 w 2226"/>
                <a:gd name="T15" fmla="*/ 383 h 588"/>
                <a:gd name="T16" fmla="*/ 2013 w 2226"/>
                <a:gd name="T17" fmla="*/ 311 h 588"/>
                <a:gd name="T18" fmla="*/ 2045 w 2226"/>
                <a:gd name="T19" fmla="*/ 271 h 588"/>
                <a:gd name="T20" fmla="*/ 1907 w 2226"/>
                <a:gd name="T21" fmla="*/ 300 h 588"/>
                <a:gd name="T22" fmla="*/ 1866 w 2226"/>
                <a:gd name="T23" fmla="*/ 195 h 588"/>
                <a:gd name="T24" fmla="*/ 2086 w 2226"/>
                <a:gd name="T25" fmla="*/ 154 h 588"/>
                <a:gd name="T26" fmla="*/ 2190 w 2226"/>
                <a:gd name="T27" fmla="*/ 214 h 588"/>
                <a:gd name="T28" fmla="*/ 2217 w 2226"/>
                <a:gd name="T29" fmla="*/ 512 h 588"/>
                <a:gd name="T30" fmla="*/ 1994 w 2226"/>
                <a:gd name="T31" fmla="*/ 3 h 588"/>
                <a:gd name="T32" fmla="*/ 1869 w 2226"/>
                <a:gd name="T33" fmla="*/ 7 h 588"/>
                <a:gd name="T34" fmla="*/ 2172 w 2226"/>
                <a:gd name="T35" fmla="*/ 123 h 588"/>
                <a:gd name="T36" fmla="*/ 1190 w 2226"/>
                <a:gd name="T37" fmla="*/ 576 h 588"/>
                <a:gd name="T38" fmla="*/ 1121 w 2226"/>
                <a:gd name="T39" fmla="*/ 502 h 588"/>
                <a:gd name="T40" fmla="*/ 1059 w 2226"/>
                <a:gd name="T41" fmla="*/ 264 h 588"/>
                <a:gd name="T42" fmla="*/ 1170 w 2226"/>
                <a:gd name="T43" fmla="*/ 25 h 588"/>
                <a:gd name="T44" fmla="*/ 1274 w 2226"/>
                <a:gd name="T45" fmla="*/ 156 h 588"/>
                <a:gd name="T46" fmla="*/ 1374 w 2226"/>
                <a:gd name="T47" fmla="*/ 271 h 588"/>
                <a:gd name="T48" fmla="*/ 1291 w 2226"/>
                <a:gd name="T49" fmla="*/ 469 h 588"/>
                <a:gd name="T50" fmla="*/ 1370 w 2226"/>
                <a:gd name="T51" fmla="*/ 564 h 588"/>
                <a:gd name="T52" fmla="*/ 1 w 2226"/>
                <a:gd name="T53" fmla="*/ 3 h 588"/>
                <a:gd name="T54" fmla="*/ 312 w 2226"/>
                <a:gd name="T55" fmla="*/ 389 h 588"/>
                <a:gd name="T56" fmla="*/ 615 w 2226"/>
                <a:gd name="T57" fmla="*/ 572 h 588"/>
                <a:gd name="T58" fmla="*/ 463 w 2226"/>
                <a:gd name="T59" fmla="*/ 222 h 588"/>
                <a:gd name="T60" fmla="*/ 365 w 2226"/>
                <a:gd name="T61" fmla="*/ 579 h 588"/>
                <a:gd name="T62" fmla="*/ 146 w 2226"/>
                <a:gd name="T63" fmla="*/ 223 h 588"/>
                <a:gd name="T64" fmla="*/ 1 w 2226"/>
                <a:gd name="T65" fmla="*/ 576 h 588"/>
                <a:gd name="T66" fmla="*/ 795 w 2226"/>
                <a:gd name="T67" fmla="*/ 421 h 588"/>
                <a:gd name="T68" fmla="*/ 861 w 2226"/>
                <a:gd name="T69" fmla="*/ 482 h 588"/>
                <a:gd name="T70" fmla="*/ 999 w 2226"/>
                <a:gd name="T71" fmla="*/ 448 h 588"/>
                <a:gd name="T72" fmla="*/ 974 w 2226"/>
                <a:gd name="T73" fmla="*/ 574 h 588"/>
                <a:gd name="T74" fmla="*/ 772 w 2226"/>
                <a:gd name="T75" fmla="*/ 575 h 588"/>
                <a:gd name="T76" fmla="*/ 659 w 2226"/>
                <a:gd name="T77" fmla="*/ 476 h 588"/>
                <a:gd name="T78" fmla="*/ 649 w 2226"/>
                <a:gd name="T79" fmla="*/ 300 h 588"/>
                <a:gd name="T80" fmla="*/ 753 w 2226"/>
                <a:gd name="T81" fmla="*/ 177 h 588"/>
                <a:gd name="T82" fmla="*/ 901 w 2226"/>
                <a:gd name="T83" fmla="*/ 155 h 588"/>
                <a:gd name="T84" fmla="*/ 1027 w 2226"/>
                <a:gd name="T85" fmla="*/ 233 h 588"/>
                <a:gd name="T86" fmla="*/ 921 w 2226"/>
                <a:gd name="T87" fmla="*/ 325 h 588"/>
                <a:gd name="T88" fmla="*/ 895 w 2226"/>
                <a:gd name="T89" fmla="*/ 267 h 588"/>
                <a:gd name="T90" fmla="*/ 818 w 2226"/>
                <a:gd name="T91" fmla="*/ 277 h 588"/>
                <a:gd name="T92" fmla="*/ 1595 w 2226"/>
                <a:gd name="T93" fmla="*/ 588 h 588"/>
                <a:gd name="T94" fmla="*/ 1393 w 2226"/>
                <a:gd name="T95" fmla="*/ 532 h 588"/>
                <a:gd name="T96" fmla="*/ 1483 w 2226"/>
                <a:gd name="T97" fmla="*/ 465 h 588"/>
                <a:gd name="T98" fmla="*/ 1638 w 2226"/>
                <a:gd name="T99" fmla="*/ 480 h 588"/>
                <a:gd name="T100" fmla="*/ 1609 w 2226"/>
                <a:gd name="T101" fmla="*/ 434 h 588"/>
                <a:gd name="T102" fmla="*/ 1433 w 2226"/>
                <a:gd name="T103" fmla="*/ 371 h 588"/>
                <a:gd name="T104" fmla="*/ 1410 w 2226"/>
                <a:gd name="T105" fmla="*/ 261 h 588"/>
                <a:gd name="T106" fmla="*/ 1497 w 2226"/>
                <a:gd name="T107" fmla="*/ 166 h 588"/>
                <a:gd name="T108" fmla="*/ 1713 w 2226"/>
                <a:gd name="T109" fmla="*/ 174 h 588"/>
                <a:gd name="T110" fmla="*/ 1716 w 2226"/>
                <a:gd name="T111" fmla="*/ 292 h 588"/>
                <a:gd name="T112" fmla="*/ 1568 w 2226"/>
                <a:gd name="T113" fmla="*/ 256 h 588"/>
                <a:gd name="T114" fmla="*/ 1563 w 2226"/>
                <a:gd name="T115" fmla="*/ 299 h 588"/>
                <a:gd name="T116" fmla="*/ 1752 w 2226"/>
                <a:gd name="T117" fmla="*/ 356 h 588"/>
                <a:gd name="T118" fmla="*/ 1787 w 2226"/>
                <a:gd name="T119" fmla="*/ 458 h 588"/>
                <a:gd name="T120" fmla="*/ 1721 w 2226"/>
                <a:gd name="T121" fmla="*/ 55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26" h="588">
                  <a:moveTo>
                    <a:pt x="2065" y="439"/>
                  </a:moveTo>
                  <a:lnTo>
                    <a:pt x="2065" y="391"/>
                  </a:lnTo>
                  <a:lnTo>
                    <a:pt x="2064" y="389"/>
                  </a:lnTo>
                  <a:lnTo>
                    <a:pt x="2063" y="388"/>
                  </a:lnTo>
                  <a:lnTo>
                    <a:pt x="2061" y="387"/>
                  </a:lnTo>
                  <a:lnTo>
                    <a:pt x="2060" y="387"/>
                  </a:lnTo>
                  <a:lnTo>
                    <a:pt x="2047" y="388"/>
                  </a:lnTo>
                  <a:lnTo>
                    <a:pt x="2035" y="389"/>
                  </a:lnTo>
                  <a:lnTo>
                    <a:pt x="2024" y="390"/>
                  </a:lnTo>
                  <a:lnTo>
                    <a:pt x="2014" y="392"/>
                  </a:lnTo>
                  <a:lnTo>
                    <a:pt x="2004" y="395"/>
                  </a:lnTo>
                  <a:lnTo>
                    <a:pt x="1996" y="397"/>
                  </a:lnTo>
                  <a:lnTo>
                    <a:pt x="1988" y="400"/>
                  </a:lnTo>
                  <a:lnTo>
                    <a:pt x="1981" y="403"/>
                  </a:lnTo>
                  <a:lnTo>
                    <a:pt x="1976" y="407"/>
                  </a:lnTo>
                  <a:lnTo>
                    <a:pt x="1971" y="411"/>
                  </a:lnTo>
                  <a:lnTo>
                    <a:pt x="1966" y="415"/>
                  </a:lnTo>
                  <a:lnTo>
                    <a:pt x="1963" y="420"/>
                  </a:lnTo>
                  <a:lnTo>
                    <a:pt x="1960" y="425"/>
                  </a:lnTo>
                  <a:lnTo>
                    <a:pt x="1958" y="430"/>
                  </a:lnTo>
                  <a:lnTo>
                    <a:pt x="1957" y="435"/>
                  </a:lnTo>
                  <a:lnTo>
                    <a:pt x="1957" y="441"/>
                  </a:lnTo>
                  <a:lnTo>
                    <a:pt x="1957" y="445"/>
                  </a:lnTo>
                  <a:lnTo>
                    <a:pt x="1958" y="448"/>
                  </a:lnTo>
                  <a:lnTo>
                    <a:pt x="1958" y="451"/>
                  </a:lnTo>
                  <a:lnTo>
                    <a:pt x="1959" y="454"/>
                  </a:lnTo>
                  <a:lnTo>
                    <a:pt x="1961" y="457"/>
                  </a:lnTo>
                  <a:lnTo>
                    <a:pt x="1963" y="459"/>
                  </a:lnTo>
                  <a:lnTo>
                    <a:pt x="1965" y="461"/>
                  </a:lnTo>
                  <a:lnTo>
                    <a:pt x="1967" y="463"/>
                  </a:lnTo>
                  <a:lnTo>
                    <a:pt x="1972" y="467"/>
                  </a:lnTo>
                  <a:lnTo>
                    <a:pt x="1975" y="468"/>
                  </a:lnTo>
                  <a:lnTo>
                    <a:pt x="1978" y="469"/>
                  </a:lnTo>
                  <a:lnTo>
                    <a:pt x="1984" y="470"/>
                  </a:lnTo>
                  <a:lnTo>
                    <a:pt x="1991" y="471"/>
                  </a:lnTo>
                  <a:lnTo>
                    <a:pt x="2005" y="470"/>
                  </a:lnTo>
                  <a:lnTo>
                    <a:pt x="2011" y="470"/>
                  </a:lnTo>
                  <a:lnTo>
                    <a:pt x="2017" y="469"/>
                  </a:lnTo>
                  <a:lnTo>
                    <a:pt x="2023" y="468"/>
                  </a:lnTo>
                  <a:lnTo>
                    <a:pt x="2028" y="467"/>
                  </a:lnTo>
                  <a:lnTo>
                    <a:pt x="2037" y="464"/>
                  </a:lnTo>
                  <a:lnTo>
                    <a:pt x="2045" y="461"/>
                  </a:lnTo>
                  <a:lnTo>
                    <a:pt x="2051" y="458"/>
                  </a:lnTo>
                  <a:lnTo>
                    <a:pt x="2056" y="454"/>
                  </a:lnTo>
                  <a:lnTo>
                    <a:pt x="2059" y="452"/>
                  </a:lnTo>
                  <a:lnTo>
                    <a:pt x="2061" y="450"/>
                  </a:lnTo>
                  <a:lnTo>
                    <a:pt x="2063" y="447"/>
                  </a:lnTo>
                  <a:lnTo>
                    <a:pt x="2064" y="443"/>
                  </a:lnTo>
                  <a:lnTo>
                    <a:pt x="2065" y="440"/>
                  </a:lnTo>
                  <a:lnTo>
                    <a:pt x="2065" y="439"/>
                  </a:lnTo>
                  <a:close/>
                  <a:moveTo>
                    <a:pt x="2225" y="572"/>
                  </a:moveTo>
                  <a:lnTo>
                    <a:pt x="2226" y="575"/>
                  </a:lnTo>
                  <a:lnTo>
                    <a:pt x="2225" y="577"/>
                  </a:lnTo>
                  <a:lnTo>
                    <a:pt x="2225" y="578"/>
                  </a:lnTo>
                  <a:lnTo>
                    <a:pt x="2224" y="579"/>
                  </a:lnTo>
                  <a:lnTo>
                    <a:pt x="2221" y="579"/>
                  </a:lnTo>
                  <a:lnTo>
                    <a:pt x="2220" y="579"/>
                  </a:lnTo>
                  <a:lnTo>
                    <a:pt x="2081" y="579"/>
                  </a:lnTo>
                  <a:lnTo>
                    <a:pt x="2079" y="579"/>
                  </a:lnTo>
                  <a:lnTo>
                    <a:pt x="2077" y="579"/>
                  </a:lnTo>
                  <a:lnTo>
                    <a:pt x="2074" y="577"/>
                  </a:lnTo>
                  <a:lnTo>
                    <a:pt x="2073" y="574"/>
                  </a:lnTo>
                  <a:lnTo>
                    <a:pt x="2072" y="572"/>
                  </a:lnTo>
                  <a:lnTo>
                    <a:pt x="2069" y="560"/>
                  </a:lnTo>
                  <a:lnTo>
                    <a:pt x="2067" y="548"/>
                  </a:lnTo>
                  <a:lnTo>
                    <a:pt x="2065" y="537"/>
                  </a:lnTo>
                  <a:lnTo>
                    <a:pt x="2065" y="526"/>
                  </a:lnTo>
                  <a:lnTo>
                    <a:pt x="2064" y="524"/>
                  </a:lnTo>
                  <a:lnTo>
                    <a:pt x="2064" y="522"/>
                  </a:lnTo>
                  <a:lnTo>
                    <a:pt x="2063" y="522"/>
                  </a:lnTo>
                  <a:lnTo>
                    <a:pt x="2062" y="522"/>
                  </a:lnTo>
                  <a:lnTo>
                    <a:pt x="2061" y="523"/>
                  </a:lnTo>
                  <a:lnTo>
                    <a:pt x="2060" y="524"/>
                  </a:lnTo>
                  <a:lnTo>
                    <a:pt x="2054" y="531"/>
                  </a:lnTo>
                  <a:lnTo>
                    <a:pt x="2048" y="537"/>
                  </a:lnTo>
                  <a:lnTo>
                    <a:pt x="2042" y="544"/>
                  </a:lnTo>
                  <a:lnTo>
                    <a:pt x="2035" y="549"/>
                  </a:lnTo>
                  <a:lnTo>
                    <a:pt x="2028" y="555"/>
                  </a:lnTo>
                  <a:lnTo>
                    <a:pt x="2021" y="560"/>
                  </a:lnTo>
                  <a:lnTo>
                    <a:pt x="2013" y="564"/>
                  </a:lnTo>
                  <a:lnTo>
                    <a:pt x="2005" y="569"/>
                  </a:lnTo>
                  <a:lnTo>
                    <a:pt x="1996" y="573"/>
                  </a:lnTo>
                  <a:lnTo>
                    <a:pt x="1987" y="576"/>
                  </a:lnTo>
                  <a:lnTo>
                    <a:pt x="1978" y="579"/>
                  </a:lnTo>
                  <a:lnTo>
                    <a:pt x="1968" y="581"/>
                  </a:lnTo>
                  <a:lnTo>
                    <a:pt x="1958" y="583"/>
                  </a:lnTo>
                  <a:lnTo>
                    <a:pt x="1948" y="584"/>
                  </a:lnTo>
                  <a:lnTo>
                    <a:pt x="1937" y="585"/>
                  </a:lnTo>
                  <a:lnTo>
                    <a:pt x="1925" y="586"/>
                  </a:lnTo>
                  <a:lnTo>
                    <a:pt x="1914" y="585"/>
                  </a:lnTo>
                  <a:lnTo>
                    <a:pt x="1903" y="584"/>
                  </a:lnTo>
                  <a:lnTo>
                    <a:pt x="1892" y="582"/>
                  </a:lnTo>
                  <a:lnTo>
                    <a:pt x="1881" y="579"/>
                  </a:lnTo>
                  <a:lnTo>
                    <a:pt x="1871" y="574"/>
                  </a:lnTo>
                  <a:lnTo>
                    <a:pt x="1861" y="570"/>
                  </a:lnTo>
                  <a:lnTo>
                    <a:pt x="1856" y="567"/>
                  </a:lnTo>
                  <a:lnTo>
                    <a:pt x="1851" y="564"/>
                  </a:lnTo>
                  <a:lnTo>
                    <a:pt x="1843" y="557"/>
                  </a:lnTo>
                  <a:lnTo>
                    <a:pt x="1835" y="549"/>
                  </a:lnTo>
                  <a:lnTo>
                    <a:pt x="1827" y="540"/>
                  </a:lnTo>
                  <a:lnTo>
                    <a:pt x="1824" y="536"/>
                  </a:lnTo>
                  <a:lnTo>
                    <a:pt x="1821" y="531"/>
                  </a:lnTo>
                  <a:lnTo>
                    <a:pt x="1816" y="520"/>
                  </a:lnTo>
                  <a:lnTo>
                    <a:pt x="1813" y="514"/>
                  </a:lnTo>
                  <a:lnTo>
                    <a:pt x="1811" y="508"/>
                  </a:lnTo>
                  <a:lnTo>
                    <a:pt x="1808" y="495"/>
                  </a:lnTo>
                  <a:lnTo>
                    <a:pt x="1806" y="481"/>
                  </a:lnTo>
                  <a:lnTo>
                    <a:pt x="1806" y="474"/>
                  </a:lnTo>
                  <a:lnTo>
                    <a:pt x="1805" y="466"/>
                  </a:lnTo>
                  <a:lnTo>
                    <a:pt x="1806" y="458"/>
                  </a:lnTo>
                  <a:lnTo>
                    <a:pt x="1806" y="449"/>
                  </a:lnTo>
                  <a:lnTo>
                    <a:pt x="1808" y="441"/>
                  </a:lnTo>
                  <a:lnTo>
                    <a:pt x="1809" y="433"/>
                  </a:lnTo>
                  <a:lnTo>
                    <a:pt x="1812" y="425"/>
                  </a:lnTo>
                  <a:lnTo>
                    <a:pt x="1814" y="418"/>
                  </a:lnTo>
                  <a:lnTo>
                    <a:pt x="1818" y="410"/>
                  </a:lnTo>
                  <a:lnTo>
                    <a:pt x="1822" y="403"/>
                  </a:lnTo>
                  <a:lnTo>
                    <a:pt x="1826" y="396"/>
                  </a:lnTo>
                  <a:lnTo>
                    <a:pt x="1831" y="390"/>
                  </a:lnTo>
                  <a:lnTo>
                    <a:pt x="1836" y="383"/>
                  </a:lnTo>
                  <a:lnTo>
                    <a:pt x="1842" y="377"/>
                  </a:lnTo>
                  <a:lnTo>
                    <a:pt x="1848" y="371"/>
                  </a:lnTo>
                  <a:lnTo>
                    <a:pt x="1855" y="365"/>
                  </a:lnTo>
                  <a:lnTo>
                    <a:pt x="1862" y="360"/>
                  </a:lnTo>
                  <a:lnTo>
                    <a:pt x="1869" y="355"/>
                  </a:lnTo>
                  <a:lnTo>
                    <a:pt x="1886" y="345"/>
                  </a:lnTo>
                  <a:lnTo>
                    <a:pt x="1895" y="341"/>
                  </a:lnTo>
                  <a:lnTo>
                    <a:pt x="1905" y="337"/>
                  </a:lnTo>
                  <a:lnTo>
                    <a:pt x="1915" y="333"/>
                  </a:lnTo>
                  <a:lnTo>
                    <a:pt x="1926" y="329"/>
                  </a:lnTo>
                  <a:lnTo>
                    <a:pt x="1948" y="323"/>
                  </a:lnTo>
                  <a:lnTo>
                    <a:pt x="1960" y="320"/>
                  </a:lnTo>
                  <a:lnTo>
                    <a:pt x="1973" y="317"/>
                  </a:lnTo>
                  <a:lnTo>
                    <a:pt x="1999" y="313"/>
                  </a:lnTo>
                  <a:lnTo>
                    <a:pt x="2013" y="311"/>
                  </a:lnTo>
                  <a:lnTo>
                    <a:pt x="2027" y="310"/>
                  </a:lnTo>
                  <a:lnTo>
                    <a:pt x="2057" y="308"/>
                  </a:lnTo>
                  <a:lnTo>
                    <a:pt x="2061" y="307"/>
                  </a:lnTo>
                  <a:lnTo>
                    <a:pt x="2064" y="306"/>
                  </a:lnTo>
                  <a:lnTo>
                    <a:pt x="2065" y="305"/>
                  </a:lnTo>
                  <a:lnTo>
                    <a:pt x="2065" y="302"/>
                  </a:lnTo>
                  <a:lnTo>
                    <a:pt x="2064" y="295"/>
                  </a:lnTo>
                  <a:lnTo>
                    <a:pt x="2063" y="291"/>
                  </a:lnTo>
                  <a:lnTo>
                    <a:pt x="2063" y="288"/>
                  </a:lnTo>
                  <a:lnTo>
                    <a:pt x="2061" y="285"/>
                  </a:lnTo>
                  <a:lnTo>
                    <a:pt x="2060" y="282"/>
                  </a:lnTo>
                  <a:lnTo>
                    <a:pt x="2055" y="277"/>
                  </a:lnTo>
                  <a:lnTo>
                    <a:pt x="2052" y="275"/>
                  </a:lnTo>
                  <a:lnTo>
                    <a:pt x="2049" y="273"/>
                  </a:lnTo>
                  <a:lnTo>
                    <a:pt x="2045" y="271"/>
                  </a:lnTo>
                  <a:lnTo>
                    <a:pt x="2041" y="269"/>
                  </a:lnTo>
                  <a:lnTo>
                    <a:pt x="2031" y="267"/>
                  </a:lnTo>
                  <a:lnTo>
                    <a:pt x="2025" y="267"/>
                  </a:lnTo>
                  <a:lnTo>
                    <a:pt x="2018" y="267"/>
                  </a:lnTo>
                  <a:lnTo>
                    <a:pt x="2009" y="267"/>
                  </a:lnTo>
                  <a:lnTo>
                    <a:pt x="2000" y="268"/>
                  </a:lnTo>
                  <a:lnTo>
                    <a:pt x="1992" y="269"/>
                  </a:lnTo>
                  <a:lnTo>
                    <a:pt x="1983" y="270"/>
                  </a:lnTo>
                  <a:lnTo>
                    <a:pt x="1974" y="272"/>
                  </a:lnTo>
                  <a:lnTo>
                    <a:pt x="1966" y="274"/>
                  </a:lnTo>
                  <a:lnTo>
                    <a:pt x="1958" y="277"/>
                  </a:lnTo>
                  <a:lnTo>
                    <a:pt x="1950" y="280"/>
                  </a:lnTo>
                  <a:lnTo>
                    <a:pt x="1934" y="286"/>
                  </a:lnTo>
                  <a:lnTo>
                    <a:pt x="1920" y="293"/>
                  </a:lnTo>
                  <a:lnTo>
                    <a:pt x="1907" y="300"/>
                  </a:lnTo>
                  <a:lnTo>
                    <a:pt x="1895" y="308"/>
                  </a:lnTo>
                  <a:lnTo>
                    <a:pt x="1893" y="309"/>
                  </a:lnTo>
                  <a:lnTo>
                    <a:pt x="1891" y="309"/>
                  </a:lnTo>
                  <a:lnTo>
                    <a:pt x="1889" y="309"/>
                  </a:lnTo>
                  <a:lnTo>
                    <a:pt x="1888" y="309"/>
                  </a:lnTo>
                  <a:lnTo>
                    <a:pt x="1886" y="307"/>
                  </a:lnTo>
                  <a:lnTo>
                    <a:pt x="1885" y="306"/>
                  </a:lnTo>
                  <a:lnTo>
                    <a:pt x="1830" y="230"/>
                  </a:lnTo>
                  <a:lnTo>
                    <a:pt x="1828" y="227"/>
                  </a:lnTo>
                  <a:lnTo>
                    <a:pt x="1828" y="225"/>
                  </a:lnTo>
                  <a:lnTo>
                    <a:pt x="1829" y="224"/>
                  </a:lnTo>
                  <a:lnTo>
                    <a:pt x="1830" y="221"/>
                  </a:lnTo>
                  <a:lnTo>
                    <a:pt x="1831" y="220"/>
                  </a:lnTo>
                  <a:lnTo>
                    <a:pt x="1847" y="207"/>
                  </a:lnTo>
                  <a:lnTo>
                    <a:pt x="1866" y="195"/>
                  </a:lnTo>
                  <a:lnTo>
                    <a:pt x="1876" y="189"/>
                  </a:lnTo>
                  <a:lnTo>
                    <a:pt x="1887" y="184"/>
                  </a:lnTo>
                  <a:lnTo>
                    <a:pt x="1899" y="178"/>
                  </a:lnTo>
                  <a:lnTo>
                    <a:pt x="1912" y="173"/>
                  </a:lnTo>
                  <a:lnTo>
                    <a:pt x="1925" y="169"/>
                  </a:lnTo>
                  <a:lnTo>
                    <a:pt x="1939" y="165"/>
                  </a:lnTo>
                  <a:lnTo>
                    <a:pt x="1954" y="161"/>
                  </a:lnTo>
                  <a:lnTo>
                    <a:pt x="1970" y="158"/>
                  </a:lnTo>
                  <a:lnTo>
                    <a:pt x="1987" y="155"/>
                  </a:lnTo>
                  <a:lnTo>
                    <a:pt x="2005" y="153"/>
                  </a:lnTo>
                  <a:lnTo>
                    <a:pt x="2023" y="152"/>
                  </a:lnTo>
                  <a:lnTo>
                    <a:pt x="2043" y="152"/>
                  </a:lnTo>
                  <a:lnTo>
                    <a:pt x="2054" y="152"/>
                  </a:lnTo>
                  <a:lnTo>
                    <a:pt x="2065" y="152"/>
                  </a:lnTo>
                  <a:lnTo>
                    <a:pt x="2086" y="154"/>
                  </a:lnTo>
                  <a:lnTo>
                    <a:pt x="2096" y="156"/>
                  </a:lnTo>
                  <a:lnTo>
                    <a:pt x="2105" y="158"/>
                  </a:lnTo>
                  <a:lnTo>
                    <a:pt x="2114" y="160"/>
                  </a:lnTo>
                  <a:lnTo>
                    <a:pt x="2122" y="163"/>
                  </a:lnTo>
                  <a:lnTo>
                    <a:pt x="2130" y="166"/>
                  </a:lnTo>
                  <a:lnTo>
                    <a:pt x="2138" y="169"/>
                  </a:lnTo>
                  <a:lnTo>
                    <a:pt x="2145" y="172"/>
                  </a:lnTo>
                  <a:lnTo>
                    <a:pt x="2152" y="176"/>
                  </a:lnTo>
                  <a:lnTo>
                    <a:pt x="2159" y="181"/>
                  </a:lnTo>
                  <a:lnTo>
                    <a:pt x="2165" y="185"/>
                  </a:lnTo>
                  <a:lnTo>
                    <a:pt x="2170" y="190"/>
                  </a:lnTo>
                  <a:lnTo>
                    <a:pt x="2176" y="196"/>
                  </a:lnTo>
                  <a:lnTo>
                    <a:pt x="2181" y="201"/>
                  </a:lnTo>
                  <a:lnTo>
                    <a:pt x="2186" y="207"/>
                  </a:lnTo>
                  <a:lnTo>
                    <a:pt x="2190" y="214"/>
                  </a:lnTo>
                  <a:lnTo>
                    <a:pt x="2194" y="220"/>
                  </a:lnTo>
                  <a:lnTo>
                    <a:pt x="2197" y="227"/>
                  </a:lnTo>
                  <a:lnTo>
                    <a:pt x="2201" y="235"/>
                  </a:lnTo>
                  <a:lnTo>
                    <a:pt x="2204" y="242"/>
                  </a:lnTo>
                  <a:lnTo>
                    <a:pt x="2206" y="251"/>
                  </a:lnTo>
                  <a:lnTo>
                    <a:pt x="2209" y="259"/>
                  </a:lnTo>
                  <a:lnTo>
                    <a:pt x="2211" y="268"/>
                  </a:lnTo>
                  <a:lnTo>
                    <a:pt x="2212" y="277"/>
                  </a:lnTo>
                  <a:lnTo>
                    <a:pt x="2214" y="287"/>
                  </a:lnTo>
                  <a:lnTo>
                    <a:pt x="2215" y="296"/>
                  </a:lnTo>
                  <a:lnTo>
                    <a:pt x="2215" y="307"/>
                  </a:lnTo>
                  <a:lnTo>
                    <a:pt x="2216" y="317"/>
                  </a:lnTo>
                  <a:lnTo>
                    <a:pt x="2216" y="328"/>
                  </a:lnTo>
                  <a:lnTo>
                    <a:pt x="2216" y="478"/>
                  </a:lnTo>
                  <a:lnTo>
                    <a:pt x="2217" y="512"/>
                  </a:lnTo>
                  <a:lnTo>
                    <a:pt x="2218" y="539"/>
                  </a:lnTo>
                  <a:lnTo>
                    <a:pt x="2220" y="549"/>
                  </a:lnTo>
                  <a:lnTo>
                    <a:pt x="2221" y="559"/>
                  </a:lnTo>
                  <a:lnTo>
                    <a:pt x="2223" y="566"/>
                  </a:lnTo>
                  <a:lnTo>
                    <a:pt x="2225" y="572"/>
                  </a:lnTo>
                  <a:close/>
                  <a:moveTo>
                    <a:pt x="1869" y="7"/>
                  </a:moveTo>
                  <a:lnTo>
                    <a:pt x="1869" y="5"/>
                  </a:lnTo>
                  <a:lnTo>
                    <a:pt x="1870" y="3"/>
                  </a:lnTo>
                  <a:lnTo>
                    <a:pt x="1873" y="0"/>
                  </a:lnTo>
                  <a:lnTo>
                    <a:pt x="1875" y="0"/>
                  </a:lnTo>
                  <a:lnTo>
                    <a:pt x="1877" y="0"/>
                  </a:lnTo>
                  <a:lnTo>
                    <a:pt x="1987" y="0"/>
                  </a:lnTo>
                  <a:lnTo>
                    <a:pt x="1989" y="0"/>
                  </a:lnTo>
                  <a:lnTo>
                    <a:pt x="1991" y="1"/>
                  </a:lnTo>
                  <a:lnTo>
                    <a:pt x="1994" y="3"/>
                  </a:lnTo>
                  <a:lnTo>
                    <a:pt x="1994" y="6"/>
                  </a:lnTo>
                  <a:lnTo>
                    <a:pt x="1995" y="7"/>
                  </a:lnTo>
                  <a:lnTo>
                    <a:pt x="1995" y="121"/>
                  </a:lnTo>
                  <a:lnTo>
                    <a:pt x="1994" y="123"/>
                  </a:lnTo>
                  <a:lnTo>
                    <a:pt x="1993" y="125"/>
                  </a:lnTo>
                  <a:lnTo>
                    <a:pt x="1991" y="128"/>
                  </a:lnTo>
                  <a:lnTo>
                    <a:pt x="1988" y="128"/>
                  </a:lnTo>
                  <a:lnTo>
                    <a:pt x="1987" y="129"/>
                  </a:lnTo>
                  <a:lnTo>
                    <a:pt x="1877" y="129"/>
                  </a:lnTo>
                  <a:lnTo>
                    <a:pt x="1874" y="128"/>
                  </a:lnTo>
                  <a:lnTo>
                    <a:pt x="1872" y="127"/>
                  </a:lnTo>
                  <a:lnTo>
                    <a:pt x="1870" y="125"/>
                  </a:lnTo>
                  <a:lnTo>
                    <a:pt x="1869" y="122"/>
                  </a:lnTo>
                  <a:lnTo>
                    <a:pt x="1869" y="121"/>
                  </a:lnTo>
                  <a:lnTo>
                    <a:pt x="1869" y="7"/>
                  </a:lnTo>
                  <a:close/>
                  <a:moveTo>
                    <a:pt x="2047" y="121"/>
                  </a:moveTo>
                  <a:lnTo>
                    <a:pt x="2047" y="7"/>
                  </a:lnTo>
                  <a:lnTo>
                    <a:pt x="2047" y="5"/>
                  </a:lnTo>
                  <a:lnTo>
                    <a:pt x="2048" y="3"/>
                  </a:lnTo>
                  <a:lnTo>
                    <a:pt x="2051" y="0"/>
                  </a:lnTo>
                  <a:lnTo>
                    <a:pt x="2053" y="0"/>
                  </a:lnTo>
                  <a:lnTo>
                    <a:pt x="2054" y="0"/>
                  </a:lnTo>
                  <a:lnTo>
                    <a:pt x="2165" y="0"/>
                  </a:lnTo>
                  <a:lnTo>
                    <a:pt x="2167" y="0"/>
                  </a:lnTo>
                  <a:lnTo>
                    <a:pt x="2169" y="1"/>
                  </a:lnTo>
                  <a:lnTo>
                    <a:pt x="2171" y="3"/>
                  </a:lnTo>
                  <a:lnTo>
                    <a:pt x="2172" y="6"/>
                  </a:lnTo>
                  <a:lnTo>
                    <a:pt x="2172" y="7"/>
                  </a:lnTo>
                  <a:lnTo>
                    <a:pt x="2172" y="121"/>
                  </a:lnTo>
                  <a:lnTo>
                    <a:pt x="2172" y="123"/>
                  </a:lnTo>
                  <a:lnTo>
                    <a:pt x="2171" y="125"/>
                  </a:lnTo>
                  <a:lnTo>
                    <a:pt x="2169" y="127"/>
                  </a:lnTo>
                  <a:lnTo>
                    <a:pt x="2166" y="128"/>
                  </a:lnTo>
                  <a:lnTo>
                    <a:pt x="2165" y="128"/>
                  </a:lnTo>
                  <a:lnTo>
                    <a:pt x="2054" y="128"/>
                  </a:lnTo>
                  <a:lnTo>
                    <a:pt x="2052" y="128"/>
                  </a:lnTo>
                  <a:lnTo>
                    <a:pt x="2050" y="127"/>
                  </a:lnTo>
                  <a:lnTo>
                    <a:pt x="2048" y="125"/>
                  </a:lnTo>
                  <a:lnTo>
                    <a:pt x="2047" y="122"/>
                  </a:lnTo>
                  <a:lnTo>
                    <a:pt x="2047" y="121"/>
                  </a:lnTo>
                  <a:close/>
                  <a:moveTo>
                    <a:pt x="1274" y="585"/>
                  </a:moveTo>
                  <a:lnTo>
                    <a:pt x="1249" y="584"/>
                  </a:lnTo>
                  <a:lnTo>
                    <a:pt x="1226" y="583"/>
                  </a:lnTo>
                  <a:lnTo>
                    <a:pt x="1207" y="580"/>
                  </a:lnTo>
                  <a:lnTo>
                    <a:pt x="1190" y="576"/>
                  </a:lnTo>
                  <a:lnTo>
                    <a:pt x="1175" y="571"/>
                  </a:lnTo>
                  <a:lnTo>
                    <a:pt x="1168" y="568"/>
                  </a:lnTo>
                  <a:lnTo>
                    <a:pt x="1162" y="565"/>
                  </a:lnTo>
                  <a:lnTo>
                    <a:pt x="1156" y="561"/>
                  </a:lnTo>
                  <a:lnTo>
                    <a:pt x="1151" y="558"/>
                  </a:lnTo>
                  <a:lnTo>
                    <a:pt x="1149" y="556"/>
                  </a:lnTo>
                  <a:lnTo>
                    <a:pt x="1147" y="554"/>
                  </a:lnTo>
                  <a:lnTo>
                    <a:pt x="1143" y="550"/>
                  </a:lnTo>
                  <a:lnTo>
                    <a:pt x="1139" y="545"/>
                  </a:lnTo>
                  <a:lnTo>
                    <a:pt x="1135" y="541"/>
                  </a:lnTo>
                  <a:lnTo>
                    <a:pt x="1130" y="531"/>
                  </a:lnTo>
                  <a:lnTo>
                    <a:pt x="1127" y="525"/>
                  </a:lnTo>
                  <a:lnTo>
                    <a:pt x="1125" y="520"/>
                  </a:lnTo>
                  <a:lnTo>
                    <a:pt x="1122" y="508"/>
                  </a:lnTo>
                  <a:lnTo>
                    <a:pt x="1121" y="502"/>
                  </a:lnTo>
                  <a:lnTo>
                    <a:pt x="1120" y="496"/>
                  </a:lnTo>
                  <a:lnTo>
                    <a:pt x="1119" y="482"/>
                  </a:lnTo>
                  <a:lnTo>
                    <a:pt x="1118" y="468"/>
                  </a:lnTo>
                  <a:lnTo>
                    <a:pt x="1118" y="453"/>
                  </a:lnTo>
                  <a:lnTo>
                    <a:pt x="1118" y="278"/>
                  </a:lnTo>
                  <a:lnTo>
                    <a:pt x="1117" y="276"/>
                  </a:lnTo>
                  <a:lnTo>
                    <a:pt x="1117" y="274"/>
                  </a:lnTo>
                  <a:lnTo>
                    <a:pt x="1114" y="272"/>
                  </a:lnTo>
                  <a:lnTo>
                    <a:pt x="1111" y="271"/>
                  </a:lnTo>
                  <a:lnTo>
                    <a:pt x="1110" y="271"/>
                  </a:lnTo>
                  <a:lnTo>
                    <a:pt x="1067" y="271"/>
                  </a:lnTo>
                  <a:lnTo>
                    <a:pt x="1064" y="270"/>
                  </a:lnTo>
                  <a:lnTo>
                    <a:pt x="1062" y="269"/>
                  </a:lnTo>
                  <a:lnTo>
                    <a:pt x="1060" y="267"/>
                  </a:lnTo>
                  <a:lnTo>
                    <a:pt x="1059" y="264"/>
                  </a:lnTo>
                  <a:lnTo>
                    <a:pt x="1059" y="263"/>
                  </a:lnTo>
                  <a:lnTo>
                    <a:pt x="1059" y="167"/>
                  </a:lnTo>
                  <a:lnTo>
                    <a:pt x="1059" y="164"/>
                  </a:lnTo>
                  <a:lnTo>
                    <a:pt x="1060" y="162"/>
                  </a:lnTo>
                  <a:lnTo>
                    <a:pt x="1063" y="160"/>
                  </a:lnTo>
                  <a:lnTo>
                    <a:pt x="1065" y="159"/>
                  </a:lnTo>
                  <a:lnTo>
                    <a:pt x="1067" y="159"/>
                  </a:lnTo>
                  <a:lnTo>
                    <a:pt x="1110" y="159"/>
                  </a:lnTo>
                  <a:lnTo>
                    <a:pt x="1113" y="159"/>
                  </a:lnTo>
                  <a:lnTo>
                    <a:pt x="1115" y="158"/>
                  </a:lnTo>
                  <a:lnTo>
                    <a:pt x="1117" y="157"/>
                  </a:lnTo>
                  <a:lnTo>
                    <a:pt x="1118" y="156"/>
                  </a:lnTo>
                  <a:lnTo>
                    <a:pt x="1120" y="153"/>
                  </a:lnTo>
                  <a:lnTo>
                    <a:pt x="1121" y="152"/>
                  </a:lnTo>
                  <a:lnTo>
                    <a:pt x="1170" y="25"/>
                  </a:lnTo>
                  <a:lnTo>
                    <a:pt x="1171" y="23"/>
                  </a:lnTo>
                  <a:lnTo>
                    <a:pt x="1173" y="21"/>
                  </a:lnTo>
                  <a:lnTo>
                    <a:pt x="1175" y="20"/>
                  </a:lnTo>
                  <a:lnTo>
                    <a:pt x="1176" y="19"/>
                  </a:lnTo>
                  <a:lnTo>
                    <a:pt x="1179" y="18"/>
                  </a:lnTo>
                  <a:lnTo>
                    <a:pt x="1180" y="18"/>
                  </a:lnTo>
                  <a:lnTo>
                    <a:pt x="1265" y="18"/>
                  </a:lnTo>
                  <a:lnTo>
                    <a:pt x="1268" y="19"/>
                  </a:lnTo>
                  <a:lnTo>
                    <a:pt x="1270" y="19"/>
                  </a:lnTo>
                  <a:lnTo>
                    <a:pt x="1272" y="22"/>
                  </a:lnTo>
                  <a:lnTo>
                    <a:pt x="1273" y="25"/>
                  </a:lnTo>
                  <a:lnTo>
                    <a:pt x="1273" y="26"/>
                  </a:lnTo>
                  <a:lnTo>
                    <a:pt x="1273" y="152"/>
                  </a:lnTo>
                  <a:lnTo>
                    <a:pt x="1273" y="154"/>
                  </a:lnTo>
                  <a:lnTo>
                    <a:pt x="1274" y="156"/>
                  </a:lnTo>
                  <a:lnTo>
                    <a:pt x="1277" y="158"/>
                  </a:lnTo>
                  <a:lnTo>
                    <a:pt x="1279" y="159"/>
                  </a:lnTo>
                  <a:lnTo>
                    <a:pt x="1281" y="159"/>
                  </a:lnTo>
                  <a:lnTo>
                    <a:pt x="1374" y="159"/>
                  </a:lnTo>
                  <a:lnTo>
                    <a:pt x="1376" y="160"/>
                  </a:lnTo>
                  <a:lnTo>
                    <a:pt x="1378" y="161"/>
                  </a:lnTo>
                  <a:lnTo>
                    <a:pt x="1381" y="163"/>
                  </a:lnTo>
                  <a:lnTo>
                    <a:pt x="1381" y="166"/>
                  </a:lnTo>
                  <a:lnTo>
                    <a:pt x="1381" y="167"/>
                  </a:lnTo>
                  <a:lnTo>
                    <a:pt x="1381" y="263"/>
                  </a:lnTo>
                  <a:lnTo>
                    <a:pt x="1381" y="266"/>
                  </a:lnTo>
                  <a:lnTo>
                    <a:pt x="1380" y="268"/>
                  </a:lnTo>
                  <a:lnTo>
                    <a:pt x="1378" y="270"/>
                  </a:lnTo>
                  <a:lnTo>
                    <a:pt x="1375" y="271"/>
                  </a:lnTo>
                  <a:lnTo>
                    <a:pt x="1374" y="271"/>
                  </a:lnTo>
                  <a:lnTo>
                    <a:pt x="1281" y="271"/>
                  </a:lnTo>
                  <a:lnTo>
                    <a:pt x="1278" y="271"/>
                  </a:lnTo>
                  <a:lnTo>
                    <a:pt x="1276" y="272"/>
                  </a:lnTo>
                  <a:lnTo>
                    <a:pt x="1274" y="275"/>
                  </a:lnTo>
                  <a:lnTo>
                    <a:pt x="1273" y="277"/>
                  </a:lnTo>
                  <a:lnTo>
                    <a:pt x="1273" y="278"/>
                  </a:lnTo>
                  <a:lnTo>
                    <a:pt x="1273" y="419"/>
                  </a:lnTo>
                  <a:lnTo>
                    <a:pt x="1274" y="434"/>
                  </a:lnTo>
                  <a:lnTo>
                    <a:pt x="1275" y="446"/>
                  </a:lnTo>
                  <a:lnTo>
                    <a:pt x="1277" y="452"/>
                  </a:lnTo>
                  <a:lnTo>
                    <a:pt x="1279" y="456"/>
                  </a:lnTo>
                  <a:lnTo>
                    <a:pt x="1281" y="460"/>
                  </a:lnTo>
                  <a:lnTo>
                    <a:pt x="1284" y="463"/>
                  </a:lnTo>
                  <a:lnTo>
                    <a:pt x="1287" y="466"/>
                  </a:lnTo>
                  <a:lnTo>
                    <a:pt x="1291" y="469"/>
                  </a:lnTo>
                  <a:lnTo>
                    <a:pt x="1296" y="471"/>
                  </a:lnTo>
                  <a:lnTo>
                    <a:pt x="1301" y="472"/>
                  </a:lnTo>
                  <a:lnTo>
                    <a:pt x="1307" y="473"/>
                  </a:lnTo>
                  <a:lnTo>
                    <a:pt x="1313" y="474"/>
                  </a:lnTo>
                  <a:lnTo>
                    <a:pt x="1320" y="474"/>
                  </a:lnTo>
                  <a:lnTo>
                    <a:pt x="1328" y="475"/>
                  </a:lnTo>
                  <a:lnTo>
                    <a:pt x="1340" y="474"/>
                  </a:lnTo>
                  <a:lnTo>
                    <a:pt x="1351" y="473"/>
                  </a:lnTo>
                  <a:lnTo>
                    <a:pt x="1361" y="472"/>
                  </a:lnTo>
                  <a:lnTo>
                    <a:pt x="1366" y="471"/>
                  </a:lnTo>
                  <a:lnTo>
                    <a:pt x="1367" y="471"/>
                  </a:lnTo>
                  <a:lnTo>
                    <a:pt x="1368" y="471"/>
                  </a:lnTo>
                  <a:lnTo>
                    <a:pt x="1369" y="474"/>
                  </a:lnTo>
                  <a:lnTo>
                    <a:pt x="1370" y="477"/>
                  </a:lnTo>
                  <a:lnTo>
                    <a:pt x="1370" y="564"/>
                  </a:lnTo>
                  <a:lnTo>
                    <a:pt x="1369" y="569"/>
                  </a:lnTo>
                  <a:lnTo>
                    <a:pt x="1369" y="572"/>
                  </a:lnTo>
                  <a:lnTo>
                    <a:pt x="1368" y="575"/>
                  </a:lnTo>
                  <a:lnTo>
                    <a:pt x="1366" y="577"/>
                  </a:lnTo>
                  <a:lnTo>
                    <a:pt x="1364" y="578"/>
                  </a:lnTo>
                  <a:lnTo>
                    <a:pt x="1362" y="579"/>
                  </a:lnTo>
                  <a:lnTo>
                    <a:pt x="1358" y="580"/>
                  </a:lnTo>
                  <a:lnTo>
                    <a:pt x="1340" y="582"/>
                  </a:lnTo>
                  <a:lnTo>
                    <a:pt x="1317" y="583"/>
                  </a:lnTo>
                  <a:lnTo>
                    <a:pt x="1294" y="584"/>
                  </a:lnTo>
                  <a:lnTo>
                    <a:pt x="1274" y="585"/>
                  </a:lnTo>
                  <a:close/>
                  <a:moveTo>
                    <a:pt x="0" y="572"/>
                  </a:moveTo>
                  <a:lnTo>
                    <a:pt x="0" y="7"/>
                  </a:lnTo>
                  <a:lnTo>
                    <a:pt x="0" y="5"/>
                  </a:lnTo>
                  <a:lnTo>
                    <a:pt x="1" y="3"/>
                  </a:lnTo>
                  <a:lnTo>
                    <a:pt x="4" y="1"/>
                  </a:lnTo>
                  <a:lnTo>
                    <a:pt x="6" y="0"/>
                  </a:lnTo>
                  <a:lnTo>
                    <a:pt x="7" y="0"/>
                  </a:lnTo>
                  <a:lnTo>
                    <a:pt x="200" y="0"/>
                  </a:lnTo>
                  <a:lnTo>
                    <a:pt x="202" y="0"/>
                  </a:lnTo>
                  <a:lnTo>
                    <a:pt x="204" y="1"/>
                  </a:lnTo>
                  <a:lnTo>
                    <a:pt x="206" y="2"/>
                  </a:lnTo>
                  <a:lnTo>
                    <a:pt x="207" y="3"/>
                  </a:lnTo>
                  <a:lnTo>
                    <a:pt x="209" y="6"/>
                  </a:lnTo>
                  <a:lnTo>
                    <a:pt x="209" y="7"/>
                  </a:lnTo>
                  <a:lnTo>
                    <a:pt x="307" y="386"/>
                  </a:lnTo>
                  <a:lnTo>
                    <a:pt x="307" y="387"/>
                  </a:lnTo>
                  <a:lnTo>
                    <a:pt x="308" y="388"/>
                  </a:lnTo>
                  <a:lnTo>
                    <a:pt x="310" y="389"/>
                  </a:lnTo>
                  <a:lnTo>
                    <a:pt x="312" y="389"/>
                  </a:lnTo>
                  <a:lnTo>
                    <a:pt x="313" y="387"/>
                  </a:lnTo>
                  <a:lnTo>
                    <a:pt x="313" y="386"/>
                  </a:lnTo>
                  <a:lnTo>
                    <a:pt x="401" y="7"/>
                  </a:lnTo>
                  <a:lnTo>
                    <a:pt x="402" y="5"/>
                  </a:lnTo>
                  <a:lnTo>
                    <a:pt x="403" y="3"/>
                  </a:lnTo>
                  <a:lnTo>
                    <a:pt x="406" y="1"/>
                  </a:lnTo>
                  <a:lnTo>
                    <a:pt x="409" y="0"/>
                  </a:lnTo>
                  <a:lnTo>
                    <a:pt x="410" y="0"/>
                  </a:lnTo>
                  <a:lnTo>
                    <a:pt x="607" y="0"/>
                  </a:lnTo>
                  <a:lnTo>
                    <a:pt x="610" y="0"/>
                  </a:lnTo>
                  <a:lnTo>
                    <a:pt x="611" y="1"/>
                  </a:lnTo>
                  <a:lnTo>
                    <a:pt x="614" y="4"/>
                  </a:lnTo>
                  <a:lnTo>
                    <a:pt x="615" y="6"/>
                  </a:lnTo>
                  <a:lnTo>
                    <a:pt x="615" y="7"/>
                  </a:lnTo>
                  <a:lnTo>
                    <a:pt x="615" y="572"/>
                  </a:lnTo>
                  <a:lnTo>
                    <a:pt x="614" y="575"/>
                  </a:lnTo>
                  <a:lnTo>
                    <a:pt x="613" y="576"/>
                  </a:lnTo>
                  <a:lnTo>
                    <a:pt x="611" y="579"/>
                  </a:lnTo>
                  <a:lnTo>
                    <a:pt x="608" y="579"/>
                  </a:lnTo>
                  <a:lnTo>
                    <a:pt x="607" y="580"/>
                  </a:lnTo>
                  <a:lnTo>
                    <a:pt x="473" y="580"/>
                  </a:lnTo>
                  <a:lnTo>
                    <a:pt x="470" y="579"/>
                  </a:lnTo>
                  <a:lnTo>
                    <a:pt x="468" y="578"/>
                  </a:lnTo>
                  <a:lnTo>
                    <a:pt x="466" y="576"/>
                  </a:lnTo>
                  <a:lnTo>
                    <a:pt x="465" y="573"/>
                  </a:lnTo>
                  <a:lnTo>
                    <a:pt x="465" y="572"/>
                  </a:lnTo>
                  <a:lnTo>
                    <a:pt x="465" y="226"/>
                  </a:lnTo>
                  <a:lnTo>
                    <a:pt x="465" y="224"/>
                  </a:lnTo>
                  <a:lnTo>
                    <a:pt x="464" y="223"/>
                  </a:lnTo>
                  <a:lnTo>
                    <a:pt x="463" y="222"/>
                  </a:lnTo>
                  <a:lnTo>
                    <a:pt x="462" y="222"/>
                  </a:lnTo>
                  <a:lnTo>
                    <a:pt x="461" y="222"/>
                  </a:lnTo>
                  <a:lnTo>
                    <a:pt x="460" y="223"/>
                  </a:lnTo>
                  <a:lnTo>
                    <a:pt x="458" y="226"/>
                  </a:lnTo>
                  <a:lnTo>
                    <a:pt x="452" y="264"/>
                  </a:lnTo>
                  <a:lnTo>
                    <a:pt x="446" y="298"/>
                  </a:lnTo>
                  <a:lnTo>
                    <a:pt x="443" y="314"/>
                  </a:lnTo>
                  <a:lnTo>
                    <a:pt x="440" y="330"/>
                  </a:lnTo>
                  <a:lnTo>
                    <a:pt x="436" y="346"/>
                  </a:lnTo>
                  <a:lnTo>
                    <a:pt x="432" y="362"/>
                  </a:lnTo>
                  <a:lnTo>
                    <a:pt x="373" y="572"/>
                  </a:lnTo>
                  <a:lnTo>
                    <a:pt x="372" y="575"/>
                  </a:lnTo>
                  <a:lnTo>
                    <a:pt x="371" y="577"/>
                  </a:lnTo>
                  <a:lnTo>
                    <a:pt x="368" y="579"/>
                  </a:lnTo>
                  <a:lnTo>
                    <a:pt x="365" y="579"/>
                  </a:lnTo>
                  <a:lnTo>
                    <a:pt x="364" y="580"/>
                  </a:lnTo>
                  <a:lnTo>
                    <a:pt x="241" y="580"/>
                  </a:lnTo>
                  <a:lnTo>
                    <a:pt x="238" y="579"/>
                  </a:lnTo>
                  <a:lnTo>
                    <a:pt x="236" y="578"/>
                  </a:lnTo>
                  <a:lnTo>
                    <a:pt x="234" y="577"/>
                  </a:lnTo>
                  <a:lnTo>
                    <a:pt x="233" y="576"/>
                  </a:lnTo>
                  <a:lnTo>
                    <a:pt x="232" y="573"/>
                  </a:lnTo>
                  <a:lnTo>
                    <a:pt x="231" y="572"/>
                  </a:lnTo>
                  <a:lnTo>
                    <a:pt x="174" y="362"/>
                  </a:lnTo>
                  <a:lnTo>
                    <a:pt x="169" y="345"/>
                  </a:lnTo>
                  <a:lnTo>
                    <a:pt x="165" y="330"/>
                  </a:lnTo>
                  <a:lnTo>
                    <a:pt x="159" y="301"/>
                  </a:lnTo>
                  <a:lnTo>
                    <a:pt x="153" y="268"/>
                  </a:lnTo>
                  <a:lnTo>
                    <a:pt x="146" y="224"/>
                  </a:lnTo>
                  <a:lnTo>
                    <a:pt x="146" y="223"/>
                  </a:lnTo>
                  <a:lnTo>
                    <a:pt x="145" y="222"/>
                  </a:lnTo>
                  <a:lnTo>
                    <a:pt x="142" y="221"/>
                  </a:lnTo>
                  <a:lnTo>
                    <a:pt x="140" y="222"/>
                  </a:lnTo>
                  <a:lnTo>
                    <a:pt x="140" y="223"/>
                  </a:lnTo>
                  <a:lnTo>
                    <a:pt x="139" y="224"/>
                  </a:lnTo>
                  <a:lnTo>
                    <a:pt x="139" y="572"/>
                  </a:lnTo>
                  <a:lnTo>
                    <a:pt x="139" y="575"/>
                  </a:lnTo>
                  <a:lnTo>
                    <a:pt x="138" y="576"/>
                  </a:lnTo>
                  <a:lnTo>
                    <a:pt x="136" y="579"/>
                  </a:lnTo>
                  <a:lnTo>
                    <a:pt x="133" y="579"/>
                  </a:lnTo>
                  <a:lnTo>
                    <a:pt x="132" y="580"/>
                  </a:lnTo>
                  <a:lnTo>
                    <a:pt x="8" y="580"/>
                  </a:lnTo>
                  <a:lnTo>
                    <a:pt x="5" y="579"/>
                  </a:lnTo>
                  <a:lnTo>
                    <a:pt x="3" y="578"/>
                  </a:lnTo>
                  <a:lnTo>
                    <a:pt x="1" y="576"/>
                  </a:lnTo>
                  <a:lnTo>
                    <a:pt x="0" y="573"/>
                  </a:lnTo>
                  <a:lnTo>
                    <a:pt x="0" y="572"/>
                  </a:lnTo>
                  <a:close/>
                  <a:moveTo>
                    <a:pt x="1063" y="408"/>
                  </a:moveTo>
                  <a:lnTo>
                    <a:pt x="1062" y="410"/>
                  </a:lnTo>
                  <a:lnTo>
                    <a:pt x="1062" y="412"/>
                  </a:lnTo>
                  <a:lnTo>
                    <a:pt x="1061" y="413"/>
                  </a:lnTo>
                  <a:lnTo>
                    <a:pt x="1060" y="414"/>
                  </a:lnTo>
                  <a:lnTo>
                    <a:pt x="1058" y="414"/>
                  </a:lnTo>
                  <a:lnTo>
                    <a:pt x="1057" y="414"/>
                  </a:lnTo>
                  <a:lnTo>
                    <a:pt x="801" y="414"/>
                  </a:lnTo>
                  <a:lnTo>
                    <a:pt x="799" y="415"/>
                  </a:lnTo>
                  <a:lnTo>
                    <a:pt x="797" y="415"/>
                  </a:lnTo>
                  <a:lnTo>
                    <a:pt x="796" y="417"/>
                  </a:lnTo>
                  <a:lnTo>
                    <a:pt x="795" y="418"/>
                  </a:lnTo>
                  <a:lnTo>
                    <a:pt x="795" y="421"/>
                  </a:lnTo>
                  <a:lnTo>
                    <a:pt x="795" y="422"/>
                  </a:lnTo>
                  <a:lnTo>
                    <a:pt x="796" y="430"/>
                  </a:lnTo>
                  <a:lnTo>
                    <a:pt x="799" y="438"/>
                  </a:lnTo>
                  <a:lnTo>
                    <a:pt x="801" y="445"/>
                  </a:lnTo>
                  <a:lnTo>
                    <a:pt x="804" y="451"/>
                  </a:lnTo>
                  <a:lnTo>
                    <a:pt x="808" y="457"/>
                  </a:lnTo>
                  <a:lnTo>
                    <a:pt x="812" y="462"/>
                  </a:lnTo>
                  <a:lnTo>
                    <a:pt x="817" y="466"/>
                  </a:lnTo>
                  <a:lnTo>
                    <a:pt x="822" y="470"/>
                  </a:lnTo>
                  <a:lnTo>
                    <a:pt x="827" y="473"/>
                  </a:lnTo>
                  <a:lnTo>
                    <a:pt x="833" y="476"/>
                  </a:lnTo>
                  <a:lnTo>
                    <a:pt x="840" y="478"/>
                  </a:lnTo>
                  <a:lnTo>
                    <a:pt x="846" y="480"/>
                  </a:lnTo>
                  <a:lnTo>
                    <a:pt x="854" y="481"/>
                  </a:lnTo>
                  <a:lnTo>
                    <a:pt x="861" y="482"/>
                  </a:lnTo>
                  <a:lnTo>
                    <a:pt x="878" y="482"/>
                  </a:lnTo>
                  <a:lnTo>
                    <a:pt x="886" y="482"/>
                  </a:lnTo>
                  <a:lnTo>
                    <a:pt x="894" y="481"/>
                  </a:lnTo>
                  <a:lnTo>
                    <a:pt x="903" y="480"/>
                  </a:lnTo>
                  <a:lnTo>
                    <a:pt x="911" y="479"/>
                  </a:lnTo>
                  <a:lnTo>
                    <a:pt x="928" y="475"/>
                  </a:lnTo>
                  <a:lnTo>
                    <a:pt x="943" y="470"/>
                  </a:lnTo>
                  <a:lnTo>
                    <a:pt x="958" y="464"/>
                  </a:lnTo>
                  <a:lnTo>
                    <a:pt x="971" y="459"/>
                  </a:lnTo>
                  <a:lnTo>
                    <a:pt x="983" y="453"/>
                  </a:lnTo>
                  <a:lnTo>
                    <a:pt x="992" y="448"/>
                  </a:lnTo>
                  <a:lnTo>
                    <a:pt x="994" y="447"/>
                  </a:lnTo>
                  <a:lnTo>
                    <a:pt x="996" y="447"/>
                  </a:lnTo>
                  <a:lnTo>
                    <a:pt x="998" y="447"/>
                  </a:lnTo>
                  <a:lnTo>
                    <a:pt x="999" y="448"/>
                  </a:lnTo>
                  <a:lnTo>
                    <a:pt x="1002" y="450"/>
                  </a:lnTo>
                  <a:lnTo>
                    <a:pt x="1050" y="531"/>
                  </a:lnTo>
                  <a:lnTo>
                    <a:pt x="1052" y="535"/>
                  </a:lnTo>
                  <a:lnTo>
                    <a:pt x="1052" y="537"/>
                  </a:lnTo>
                  <a:lnTo>
                    <a:pt x="1051" y="538"/>
                  </a:lnTo>
                  <a:lnTo>
                    <a:pt x="1051" y="540"/>
                  </a:lnTo>
                  <a:lnTo>
                    <a:pt x="1050" y="540"/>
                  </a:lnTo>
                  <a:lnTo>
                    <a:pt x="1048" y="542"/>
                  </a:lnTo>
                  <a:lnTo>
                    <a:pt x="1038" y="547"/>
                  </a:lnTo>
                  <a:lnTo>
                    <a:pt x="1028" y="553"/>
                  </a:lnTo>
                  <a:lnTo>
                    <a:pt x="1018" y="558"/>
                  </a:lnTo>
                  <a:lnTo>
                    <a:pt x="1007" y="562"/>
                  </a:lnTo>
                  <a:lnTo>
                    <a:pt x="996" y="567"/>
                  </a:lnTo>
                  <a:lnTo>
                    <a:pt x="985" y="570"/>
                  </a:lnTo>
                  <a:lnTo>
                    <a:pt x="974" y="574"/>
                  </a:lnTo>
                  <a:lnTo>
                    <a:pt x="963" y="577"/>
                  </a:lnTo>
                  <a:lnTo>
                    <a:pt x="951" y="580"/>
                  </a:lnTo>
                  <a:lnTo>
                    <a:pt x="939" y="582"/>
                  </a:lnTo>
                  <a:lnTo>
                    <a:pt x="927" y="584"/>
                  </a:lnTo>
                  <a:lnTo>
                    <a:pt x="915" y="585"/>
                  </a:lnTo>
                  <a:lnTo>
                    <a:pt x="903" y="587"/>
                  </a:lnTo>
                  <a:lnTo>
                    <a:pt x="891" y="587"/>
                  </a:lnTo>
                  <a:lnTo>
                    <a:pt x="866" y="588"/>
                  </a:lnTo>
                  <a:lnTo>
                    <a:pt x="844" y="588"/>
                  </a:lnTo>
                  <a:lnTo>
                    <a:pt x="823" y="586"/>
                  </a:lnTo>
                  <a:lnTo>
                    <a:pt x="813" y="584"/>
                  </a:lnTo>
                  <a:lnTo>
                    <a:pt x="802" y="583"/>
                  </a:lnTo>
                  <a:lnTo>
                    <a:pt x="792" y="580"/>
                  </a:lnTo>
                  <a:lnTo>
                    <a:pt x="782" y="578"/>
                  </a:lnTo>
                  <a:lnTo>
                    <a:pt x="772" y="575"/>
                  </a:lnTo>
                  <a:lnTo>
                    <a:pt x="762" y="572"/>
                  </a:lnTo>
                  <a:lnTo>
                    <a:pt x="753" y="568"/>
                  </a:lnTo>
                  <a:lnTo>
                    <a:pt x="744" y="564"/>
                  </a:lnTo>
                  <a:lnTo>
                    <a:pt x="735" y="559"/>
                  </a:lnTo>
                  <a:lnTo>
                    <a:pt x="726" y="554"/>
                  </a:lnTo>
                  <a:lnTo>
                    <a:pt x="718" y="549"/>
                  </a:lnTo>
                  <a:lnTo>
                    <a:pt x="710" y="543"/>
                  </a:lnTo>
                  <a:lnTo>
                    <a:pt x="702" y="537"/>
                  </a:lnTo>
                  <a:lnTo>
                    <a:pt x="694" y="530"/>
                  </a:lnTo>
                  <a:lnTo>
                    <a:pt x="687" y="522"/>
                  </a:lnTo>
                  <a:lnTo>
                    <a:pt x="681" y="514"/>
                  </a:lnTo>
                  <a:lnTo>
                    <a:pt x="675" y="505"/>
                  </a:lnTo>
                  <a:lnTo>
                    <a:pt x="669" y="496"/>
                  </a:lnTo>
                  <a:lnTo>
                    <a:pt x="664" y="486"/>
                  </a:lnTo>
                  <a:lnTo>
                    <a:pt x="659" y="476"/>
                  </a:lnTo>
                  <a:lnTo>
                    <a:pt x="654" y="465"/>
                  </a:lnTo>
                  <a:lnTo>
                    <a:pt x="652" y="459"/>
                  </a:lnTo>
                  <a:lnTo>
                    <a:pt x="651" y="454"/>
                  </a:lnTo>
                  <a:lnTo>
                    <a:pt x="647" y="441"/>
                  </a:lnTo>
                  <a:lnTo>
                    <a:pt x="645" y="429"/>
                  </a:lnTo>
                  <a:lnTo>
                    <a:pt x="642" y="415"/>
                  </a:lnTo>
                  <a:lnTo>
                    <a:pt x="642" y="408"/>
                  </a:lnTo>
                  <a:lnTo>
                    <a:pt x="641" y="401"/>
                  </a:lnTo>
                  <a:lnTo>
                    <a:pt x="640" y="386"/>
                  </a:lnTo>
                  <a:lnTo>
                    <a:pt x="640" y="370"/>
                  </a:lnTo>
                  <a:lnTo>
                    <a:pt x="640" y="355"/>
                  </a:lnTo>
                  <a:lnTo>
                    <a:pt x="641" y="340"/>
                  </a:lnTo>
                  <a:lnTo>
                    <a:pt x="643" y="326"/>
                  </a:lnTo>
                  <a:lnTo>
                    <a:pt x="646" y="313"/>
                  </a:lnTo>
                  <a:lnTo>
                    <a:pt x="649" y="300"/>
                  </a:lnTo>
                  <a:lnTo>
                    <a:pt x="653" y="288"/>
                  </a:lnTo>
                  <a:lnTo>
                    <a:pt x="657" y="276"/>
                  </a:lnTo>
                  <a:lnTo>
                    <a:pt x="662" y="265"/>
                  </a:lnTo>
                  <a:lnTo>
                    <a:pt x="668" y="255"/>
                  </a:lnTo>
                  <a:lnTo>
                    <a:pt x="674" y="245"/>
                  </a:lnTo>
                  <a:lnTo>
                    <a:pt x="680" y="236"/>
                  </a:lnTo>
                  <a:lnTo>
                    <a:pt x="687" y="227"/>
                  </a:lnTo>
                  <a:lnTo>
                    <a:pt x="694" y="219"/>
                  </a:lnTo>
                  <a:lnTo>
                    <a:pt x="702" y="212"/>
                  </a:lnTo>
                  <a:lnTo>
                    <a:pt x="710" y="204"/>
                  </a:lnTo>
                  <a:lnTo>
                    <a:pt x="718" y="198"/>
                  </a:lnTo>
                  <a:lnTo>
                    <a:pt x="727" y="192"/>
                  </a:lnTo>
                  <a:lnTo>
                    <a:pt x="735" y="186"/>
                  </a:lnTo>
                  <a:lnTo>
                    <a:pt x="744" y="181"/>
                  </a:lnTo>
                  <a:lnTo>
                    <a:pt x="753" y="177"/>
                  </a:lnTo>
                  <a:lnTo>
                    <a:pt x="762" y="172"/>
                  </a:lnTo>
                  <a:lnTo>
                    <a:pt x="771" y="169"/>
                  </a:lnTo>
                  <a:lnTo>
                    <a:pt x="781" y="165"/>
                  </a:lnTo>
                  <a:lnTo>
                    <a:pt x="790" y="162"/>
                  </a:lnTo>
                  <a:lnTo>
                    <a:pt x="799" y="160"/>
                  </a:lnTo>
                  <a:lnTo>
                    <a:pt x="808" y="158"/>
                  </a:lnTo>
                  <a:lnTo>
                    <a:pt x="817" y="156"/>
                  </a:lnTo>
                  <a:lnTo>
                    <a:pt x="826" y="154"/>
                  </a:lnTo>
                  <a:lnTo>
                    <a:pt x="844" y="152"/>
                  </a:lnTo>
                  <a:lnTo>
                    <a:pt x="852" y="152"/>
                  </a:lnTo>
                  <a:lnTo>
                    <a:pt x="860" y="152"/>
                  </a:lnTo>
                  <a:lnTo>
                    <a:pt x="868" y="152"/>
                  </a:lnTo>
                  <a:lnTo>
                    <a:pt x="876" y="152"/>
                  </a:lnTo>
                  <a:lnTo>
                    <a:pt x="893" y="153"/>
                  </a:lnTo>
                  <a:lnTo>
                    <a:pt x="901" y="155"/>
                  </a:lnTo>
                  <a:lnTo>
                    <a:pt x="910" y="156"/>
                  </a:lnTo>
                  <a:lnTo>
                    <a:pt x="927" y="160"/>
                  </a:lnTo>
                  <a:lnTo>
                    <a:pt x="936" y="162"/>
                  </a:lnTo>
                  <a:lnTo>
                    <a:pt x="944" y="165"/>
                  </a:lnTo>
                  <a:lnTo>
                    <a:pt x="953" y="168"/>
                  </a:lnTo>
                  <a:lnTo>
                    <a:pt x="961" y="172"/>
                  </a:lnTo>
                  <a:lnTo>
                    <a:pt x="969" y="177"/>
                  </a:lnTo>
                  <a:lnTo>
                    <a:pt x="977" y="181"/>
                  </a:lnTo>
                  <a:lnTo>
                    <a:pt x="985" y="187"/>
                  </a:lnTo>
                  <a:lnTo>
                    <a:pt x="993" y="193"/>
                  </a:lnTo>
                  <a:lnTo>
                    <a:pt x="1000" y="199"/>
                  </a:lnTo>
                  <a:lnTo>
                    <a:pt x="1007" y="207"/>
                  </a:lnTo>
                  <a:lnTo>
                    <a:pt x="1014" y="215"/>
                  </a:lnTo>
                  <a:lnTo>
                    <a:pt x="1021" y="223"/>
                  </a:lnTo>
                  <a:lnTo>
                    <a:pt x="1027" y="233"/>
                  </a:lnTo>
                  <a:lnTo>
                    <a:pt x="1032" y="243"/>
                  </a:lnTo>
                  <a:lnTo>
                    <a:pt x="1035" y="248"/>
                  </a:lnTo>
                  <a:lnTo>
                    <a:pt x="1038" y="253"/>
                  </a:lnTo>
                  <a:lnTo>
                    <a:pt x="1043" y="265"/>
                  </a:lnTo>
                  <a:lnTo>
                    <a:pt x="1047" y="278"/>
                  </a:lnTo>
                  <a:lnTo>
                    <a:pt x="1051" y="291"/>
                  </a:lnTo>
                  <a:lnTo>
                    <a:pt x="1054" y="305"/>
                  </a:lnTo>
                  <a:lnTo>
                    <a:pt x="1057" y="320"/>
                  </a:lnTo>
                  <a:lnTo>
                    <a:pt x="1060" y="336"/>
                  </a:lnTo>
                  <a:lnTo>
                    <a:pt x="1061" y="354"/>
                  </a:lnTo>
                  <a:lnTo>
                    <a:pt x="1062" y="372"/>
                  </a:lnTo>
                  <a:lnTo>
                    <a:pt x="1063" y="391"/>
                  </a:lnTo>
                  <a:lnTo>
                    <a:pt x="1063" y="408"/>
                  </a:lnTo>
                  <a:close/>
                  <a:moveTo>
                    <a:pt x="918" y="326"/>
                  </a:moveTo>
                  <a:lnTo>
                    <a:pt x="921" y="325"/>
                  </a:lnTo>
                  <a:lnTo>
                    <a:pt x="922" y="325"/>
                  </a:lnTo>
                  <a:lnTo>
                    <a:pt x="923" y="323"/>
                  </a:lnTo>
                  <a:lnTo>
                    <a:pt x="924" y="322"/>
                  </a:lnTo>
                  <a:lnTo>
                    <a:pt x="925" y="319"/>
                  </a:lnTo>
                  <a:lnTo>
                    <a:pt x="924" y="318"/>
                  </a:lnTo>
                  <a:lnTo>
                    <a:pt x="923" y="311"/>
                  </a:lnTo>
                  <a:lnTo>
                    <a:pt x="922" y="304"/>
                  </a:lnTo>
                  <a:lnTo>
                    <a:pt x="920" y="297"/>
                  </a:lnTo>
                  <a:lnTo>
                    <a:pt x="917" y="291"/>
                  </a:lnTo>
                  <a:lnTo>
                    <a:pt x="915" y="286"/>
                  </a:lnTo>
                  <a:lnTo>
                    <a:pt x="911" y="281"/>
                  </a:lnTo>
                  <a:lnTo>
                    <a:pt x="908" y="277"/>
                  </a:lnTo>
                  <a:lnTo>
                    <a:pt x="904" y="273"/>
                  </a:lnTo>
                  <a:lnTo>
                    <a:pt x="900" y="270"/>
                  </a:lnTo>
                  <a:lnTo>
                    <a:pt x="895" y="267"/>
                  </a:lnTo>
                  <a:lnTo>
                    <a:pt x="890" y="265"/>
                  </a:lnTo>
                  <a:lnTo>
                    <a:pt x="885" y="263"/>
                  </a:lnTo>
                  <a:lnTo>
                    <a:pt x="879" y="262"/>
                  </a:lnTo>
                  <a:lnTo>
                    <a:pt x="873" y="261"/>
                  </a:lnTo>
                  <a:lnTo>
                    <a:pt x="866" y="260"/>
                  </a:lnTo>
                  <a:lnTo>
                    <a:pt x="860" y="260"/>
                  </a:lnTo>
                  <a:lnTo>
                    <a:pt x="854" y="260"/>
                  </a:lnTo>
                  <a:lnTo>
                    <a:pt x="849" y="261"/>
                  </a:lnTo>
                  <a:lnTo>
                    <a:pt x="844" y="262"/>
                  </a:lnTo>
                  <a:lnTo>
                    <a:pt x="839" y="263"/>
                  </a:lnTo>
                  <a:lnTo>
                    <a:pt x="834" y="265"/>
                  </a:lnTo>
                  <a:lnTo>
                    <a:pt x="830" y="267"/>
                  </a:lnTo>
                  <a:lnTo>
                    <a:pt x="826" y="270"/>
                  </a:lnTo>
                  <a:lnTo>
                    <a:pt x="821" y="273"/>
                  </a:lnTo>
                  <a:lnTo>
                    <a:pt x="818" y="277"/>
                  </a:lnTo>
                  <a:lnTo>
                    <a:pt x="814" y="281"/>
                  </a:lnTo>
                  <a:lnTo>
                    <a:pt x="810" y="286"/>
                  </a:lnTo>
                  <a:lnTo>
                    <a:pt x="807" y="291"/>
                  </a:lnTo>
                  <a:lnTo>
                    <a:pt x="804" y="297"/>
                  </a:lnTo>
                  <a:lnTo>
                    <a:pt x="802" y="304"/>
                  </a:lnTo>
                  <a:lnTo>
                    <a:pt x="799" y="311"/>
                  </a:lnTo>
                  <a:lnTo>
                    <a:pt x="797" y="318"/>
                  </a:lnTo>
                  <a:lnTo>
                    <a:pt x="797" y="321"/>
                  </a:lnTo>
                  <a:lnTo>
                    <a:pt x="797" y="323"/>
                  </a:lnTo>
                  <a:lnTo>
                    <a:pt x="798" y="324"/>
                  </a:lnTo>
                  <a:lnTo>
                    <a:pt x="799" y="325"/>
                  </a:lnTo>
                  <a:lnTo>
                    <a:pt x="800" y="326"/>
                  </a:lnTo>
                  <a:lnTo>
                    <a:pt x="802" y="326"/>
                  </a:lnTo>
                  <a:lnTo>
                    <a:pt x="918" y="326"/>
                  </a:lnTo>
                  <a:close/>
                  <a:moveTo>
                    <a:pt x="1595" y="588"/>
                  </a:moveTo>
                  <a:lnTo>
                    <a:pt x="1577" y="588"/>
                  </a:lnTo>
                  <a:lnTo>
                    <a:pt x="1560" y="587"/>
                  </a:lnTo>
                  <a:lnTo>
                    <a:pt x="1543" y="585"/>
                  </a:lnTo>
                  <a:lnTo>
                    <a:pt x="1528" y="584"/>
                  </a:lnTo>
                  <a:lnTo>
                    <a:pt x="1513" y="581"/>
                  </a:lnTo>
                  <a:lnTo>
                    <a:pt x="1499" y="578"/>
                  </a:lnTo>
                  <a:lnTo>
                    <a:pt x="1485" y="575"/>
                  </a:lnTo>
                  <a:lnTo>
                    <a:pt x="1472" y="571"/>
                  </a:lnTo>
                  <a:lnTo>
                    <a:pt x="1460" y="567"/>
                  </a:lnTo>
                  <a:lnTo>
                    <a:pt x="1449" y="563"/>
                  </a:lnTo>
                  <a:lnTo>
                    <a:pt x="1438" y="558"/>
                  </a:lnTo>
                  <a:lnTo>
                    <a:pt x="1427" y="553"/>
                  </a:lnTo>
                  <a:lnTo>
                    <a:pt x="1418" y="548"/>
                  </a:lnTo>
                  <a:lnTo>
                    <a:pt x="1409" y="543"/>
                  </a:lnTo>
                  <a:lnTo>
                    <a:pt x="1393" y="532"/>
                  </a:lnTo>
                  <a:lnTo>
                    <a:pt x="1391" y="531"/>
                  </a:lnTo>
                  <a:lnTo>
                    <a:pt x="1390" y="529"/>
                  </a:lnTo>
                  <a:lnTo>
                    <a:pt x="1389" y="527"/>
                  </a:lnTo>
                  <a:lnTo>
                    <a:pt x="1389" y="525"/>
                  </a:lnTo>
                  <a:lnTo>
                    <a:pt x="1390" y="523"/>
                  </a:lnTo>
                  <a:lnTo>
                    <a:pt x="1391" y="522"/>
                  </a:lnTo>
                  <a:lnTo>
                    <a:pt x="1440" y="446"/>
                  </a:lnTo>
                  <a:lnTo>
                    <a:pt x="1442" y="444"/>
                  </a:lnTo>
                  <a:lnTo>
                    <a:pt x="1443" y="444"/>
                  </a:lnTo>
                  <a:lnTo>
                    <a:pt x="1444" y="443"/>
                  </a:lnTo>
                  <a:lnTo>
                    <a:pt x="1446" y="443"/>
                  </a:lnTo>
                  <a:lnTo>
                    <a:pt x="1448" y="444"/>
                  </a:lnTo>
                  <a:lnTo>
                    <a:pt x="1450" y="445"/>
                  </a:lnTo>
                  <a:lnTo>
                    <a:pt x="1465" y="456"/>
                  </a:lnTo>
                  <a:lnTo>
                    <a:pt x="1483" y="465"/>
                  </a:lnTo>
                  <a:lnTo>
                    <a:pt x="1501" y="473"/>
                  </a:lnTo>
                  <a:lnTo>
                    <a:pt x="1510" y="476"/>
                  </a:lnTo>
                  <a:lnTo>
                    <a:pt x="1520" y="479"/>
                  </a:lnTo>
                  <a:lnTo>
                    <a:pt x="1529" y="482"/>
                  </a:lnTo>
                  <a:lnTo>
                    <a:pt x="1539" y="485"/>
                  </a:lnTo>
                  <a:lnTo>
                    <a:pt x="1558" y="489"/>
                  </a:lnTo>
                  <a:lnTo>
                    <a:pt x="1576" y="491"/>
                  </a:lnTo>
                  <a:lnTo>
                    <a:pt x="1594" y="492"/>
                  </a:lnTo>
                  <a:lnTo>
                    <a:pt x="1604" y="491"/>
                  </a:lnTo>
                  <a:lnTo>
                    <a:pt x="1613" y="490"/>
                  </a:lnTo>
                  <a:lnTo>
                    <a:pt x="1622" y="488"/>
                  </a:lnTo>
                  <a:lnTo>
                    <a:pt x="1629" y="486"/>
                  </a:lnTo>
                  <a:lnTo>
                    <a:pt x="1632" y="484"/>
                  </a:lnTo>
                  <a:lnTo>
                    <a:pt x="1635" y="482"/>
                  </a:lnTo>
                  <a:lnTo>
                    <a:pt x="1638" y="480"/>
                  </a:lnTo>
                  <a:lnTo>
                    <a:pt x="1640" y="477"/>
                  </a:lnTo>
                  <a:lnTo>
                    <a:pt x="1642" y="474"/>
                  </a:lnTo>
                  <a:lnTo>
                    <a:pt x="1643" y="471"/>
                  </a:lnTo>
                  <a:lnTo>
                    <a:pt x="1644" y="468"/>
                  </a:lnTo>
                  <a:lnTo>
                    <a:pt x="1644" y="464"/>
                  </a:lnTo>
                  <a:lnTo>
                    <a:pt x="1644" y="461"/>
                  </a:lnTo>
                  <a:lnTo>
                    <a:pt x="1643" y="457"/>
                  </a:lnTo>
                  <a:lnTo>
                    <a:pt x="1642" y="454"/>
                  </a:lnTo>
                  <a:lnTo>
                    <a:pt x="1641" y="451"/>
                  </a:lnTo>
                  <a:lnTo>
                    <a:pt x="1640" y="449"/>
                  </a:lnTo>
                  <a:lnTo>
                    <a:pt x="1638" y="448"/>
                  </a:lnTo>
                  <a:lnTo>
                    <a:pt x="1636" y="445"/>
                  </a:lnTo>
                  <a:lnTo>
                    <a:pt x="1629" y="441"/>
                  </a:lnTo>
                  <a:lnTo>
                    <a:pt x="1620" y="437"/>
                  </a:lnTo>
                  <a:lnTo>
                    <a:pt x="1609" y="434"/>
                  </a:lnTo>
                  <a:lnTo>
                    <a:pt x="1595" y="432"/>
                  </a:lnTo>
                  <a:lnTo>
                    <a:pt x="1579" y="429"/>
                  </a:lnTo>
                  <a:lnTo>
                    <a:pt x="1551" y="425"/>
                  </a:lnTo>
                  <a:lnTo>
                    <a:pt x="1537" y="422"/>
                  </a:lnTo>
                  <a:lnTo>
                    <a:pt x="1522" y="419"/>
                  </a:lnTo>
                  <a:lnTo>
                    <a:pt x="1508" y="415"/>
                  </a:lnTo>
                  <a:lnTo>
                    <a:pt x="1493" y="411"/>
                  </a:lnTo>
                  <a:lnTo>
                    <a:pt x="1480" y="405"/>
                  </a:lnTo>
                  <a:lnTo>
                    <a:pt x="1466" y="398"/>
                  </a:lnTo>
                  <a:lnTo>
                    <a:pt x="1460" y="395"/>
                  </a:lnTo>
                  <a:lnTo>
                    <a:pt x="1454" y="391"/>
                  </a:lnTo>
                  <a:lnTo>
                    <a:pt x="1448" y="386"/>
                  </a:lnTo>
                  <a:lnTo>
                    <a:pt x="1443" y="382"/>
                  </a:lnTo>
                  <a:lnTo>
                    <a:pt x="1438" y="377"/>
                  </a:lnTo>
                  <a:lnTo>
                    <a:pt x="1433" y="371"/>
                  </a:lnTo>
                  <a:lnTo>
                    <a:pt x="1428" y="366"/>
                  </a:lnTo>
                  <a:lnTo>
                    <a:pt x="1424" y="359"/>
                  </a:lnTo>
                  <a:lnTo>
                    <a:pt x="1420" y="353"/>
                  </a:lnTo>
                  <a:lnTo>
                    <a:pt x="1417" y="346"/>
                  </a:lnTo>
                  <a:lnTo>
                    <a:pt x="1414" y="338"/>
                  </a:lnTo>
                  <a:lnTo>
                    <a:pt x="1411" y="330"/>
                  </a:lnTo>
                  <a:lnTo>
                    <a:pt x="1410" y="322"/>
                  </a:lnTo>
                  <a:lnTo>
                    <a:pt x="1408" y="313"/>
                  </a:lnTo>
                  <a:lnTo>
                    <a:pt x="1408" y="308"/>
                  </a:lnTo>
                  <a:lnTo>
                    <a:pt x="1407" y="304"/>
                  </a:lnTo>
                  <a:lnTo>
                    <a:pt x="1407" y="294"/>
                  </a:lnTo>
                  <a:lnTo>
                    <a:pt x="1407" y="285"/>
                  </a:lnTo>
                  <a:lnTo>
                    <a:pt x="1408" y="277"/>
                  </a:lnTo>
                  <a:lnTo>
                    <a:pt x="1409" y="268"/>
                  </a:lnTo>
                  <a:lnTo>
                    <a:pt x="1410" y="261"/>
                  </a:lnTo>
                  <a:lnTo>
                    <a:pt x="1412" y="253"/>
                  </a:lnTo>
                  <a:lnTo>
                    <a:pt x="1415" y="246"/>
                  </a:lnTo>
                  <a:lnTo>
                    <a:pt x="1417" y="239"/>
                  </a:lnTo>
                  <a:lnTo>
                    <a:pt x="1420" y="232"/>
                  </a:lnTo>
                  <a:lnTo>
                    <a:pt x="1424" y="225"/>
                  </a:lnTo>
                  <a:lnTo>
                    <a:pt x="1428" y="219"/>
                  </a:lnTo>
                  <a:lnTo>
                    <a:pt x="1436" y="208"/>
                  </a:lnTo>
                  <a:lnTo>
                    <a:pt x="1441" y="202"/>
                  </a:lnTo>
                  <a:lnTo>
                    <a:pt x="1446" y="197"/>
                  </a:lnTo>
                  <a:lnTo>
                    <a:pt x="1457" y="188"/>
                  </a:lnTo>
                  <a:lnTo>
                    <a:pt x="1463" y="183"/>
                  </a:lnTo>
                  <a:lnTo>
                    <a:pt x="1469" y="179"/>
                  </a:lnTo>
                  <a:lnTo>
                    <a:pt x="1483" y="172"/>
                  </a:lnTo>
                  <a:lnTo>
                    <a:pt x="1490" y="169"/>
                  </a:lnTo>
                  <a:lnTo>
                    <a:pt x="1497" y="166"/>
                  </a:lnTo>
                  <a:lnTo>
                    <a:pt x="1512" y="161"/>
                  </a:lnTo>
                  <a:lnTo>
                    <a:pt x="1528" y="157"/>
                  </a:lnTo>
                  <a:lnTo>
                    <a:pt x="1544" y="154"/>
                  </a:lnTo>
                  <a:lnTo>
                    <a:pt x="1561" y="152"/>
                  </a:lnTo>
                  <a:lnTo>
                    <a:pt x="1579" y="152"/>
                  </a:lnTo>
                  <a:lnTo>
                    <a:pt x="1595" y="152"/>
                  </a:lnTo>
                  <a:lnTo>
                    <a:pt x="1611" y="153"/>
                  </a:lnTo>
                  <a:lnTo>
                    <a:pt x="1626" y="154"/>
                  </a:lnTo>
                  <a:lnTo>
                    <a:pt x="1641" y="156"/>
                  </a:lnTo>
                  <a:lnTo>
                    <a:pt x="1654" y="158"/>
                  </a:lnTo>
                  <a:lnTo>
                    <a:pt x="1667" y="160"/>
                  </a:lnTo>
                  <a:lnTo>
                    <a:pt x="1679" y="163"/>
                  </a:lnTo>
                  <a:lnTo>
                    <a:pt x="1691" y="167"/>
                  </a:lnTo>
                  <a:lnTo>
                    <a:pt x="1702" y="170"/>
                  </a:lnTo>
                  <a:lnTo>
                    <a:pt x="1713" y="174"/>
                  </a:lnTo>
                  <a:lnTo>
                    <a:pt x="1723" y="179"/>
                  </a:lnTo>
                  <a:lnTo>
                    <a:pt x="1733" y="183"/>
                  </a:lnTo>
                  <a:lnTo>
                    <a:pt x="1742" y="188"/>
                  </a:lnTo>
                  <a:lnTo>
                    <a:pt x="1751" y="194"/>
                  </a:lnTo>
                  <a:lnTo>
                    <a:pt x="1768" y="205"/>
                  </a:lnTo>
                  <a:lnTo>
                    <a:pt x="1770" y="207"/>
                  </a:lnTo>
                  <a:lnTo>
                    <a:pt x="1771" y="209"/>
                  </a:lnTo>
                  <a:lnTo>
                    <a:pt x="1772" y="211"/>
                  </a:lnTo>
                  <a:lnTo>
                    <a:pt x="1772" y="212"/>
                  </a:lnTo>
                  <a:lnTo>
                    <a:pt x="1771" y="215"/>
                  </a:lnTo>
                  <a:lnTo>
                    <a:pt x="1770" y="216"/>
                  </a:lnTo>
                  <a:lnTo>
                    <a:pt x="1722" y="288"/>
                  </a:lnTo>
                  <a:lnTo>
                    <a:pt x="1720" y="290"/>
                  </a:lnTo>
                  <a:lnTo>
                    <a:pt x="1718" y="292"/>
                  </a:lnTo>
                  <a:lnTo>
                    <a:pt x="1716" y="292"/>
                  </a:lnTo>
                  <a:lnTo>
                    <a:pt x="1715" y="292"/>
                  </a:lnTo>
                  <a:lnTo>
                    <a:pt x="1711" y="292"/>
                  </a:lnTo>
                  <a:lnTo>
                    <a:pt x="1708" y="290"/>
                  </a:lnTo>
                  <a:lnTo>
                    <a:pt x="1693" y="282"/>
                  </a:lnTo>
                  <a:lnTo>
                    <a:pt x="1677" y="274"/>
                  </a:lnTo>
                  <a:lnTo>
                    <a:pt x="1662" y="268"/>
                  </a:lnTo>
                  <a:lnTo>
                    <a:pt x="1647" y="263"/>
                  </a:lnTo>
                  <a:lnTo>
                    <a:pt x="1633" y="258"/>
                  </a:lnTo>
                  <a:lnTo>
                    <a:pt x="1619" y="255"/>
                  </a:lnTo>
                  <a:lnTo>
                    <a:pt x="1612" y="254"/>
                  </a:lnTo>
                  <a:lnTo>
                    <a:pt x="1606" y="254"/>
                  </a:lnTo>
                  <a:lnTo>
                    <a:pt x="1593" y="253"/>
                  </a:lnTo>
                  <a:lnTo>
                    <a:pt x="1584" y="253"/>
                  </a:lnTo>
                  <a:lnTo>
                    <a:pt x="1576" y="254"/>
                  </a:lnTo>
                  <a:lnTo>
                    <a:pt x="1568" y="256"/>
                  </a:lnTo>
                  <a:lnTo>
                    <a:pt x="1562" y="259"/>
                  </a:lnTo>
                  <a:lnTo>
                    <a:pt x="1560" y="261"/>
                  </a:lnTo>
                  <a:lnTo>
                    <a:pt x="1557" y="263"/>
                  </a:lnTo>
                  <a:lnTo>
                    <a:pt x="1554" y="267"/>
                  </a:lnTo>
                  <a:lnTo>
                    <a:pt x="1552" y="270"/>
                  </a:lnTo>
                  <a:lnTo>
                    <a:pt x="1551" y="273"/>
                  </a:lnTo>
                  <a:lnTo>
                    <a:pt x="1551" y="276"/>
                  </a:lnTo>
                  <a:lnTo>
                    <a:pt x="1550" y="280"/>
                  </a:lnTo>
                  <a:lnTo>
                    <a:pt x="1551" y="283"/>
                  </a:lnTo>
                  <a:lnTo>
                    <a:pt x="1551" y="286"/>
                  </a:lnTo>
                  <a:lnTo>
                    <a:pt x="1553" y="289"/>
                  </a:lnTo>
                  <a:lnTo>
                    <a:pt x="1555" y="292"/>
                  </a:lnTo>
                  <a:lnTo>
                    <a:pt x="1557" y="295"/>
                  </a:lnTo>
                  <a:lnTo>
                    <a:pt x="1560" y="297"/>
                  </a:lnTo>
                  <a:lnTo>
                    <a:pt x="1563" y="299"/>
                  </a:lnTo>
                  <a:lnTo>
                    <a:pt x="1567" y="301"/>
                  </a:lnTo>
                  <a:lnTo>
                    <a:pt x="1576" y="304"/>
                  </a:lnTo>
                  <a:lnTo>
                    <a:pt x="1587" y="307"/>
                  </a:lnTo>
                  <a:lnTo>
                    <a:pt x="1600" y="309"/>
                  </a:lnTo>
                  <a:lnTo>
                    <a:pt x="1615" y="312"/>
                  </a:lnTo>
                  <a:lnTo>
                    <a:pt x="1642" y="316"/>
                  </a:lnTo>
                  <a:lnTo>
                    <a:pt x="1657" y="318"/>
                  </a:lnTo>
                  <a:lnTo>
                    <a:pt x="1672" y="321"/>
                  </a:lnTo>
                  <a:lnTo>
                    <a:pt x="1686" y="325"/>
                  </a:lnTo>
                  <a:lnTo>
                    <a:pt x="1701" y="329"/>
                  </a:lnTo>
                  <a:lnTo>
                    <a:pt x="1715" y="334"/>
                  </a:lnTo>
                  <a:lnTo>
                    <a:pt x="1728" y="340"/>
                  </a:lnTo>
                  <a:lnTo>
                    <a:pt x="1740" y="348"/>
                  </a:lnTo>
                  <a:lnTo>
                    <a:pt x="1746" y="352"/>
                  </a:lnTo>
                  <a:lnTo>
                    <a:pt x="1752" y="356"/>
                  </a:lnTo>
                  <a:lnTo>
                    <a:pt x="1757" y="361"/>
                  </a:lnTo>
                  <a:lnTo>
                    <a:pt x="1762" y="366"/>
                  </a:lnTo>
                  <a:lnTo>
                    <a:pt x="1766" y="371"/>
                  </a:lnTo>
                  <a:lnTo>
                    <a:pt x="1771" y="377"/>
                  </a:lnTo>
                  <a:lnTo>
                    <a:pt x="1774" y="383"/>
                  </a:lnTo>
                  <a:lnTo>
                    <a:pt x="1778" y="390"/>
                  </a:lnTo>
                  <a:lnTo>
                    <a:pt x="1781" y="397"/>
                  </a:lnTo>
                  <a:lnTo>
                    <a:pt x="1783" y="404"/>
                  </a:lnTo>
                  <a:lnTo>
                    <a:pt x="1785" y="412"/>
                  </a:lnTo>
                  <a:lnTo>
                    <a:pt x="1787" y="420"/>
                  </a:lnTo>
                  <a:lnTo>
                    <a:pt x="1787" y="425"/>
                  </a:lnTo>
                  <a:lnTo>
                    <a:pt x="1787" y="429"/>
                  </a:lnTo>
                  <a:lnTo>
                    <a:pt x="1788" y="438"/>
                  </a:lnTo>
                  <a:lnTo>
                    <a:pt x="1787" y="449"/>
                  </a:lnTo>
                  <a:lnTo>
                    <a:pt x="1787" y="458"/>
                  </a:lnTo>
                  <a:lnTo>
                    <a:pt x="1785" y="468"/>
                  </a:lnTo>
                  <a:lnTo>
                    <a:pt x="1783" y="477"/>
                  </a:lnTo>
                  <a:lnTo>
                    <a:pt x="1781" y="485"/>
                  </a:lnTo>
                  <a:lnTo>
                    <a:pt x="1778" y="494"/>
                  </a:lnTo>
                  <a:lnTo>
                    <a:pt x="1775" y="501"/>
                  </a:lnTo>
                  <a:lnTo>
                    <a:pt x="1771" y="509"/>
                  </a:lnTo>
                  <a:lnTo>
                    <a:pt x="1767" y="516"/>
                  </a:lnTo>
                  <a:lnTo>
                    <a:pt x="1763" y="523"/>
                  </a:lnTo>
                  <a:lnTo>
                    <a:pt x="1758" y="529"/>
                  </a:lnTo>
                  <a:lnTo>
                    <a:pt x="1752" y="535"/>
                  </a:lnTo>
                  <a:lnTo>
                    <a:pt x="1747" y="540"/>
                  </a:lnTo>
                  <a:lnTo>
                    <a:pt x="1741" y="546"/>
                  </a:lnTo>
                  <a:lnTo>
                    <a:pt x="1734" y="550"/>
                  </a:lnTo>
                  <a:lnTo>
                    <a:pt x="1728" y="555"/>
                  </a:lnTo>
                  <a:lnTo>
                    <a:pt x="1721" y="559"/>
                  </a:lnTo>
                  <a:lnTo>
                    <a:pt x="1714" y="563"/>
                  </a:lnTo>
                  <a:lnTo>
                    <a:pt x="1699" y="570"/>
                  </a:lnTo>
                  <a:lnTo>
                    <a:pt x="1683" y="576"/>
                  </a:lnTo>
                  <a:lnTo>
                    <a:pt x="1675" y="578"/>
                  </a:lnTo>
                  <a:lnTo>
                    <a:pt x="1666" y="580"/>
                  </a:lnTo>
                  <a:lnTo>
                    <a:pt x="1649" y="584"/>
                  </a:lnTo>
                  <a:lnTo>
                    <a:pt x="1631" y="586"/>
                  </a:lnTo>
                  <a:lnTo>
                    <a:pt x="1613" y="588"/>
                  </a:lnTo>
                  <a:lnTo>
                    <a:pt x="1595" y="58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pic>
        <p:nvPicPr>
          <p:cNvPr id="6" name="Graphic 5">
            <a:extLst>
              <a:ext uri="{FF2B5EF4-FFF2-40B4-BE49-F238E27FC236}">
                <a16:creationId xmlns:a16="http://schemas.microsoft.com/office/drawing/2014/main" id="{BFE0B4AD-3BFC-234C-1983-3A94BAFBAF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59698" y="3022464"/>
            <a:ext cx="3280918" cy="964976"/>
          </a:xfrm>
          <a:prstGeom prst="rect">
            <a:avLst/>
          </a:prstGeom>
        </p:spPr>
      </p:pic>
    </p:spTree>
    <p:extLst>
      <p:ext uri="{BB962C8B-B14F-4D97-AF65-F5344CB8AC3E}">
        <p14:creationId xmlns:p14="http://schemas.microsoft.com/office/powerpoint/2010/main" val="2637841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End slide / products / 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2063552" y="260351"/>
            <a:ext cx="1224137" cy="216023"/>
          </a:xfrm>
        </p:spPr>
        <p:txBody>
          <a:bodyPr/>
          <a:lstStyle>
            <a:lvl1pPr>
              <a:defRPr>
                <a:noFill/>
              </a:defRPr>
            </a:lvl1pPr>
          </a:lstStyle>
          <a:p>
            <a:fld id="{BD3CFFDA-818F-4A73-BD76-D775C6C0AF81}" type="datetime1">
              <a:rPr lang="en-GB" smtClean="0"/>
              <a:t>22/10/2025</a:t>
            </a:fld>
            <a:endParaRPr lang="fi-FI"/>
          </a:p>
        </p:txBody>
      </p:sp>
      <p:sp>
        <p:nvSpPr>
          <p:cNvPr id="5" name="Footer Placeholder 4"/>
          <p:cNvSpPr>
            <a:spLocks noGrp="1"/>
          </p:cNvSpPr>
          <p:nvPr>
            <p:ph type="ftr" sz="quarter" idx="11"/>
          </p:nvPr>
        </p:nvSpPr>
        <p:spPr>
          <a:xfrm>
            <a:off x="3287688" y="260350"/>
            <a:ext cx="8137550" cy="216024"/>
          </a:xfrm>
        </p:spPr>
        <p:txBody>
          <a:bodyPr/>
          <a:lstStyle>
            <a:lvl1pPr>
              <a:defRPr>
                <a:noFill/>
              </a:defRPr>
            </a:lvl1pPr>
          </a:lstStyle>
          <a:p>
            <a:r>
              <a:rPr lang="fi-FI"/>
              <a:t>Presentation name / Author</a:t>
            </a:r>
          </a:p>
        </p:txBody>
      </p:sp>
      <p:sp>
        <p:nvSpPr>
          <p:cNvPr id="6" name="Slide Number Placeholder 5"/>
          <p:cNvSpPr>
            <a:spLocks noGrp="1"/>
          </p:cNvSpPr>
          <p:nvPr>
            <p:ph type="sldNum" sz="quarter" idx="12"/>
          </p:nvPr>
        </p:nvSpPr>
        <p:spPr>
          <a:xfrm>
            <a:off x="11425239" y="260351"/>
            <a:ext cx="431800" cy="216023"/>
          </a:xfrm>
        </p:spPr>
        <p:txBody>
          <a:bodyPr/>
          <a:lstStyle>
            <a:lvl1pPr>
              <a:defRPr>
                <a:noFill/>
              </a:defRPr>
            </a:lvl1pPr>
          </a:lstStyle>
          <a:p>
            <a:fld id="{49A25110-65A2-4B67-BF3F-8D6D3162EF46}" type="slidenum">
              <a:rPr lang="fi-FI" smtClean="0"/>
              <a:pPr/>
              <a:t>‹#›</a:t>
            </a:fld>
            <a:endParaRPr lang="fi-FI"/>
          </a:p>
        </p:txBody>
      </p:sp>
      <p:grpSp>
        <p:nvGrpSpPr>
          <p:cNvPr id="3" name="Group 2">
            <a:extLst>
              <a:ext uri="{FF2B5EF4-FFF2-40B4-BE49-F238E27FC236}">
                <a16:creationId xmlns:a16="http://schemas.microsoft.com/office/drawing/2014/main" id="{A37FE8F1-E9CC-5F78-CC43-07BD3F3B9BBE}"/>
              </a:ext>
            </a:extLst>
          </p:cNvPr>
          <p:cNvGrpSpPr>
            <a:grpSpLocks noChangeAspect="1"/>
          </p:cNvGrpSpPr>
          <p:nvPr userDrawn="1"/>
        </p:nvGrpSpPr>
        <p:grpSpPr>
          <a:xfrm>
            <a:off x="335360" y="6093296"/>
            <a:ext cx="1243838" cy="432000"/>
            <a:chOff x="3279775" y="2451101"/>
            <a:chExt cx="5640388" cy="1958974"/>
          </a:xfrm>
        </p:grpSpPr>
        <p:sp>
          <p:nvSpPr>
            <p:cNvPr id="7" name="Freeform 6">
              <a:extLst>
                <a:ext uri="{FF2B5EF4-FFF2-40B4-BE49-F238E27FC236}">
                  <a16:creationId xmlns:a16="http://schemas.microsoft.com/office/drawing/2014/main" id="{C2597526-10EF-B929-2AB3-D73CF132A282}"/>
                </a:ext>
              </a:extLst>
            </p:cNvPr>
            <p:cNvSpPr>
              <a:spLocks/>
            </p:cNvSpPr>
            <p:nvPr/>
          </p:nvSpPr>
          <p:spPr bwMode="auto">
            <a:xfrm>
              <a:off x="3279775" y="2451101"/>
              <a:ext cx="1838325" cy="1944687"/>
            </a:xfrm>
            <a:custGeom>
              <a:avLst/>
              <a:gdLst>
                <a:gd name="T0" fmla="*/ 978 w 1158"/>
                <a:gd name="T1" fmla="*/ 608 h 1225"/>
                <a:gd name="T2" fmla="*/ 974 w 1158"/>
                <a:gd name="T3" fmla="*/ 610 h 1225"/>
                <a:gd name="T4" fmla="*/ 968 w 1158"/>
                <a:gd name="T5" fmla="*/ 608 h 1225"/>
                <a:gd name="T6" fmla="*/ 966 w 1158"/>
                <a:gd name="T7" fmla="*/ 134 h 1225"/>
                <a:gd name="T8" fmla="*/ 963 w 1158"/>
                <a:gd name="T9" fmla="*/ 128 h 1225"/>
                <a:gd name="T10" fmla="*/ 956 w 1158"/>
                <a:gd name="T11" fmla="*/ 128 h 1225"/>
                <a:gd name="T12" fmla="*/ 953 w 1158"/>
                <a:gd name="T13" fmla="*/ 132 h 1225"/>
                <a:gd name="T14" fmla="*/ 784 w 1158"/>
                <a:gd name="T15" fmla="*/ 603 h 1225"/>
                <a:gd name="T16" fmla="*/ 779 w 1158"/>
                <a:gd name="T17" fmla="*/ 607 h 1225"/>
                <a:gd name="T18" fmla="*/ 773 w 1158"/>
                <a:gd name="T19" fmla="*/ 605 h 1225"/>
                <a:gd name="T20" fmla="*/ 771 w 1158"/>
                <a:gd name="T21" fmla="*/ 466 h 1225"/>
                <a:gd name="T22" fmla="*/ 769 w 1158"/>
                <a:gd name="T23" fmla="*/ 461 h 1225"/>
                <a:gd name="T24" fmla="*/ 764 w 1158"/>
                <a:gd name="T25" fmla="*/ 459 h 1225"/>
                <a:gd name="T26" fmla="*/ 584 w 1158"/>
                <a:gd name="T27" fmla="*/ 614 h 1225"/>
                <a:gd name="T28" fmla="*/ 579 w 1158"/>
                <a:gd name="T29" fmla="*/ 616 h 1225"/>
                <a:gd name="T30" fmla="*/ 396 w 1158"/>
                <a:gd name="T31" fmla="*/ 461 h 1225"/>
                <a:gd name="T32" fmla="*/ 390 w 1158"/>
                <a:gd name="T33" fmla="*/ 460 h 1225"/>
                <a:gd name="T34" fmla="*/ 386 w 1158"/>
                <a:gd name="T35" fmla="*/ 464 h 1225"/>
                <a:gd name="T36" fmla="*/ 386 w 1158"/>
                <a:gd name="T37" fmla="*/ 603 h 1225"/>
                <a:gd name="T38" fmla="*/ 381 w 1158"/>
                <a:gd name="T39" fmla="*/ 607 h 1225"/>
                <a:gd name="T40" fmla="*/ 375 w 1158"/>
                <a:gd name="T41" fmla="*/ 605 h 1225"/>
                <a:gd name="T42" fmla="*/ 292 w 1158"/>
                <a:gd name="T43" fmla="*/ 378 h 1225"/>
                <a:gd name="T44" fmla="*/ 203 w 1158"/>
                <a:gd name="T45" fmla="*/ 130 h 1225"/>
                <a:gd name="T46" fmla="*/ 197 w 1158"/>
                <a:gd name="T47" fmla="*/ 128 h 1225"/>
                <a:gd name="T48" fmla="*/ 192 w 1158"/>
                <a:gd name="T49" fmla="*/ 132 h 1225"/>
                <a:gd name="T50" fmla="*/ 191 w 1158"/>
                <a:gd name="T51" fmla="*/ 606 h 1225"/>
                <a:gd name="T52" fmla="*/ 186 w 1158"/>
                <a:gd name="T53" fmla="*/ 610 h 1225"/>
                <a:gd name="T54" fmla="*/ 181 w 1158"/>
                <a:gd name="T55" fmla="*/ 609 h 1225"/>
                <a:gd name="T56" fmla="*/ 13 w 1158"/>
                <a:gd name="T57" fmla="*/ 5 h 1225"/>
                <a:gd name="T58" fmla="*/ 10 w 1158"/>
                <a:gd name="T59" fmla="*/ 1 h 1225"/>
                <a:gd name="T60" fmla="*/ 4 w 1158"/>
                <a:gd name="T61" fmla="*/ 1 h 1225"/>
                <a:gd name="T62" fmla="*/ 0 w 1158"/>
                <a:gd name="T63" fmla="*/ 7 h 1225"/>
                <a:gd name="T64" fmla="*/ 1 w 1158"/>
                <a:gd name="T65" fmla="*/ 552 h 1225"/>
                <a:gd name="T66" fmla="*/ 147 w 1158"/>
                <a:gd name="T67" fmla="*/ 644 h 1225"/>
                <a:gd name="T68" fmla="*/ 389 w 1158"/>
                <a:gd name="T69" fmla="*/ 646 h 1225"/>
                <a:gd name="T70" fmla="*/ 397 w 1158"/>
                <a:gd name="T71" fmla="*/ 649 h 1225"/>
                <a:gd name="T72" fmla="*/ 500 w 1158"/>
                <a:gd name="T73" fmla="*/ 909 h 1225"/>
                <a:gd name="T74" fmla="*/ 501 w 1158"/>
                <a:gd name="T75" fmla="*/ 917 h 1225"/>
                <a:gd name="T76" fmla="*/ 447 w 1158"/>
                <a:gd name="T77" fmla="*/ 1030 h 1225"/>
                <a:gd name="T78" fmla="*/ 519 w 1158"/>
                <a:gd name="T79" fmla="*/ 1218 h 1225"/>
                <a:gd name="T80" fmla="*/ 526 w 1158"/>
                <a:gd name="T81" fmla="*/ 1224 h 1225"/>
                <a:gd name="T82" fmla="*/ 629 w 1158"/>
                <a:gd name="T83" fmla="*/ 1225 h 1225"/>
                <a:gd name="T84" fmla="*/ 637 w 1158"/>
                <a:gd name="T85" fmla="*/ 1221 h 1225"/>
                <a:gd name="T86" fmla="*/ 710 w 1158"/>
                <a:gd name="T87" fmla="*/ 1036 h 1225"/>
                <a:gd name="T88" fmla="*/ 710 w 1158"/>
                <a:gd name="T89" fmla="*/ 1030 h 1225"/>
                <a:gd name="T90" fmla="*/ 657 w 1158"/>
                <a:gd name="T91" fmla="*/ 917 h 1225"/>
                <a:gd name="T92" fmla="*/ 758 w 1158"/>
                <a:gd name="T93" fmla="*/ 652 h 1225"/>
                <a:gd name="T94" fmla="*/ 765 w 1158"/>
                <a:gd name="T95" fmla="*/ 646 h 1225"/>
                <a:gd name="T96" fmla="*/ 1009 w 1158"/>
                <a:gd name="T97" fmla="*/ 645 h 1225"/>
                <a:gd name="T98" fmla="*/ 1155 w 1158"/>
                <a:gd name="T99" fmla="*/ 554 h 1225"/>
                <a:gd name="T100" fmla="*/ 1158 w 1158"/>
                <a:gd name="T101" fmla="*/ 549 h 1225"/>
                <a:gd name="T102" fmla="*/ 1158 w 1158"/>
                <a:gd name="T103" fmla="*/ 4 h 1225"/>
                <a:gd name="T104" fmla="*/ 1152 w 1158"/>
                <a:gd name="T105" fmla="*/ 0 h 1225"/>
                <a:gd name="T106" fmla="*/ 1146 w 1158"/>
                <a:gd name="T107" fmla="*/ 3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8" h="1225">
                  <a:moveTo>
                    <a:pt x="1145" y="5"/>
                  </a:moveTo>
                  <a:lnTo>
                    <a:pt x="979" y="605"/>
                  </a:lnTo>
                  <a:lnTo>
                    <a:pt x="978" y="608"/>
                  </a:lnTo>
                  <a:lnTo>
                    <a:pt x="977" y="608"/>
                  </a:lnTo>
                  <a:lnTo>
                    <a:pt x="976" y="609"/>
                  </a:lnTo>
                  <a:lnTo>
                    <a:pt x="974" y="610"/>
                  </a:lnTo>
                  <a:lnTo>
                    <a:pt x="972" y="610"/>
                  </a:lnTo>
                  <a:lnTo>
                    <a:pt x="970" y="609"/>
                  </a:lnTo>
                  <a:lnTo>
                    <a:pt x="968" y="608"/>
                  </a:lnTo>
                  <a:lnTo>
                    <a:pt x="967" y="606"/>
                  </a:lnTo>
                  <a:lnTo>
                    <a:pt x="966" y="603"/>
                  </a:lnTo>
                  <a:lnTo>
                    <a:pt x="966" y="134"/>
                  </a:lnTo>
                  <a:lnTo>
                    <a:pt x="966" y="132"/>
                  </a:lnTo>
                  <a:lnTo>
                    <a:pt x="964" y="130"/>
                  </a:lnTo>
                  <a:lnTo>
                    <a:pt x="963" y="128"/>
                  </a:lnTo>
                  <a:lnTo>
                    <a:pt x="961" y="128"/>
                  </a:lnTo>
                  <a:lnTo>
                    <a:pt x="958" y="128"/>
                  </a:lnTo>
                  <a:lnTo>
                    <a:pt x="956" y="128"/>
                  </a:lnTo>
                  <a:lnTo>
                    <a:pt x="955" y="129"/>
                  </a:lnTo>
                  <a:lnTo>
                    <a:pt x="955" y="130"/>
                  </a:lnTo>
                  <a:lnTo>
                    <a:pt x="953" y="132"/>
                  </a:lnTo>
                  <a:lnTo>
                    <a:pt x="916" y="240"/>
                  </a:lnTo>
                  <a:lnTo>
                    <a:pt x="865" y="378"/>
                  </a:lnTo>
                  <a:lnTo>
                    <a:pt x="784" y="603"/>
                  </a:lnTo>
                  <a:lnTo>
                    <a:pt x="782" y="605"/>
                  </a:lnTo>
                  <a:lnTo>
                    <a:pt x="781" y="606"/>
                  </a:lnTo>
                  <a:lnTo>
                    <a:pt x="779" y="607"/>
                  </a:lnTo>
                  <a:lnTo>
                    <a:pt x="776" y="607"/>
                  </a:lnTo>
                  <a:lnTo>
                    <a:pt x="774" y="606"/>
                  </a:lnTo>
                  <a:lnTo>
                    <a:pt x="773" y="605"/>
                  </a:lnTo>
                  <a:lnTo>
                    <a:pt x="772" y="603"/>
                  </a:lnTo>
                  <a:lnTo>
                    <a:pt x="771" y="600"/>
                  </a:lnTo>
                  <a:lnTo>
                    <a:pt x="771" y="466"/>
                  </a:lnTo>
                  <a:lnTo>
                    <a:pt x="771" y="464"/>
                  </a:lnTo>
                  <a:lnTo>
                    <a:pt x="770" y="462"/>
                  </a:lnTo>
                  <a:lnTo>
                    <a:pt x="769" y="461"/>
                  </a:lnTo>
                  <a:lnTo>
                    <a:pt x="767" y="460"/>
                  </a:lnTo>
                  <a:lnTo>
                    <a:pt x="766" y="459"/>
                  </a:lnTo>
                  <a:lnTo>
                    <a:pt x="764" y="459"/>
                  </a:lnTo>
                  <a:lnTo>
                    <a:pt x="762" y="460"/>
                  </a:lnTo>
                  <a:lnTo>
                    <a:pt x="761" y="461"/>
                  </a:lnTo>
                  <a:lnTo>
                    <a:pt x="584" y="614"/>
                  </a:lnTo>
                  <a:lnTo>
                    <a:pt x="583" y="615"/>
                  </a:lnTo>
                  <a:lnTo>
                    <a:pt x="581" y="615"/>
                  </a:lnTo>
                  <a:lnTo>
                    <a:pt x="579" y="616"/>
                  </a:lnTo>
                  <a:lnTo>
                    <a:pt x="576" y="615"/>
                  </a:lnTo>
                  <a:lnTo>
                    <a:pt x="573" y="614"/>
                  </a:lnTo>
                  <a:lnTo>
                    <a:pt x="396" y="461"/>
                  </a:lnTo>
                  <a:lnTo>
                    <a:pt x="393" y="459"/>
                  </a:lnTo>
                  <a:lnTo>
                    <a:pt x="391" y="460"/>
                  </a:lnTo>
                  <a:lnTo>
                    <a:pt x="390" y="460"/>
                  </a:lnTo>
                  <a:lnTo>
                    <a:pt x="388" y="461"/>
                  </a:lnTo>
                  <a:lnTo>
                    <a:pt x="387" y="462"/>
                  </a:lnTo>
                  <a:lnTo>
                    <a:pt x="386" y="464"/>
                  </a:lnTo>
                  <a:lnTo>
                    <a:pt x="386" y="466"/>
                  </a:lnTo>
                  <a:lnTo>
                    <a:pt x="386" y="601"/>
                  </a:lnTo>
                  <a:lnTo>
                    <a:pt x="386" y="603"/>
                  </a:lnTo>
                  <a:lnTo>
                    <a:pt x="384" y="605"/>
                  </a:lnTo>
                  <a:lnTo>
                    <a:pt x="383" y="606"/>
                  </a:lnTo>
                  <a:lnTo>
                    <a:pt x="381" y="607"/>
                  </a:lnTo>
                  <a:lnTo>
                    <a:pt x="379" y="607"/>
                  </a:lnTo>
                  <a:lnTo>
                    <a:pt x="377" y="606"/>
                  </a:lnTo>
                  <a:lnTo>
                    <a:pt x="375" y="605"/>
                  </a:lnTo>
                  <a:lnTo>
                    <a:pt x="374" y="603"/>
                  </a:lnTo>
                  <a:lnTo>
                    <a:pt x="340" y="511"/>
                  </a:lnTo>
                  <a:lnTo>
                    <a:pt x="292" y="378"/>
                  </a:lnTo>
                  <a:lnTo>
                    <a:pt x="242" y="240"/>
                  </a:lnTo>
                  <a:lnTo>
                    <a:pt x="205" y="132"/>
                  </a:lnTo>
                  <a:lnTo>
                    <a:pt x="203" y="130"/>
                  </a:lnTo>
                  <a:lnTo>
                    <a:pt x="202" y="128"/>
                  </a:lnTo>
                  <a:lnTo>
                    <a:pt x="200" y="128"/>
                  </a:lnTo>
                  <a:lnTo>
                    <a:pt x="197" y="128"/>
                  </a:lnTo>
                  <a:lnTo>
                    <a:pt x="195" y="128"/>
                  </a:lnTo>
                  <a:lnTo>
                    <a:pt x="194" y="130"/>
                  </a:lnTo>
                  <a:lnTo>
                    <a:pt x="192" y="132"/>
                  </a:lnTo>
                  <a:lnTo>
                    <a:pt x="192" y="134"/>
                  </a:lnTo>
                  <a:lnTo>
                    <a:pt x="192" y="604"/>
                  </a:lnTo>
                  <a:lnTo>
                    <a:pt x="191" y="606"/>
                  </a:lnTo>
                  <a:lnTo>
                    <a:pt x="190" y="608"/>
                  </a:lnTo>
                  <a:lnTo>
                    <a:pt x="188" y="609"/>
                  </a:lnTo>
                  <a:lnTo>
                    <a:pt x="186" y="610"/>
                  </a:lnTo>
                  <a:lnTo>
                    <a:pt x="184" y="610"/>
                  </a:lnTo>
                  <a:lnTo>
                    <a:pt x="182" y="609"/>
                  </a:lnTo>
                  <a:lnTo>
                    <a:pt x="181" y="609"/>
                  </a:lnTo>
                  <a:lnTo>
                    <a:pt x="180" y="608"/>
                  </a:lnTo>
                  <a:lnTo>
                    <a:pt x="179" y="605"/>
                  </a:lnTo>
                  <a:lnTo>
                    <a:pt x="13" y="5"/>
                  </a:lnTo>
                  <a:lnTo>
                    <a:pt x="12" y="3"/>
                  </a:lnTo>
                  <a:lnTo>
                    <a:pt x="11" y="2"/>
                  </a:lnTo>
                  <a:lnTo>
                    <a:pt x="10" y="1"/>
                  </a:lnTo>
                  <a:lnTo>
                    <a:pt x="8" y="1"/>
                  </a:lnTo>
                  <a:lnTo>
                    <a:pt x="6" y="0"/>
                  </a:lnTo>
                  <a:lnTo>
                    <a:pt x="4" y="1"/>
                  </a:lnTo>
                  <a:lnTo>
                    <a:pt x="2" y="3"/>
                  </a:lnTo>
                  <a:lnTo>
                    <a:pt x="1" y="4"/>
                  </a:lnTo>
                  <a:lnTo>
                    <a:pt x="0" y="7"/>
                  </a:lnTo>
                  <a:lnTo>
                    <a:pt x="0" y="546"/>
                  </a:lnTo>
                  <a:lnTo>
                    <a:pt x="0" y="549"/>
                  </a:lnTo>
                  <a:lnTo>
                    <a:pt x="1" y="552"/>
                  </a:lnTo>
                  <a:lnTo>
                    <a:pt x="3" y="554"/>
                  </a:lnTo>
                  <a:lnTo>
                    <a:pt x="5" y="555"/>
                  </a:lnTo>
                  <a:lnTo>
                    <a:pt x="147" y="644"/>
                  </a:lnTo>
                  <a:lnTo>
                    <a:pt x="150" y="645"/>
                  </a:lnTo>
                  <a:lnTo>
                    <a:pt x="153" y="646"/>
                  </a:lnTo>
                  <a:lnTo>
                    <a:pt x="389" y="646"/>
                  </a:lnTo>
                  <a:lnTo>
                    <a:pt x="392" y="646"/>
                  </a:lnTo>
                  <a:lnTo>
                    <a:pt x="395" y="647"/>
                  </a:lnTo>
                  <a:lnTo>
                    <a:pt x="397" y="649"/>
                  </a:lnTo>
                  <a:lnTo>
                    <a:pt x="398" y="651"/>
                  </a:lnTo>
                  <a:lnTo>
                    <a:pt x="399" y="652"/>
                  </a:lnTo>
                  <a:lnTo>
                    <a:pt x="500" y="909"/>
                  </a:lnTo>
                  <a:lnTo>
                    <a:pt x="501" y="912"/>
                  </a:lnTo>
                  <a:lnTo>
                    <a:pt x="501" y="914"/>
                  </a:lnTo>
                  <a:lnTo>
                    <a:pt x="501" y="917"/>
                  </a:lnTo>
                  <a:lnTo>
                    <a:pt x="500" y="920"/>
                  </a:lnTo>
                  <a:lnTo>
                    <a:pt x="448" y="1028"/>
                  </a:lnTo>
                  <a:lnTo>
                    <a:pt x="447" y="1030"/>
                  </a:lnTo>
                  <a:lnTo>
                    <a:pt x="447" y="1032"/>
                  </a:lnTo>
                  <a:lnTo>
                    <a:pt x="447" y="1036"/>
                  </a:lnTo>
                  <a:lnTo>
                    <a:pt x="519" y="1218"/>
                  </a:lnTo>
                  <a:lnTo>
                    <a:pt x="520" y="1221"/>
                  </a:lnTo>
                  <a:lnTo>
                    <a:pt x="523" y="1223"/>
                  </a:lnTo>
                  <a:lnTo>
                    <a:pt x="526" y="1224"/>
                  </a:lnTo>
                  <a:lnTo>
                    <a:pt x="529" y="1225"/>
                  </a:lnTo>
                  <a:lnTo>
                    <a:pt x="579" y="1225"/>
                  </a:lnTo>
                  <a:lnTo>
                    <a:pt x="629" y="1225"/>
                  </a:lnTo>
                  <a:lnTo>
                    <a:pt x="632" y="1224"/>
                  </a:lnTo>
                  <a:lnTo>
                    <a:pt x="635" y="1223"/>
                  </a:lnTo>
                  <a:lnTo>
                    <a:pt x="637" y="1221"/>
                  </a:lnTo>
                  <a:lnTo>
                    <a:pt x="638" y="1219"/>
                  </a:lnTo>
                  <a:lnTo>
                    <a:pt x="638" y="1218"/>
                  </a:lnTo>
                  <a:lnTo>
                    <a:pt x="710" y="1036"/>
                  </a:lnTo>
                  <a:lnTo>
                    <a:pt x="711" y="1034"/>
                  </a:lnTo>
                  <a:lnTo>
                    <a:pt x="711" y="1032"/>
                  </a:lnTo>
                  <a:lnTo>
                    <a:pt x="710" y="1030"/>
                  </a:lnTo>
                  <a:lnTo>
                    <a:pt x="710" y="1028"/>
                  </a:lnTo>
                  <a:lnTo>
                    <a:pt x="657" y="920"/>
                  </a:lnTo>
                  <a:lnTo>
                    <a:pt x="657" y="917"/>
                  </a:lnTo>
                  <a:lnTo>
                    <a:pt x="656" y="914"/>
                  </a:lnTo>
                  <a:lnTo>
                    <a:pt x="657" y="909"/>
                  </a:lnTo>
                  <a:lnTo>
                    <a:pt x="758" y="652"/>
                  </a:lnTo>
                  <a:lnTo>
                    <a:pt x="760" y="650"/>
                  </a:lnTo>
                  <a:lnTo>
                    <a:pt x="762" y="647"/>
                  </a:lnTo>
                  <a:lnTo>
                    <a:pt x="765" y="646"/>
                  </a:lnTo>
                  <a:lnTo>
                    <a:pt x="768" y="646"/>
                  </a:lnTo>
                  <a:lnTo>
                    <a:pt x="1006" y="646"/>
                  </a:lnTo>
                  <a:lnTo>
                    <a:pt x="1009" y="645"/>
                  </a:lnTo>
                  <a:lnTo>
                    <a:pt x="1011" y="644"/>
                  </a:lnTo>
                  <a:lnTo>
                    <a:pt x="1153" y="555"/>
                  </a:lnTo>
                  <a:lnTo>
                    <a:pt x="1155" y="554"/>
                  </a:lnTo>
                  <a:lnTo>
                    <a:pt x="1156" y="553"/>
                  </a:lnTo>
                  <a:lnTo>
                    <a:pt x="1157" y="552"/>
                  </a:lnTo>
                  <a:lnTo>
                    <a:pt x="1158" y="549"/>
                  </a:lnTo>
                  <a:lnTo>
                    <a:pt x="1158" y="546"/>
                  </a:lnTo>
                  <a:lnTo>
                    <a:pt x="1158" y="7"/>
                  </a:lnTo>
                  <a:lnTo>
                    <a:pt x="1158" y="4"/>
                  </a:lnTo>
                  <a:lnTo>
                    <a:pt x="1156" y="3"/>
                  </a:lnTo>
                  <a:lnTo>
                    <a:pt x="1154" y="1"/>
                  </a:lnTo>
                  <a:lnTo>
                    <a:pt x="1152" y="0"/>
                  </a:lnTo>
                  <a:lnTo>
                    <a:pt x="1150" y="1"/>
                  </a:lnTo>
                  <a:lnTo>
                    <a:pt x="1148" y="1"/>
                  </a:lnTo>
                  <a:lnTo>
                    <a:pt x="1146" y="3"/>
                  </a:lnTo>
                  <a:lnTo>
                    <a:pt x="1145" y="4"/>
                  </a:lnTo>
                  <a:lnTo>
                    <a:pt x="1145" y="5"/>
                  </a:lnTo>
                  <a:close/>
                </a:path>
              </a:pathLst>
            </a:custGeom>
            <a:solidFill>
              <a:srgbClr val="62A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 name="Freeform 7">
              <a:extLst>
                <a:ext uri="{FF2B5EF4-FFF2-40B4-BE49-F238E27FC236}">
                  <a16:creationId xmlns:a16="http://schemas.microsoft.com/office/drawing/2014/main" id="{E55176DE-BA11-F7B6-B3A0-42414870F7F6}"/>
                </a:ext>
              </a:extLst>
            </p:cNvPr>
            <p:cNvSpPr>
              <a:spLocks noEditPoints="1"/>
            </p:cNvSpPr>
            <p:nvPr/>
          </p:nvSpPr>
          <p:spPr bwMode="auto">
            <a:xfrm>
              <a:off x="5386388" y="3476625"/>
              <a:ext cx="3533775" cy="933450"/>
            </a:xfrm>
            <a:custGeom>
              <a:avLst/>
              <a:gdLst>
                <a:gd name="T0" fmla="*/ 1976 w 2226"/>
                <a:gd name="T1" fmla="*/ 407 h 588"/>
                <a:gd name="T2" fmla="*/ 1967 w 2226"/>
                <a:gd name="T3" fmla="*/ 463 h 588"/>
                <a:gd name="T4" fmla="*/ 2059 w 2226"/>
                <a:gd name="T5" fmla="*/ 452 h 588"/>
                <a:gd name="T6" fmla="*/ 2077 w 2226"/>
                <a:gd name="T7" fmla="*/ 579 h 588"/>
                <a:gd name="T8" fmla="*/ 2048 w 2226"/>
                <a:gd name="T9" fmla="*/ 537 h 588"/>
                <a:gd name="T10" fmla="*/ 1914 w 2226"/>
                <a:gd name="T11" fmla="*/ 585 h 588"/>
                <a:gd name="T12" fmla="*/ 1811 w 2226"/>
                <a:gd name="T13" fmla="*/ 508 h 588"/>
                <a:gd name="T14" fmla="*/ 1836 w 2226"/>
                <a:gd name="T15" fmla="*/ 383 h 588"/>
                <a:gd name="T16" fmla="*/ 2013 w 2226"/>
                <a:gd name="T17" fmla="*/ 311 h 588"/>
                <a:gd name="T18" fmla="*/ 2045 w 2226"/>
                <a:gd name="T19" fmla="*/ 271 h 588"/>
                <a:gd name="T20" fmla="*/ 1907 w 2226"/>
                <a:gd name="T21" fmla="*/ 300 h 588"/>
                <a:gd name="T22" fmla="*/ 1866 w 2226"/>
                <a:gd name="T23" fmla="*/ 195 h 588"/>
                <a:gd name="T24" fmla="*/ 2086 w 2226"/>
                <a:gd name="T25" fmla="*/ 154 h 588"/>
                <a:gd name="T26" fmla="*/ 2190 w 2226"/>
                <a:gd name="T27" fmla="*/ 214 h 588"/>
                <a:gd name="T28" fmla="*/ 2217 w 2226"/>
                <a:gd name="T29" fmla="*/ 512 h 588"/>
                <a:gd name="T30" fmla="*/ 1994 w 2226"/>
                <a:gd name="T31" fmla="*/ 3 h 588"/>
                <a:gd name="T32" fmla="*/ 1869 w 2226"/>
                <a:gd name="T33" fmla="*/ 7 h 588"/>
                <a:gd name="T34" fmla="*/ 2172 w 2226"/>
                <a:gd name="T35" fmla="*/ 123 h 588"/>
                <a:gd name="T36" fmla="*/ 1190 w 2226"/>
                <a:gd name="T37" fmla="*/ 576 h 588"/>
                <a:gd name="T38" fmla="*/ 1121 w 2226"/>
                <a:gd name="T39" fmla="*/ 502 h 588"/>
                <a:gd name="T40" fmla="*/ 1059 w 2226"/>
                <a:gd name="T41" fmla="*/ 264 h 588"/>
                <a:gd name="T42" fmla="*/ 1170 w 2226"/>
                <a:gd name="T43" fmla="*/ 25 h 588"/>
                <a:gd name="T44" fmla="*/ 1274 w 2226"/>
                <a:gd name="T45" fmla="*/ 156 h 588"/>
                <a:gd name="T46" fmla="*/ 1374 w 2226"/>
                <a:gd name="T47" fmla="*/ 271 h 588"/>
                <a:gd name="T48" fmla="*/ 1291 w 2226"/>
                <a:gd name="T49" fmla="*/ 469 h 588"/>
                <a:gd name="T50" fmla="*/ 1370 w 2226"/>
                <a:gd name="T51" fmla="*/ 564 h 588"/>
                <a:gd name="T52" fmla="*/ 1 w 2226"/>
                <a:gd name="T53" fmla="*/ 3 h 588"/>
                <a:gd name="T54" fmla="*/ 312 w 2226"/>
                <a:gd name="T55" fmla="*/ 389 h 588"/>
                <a:gd name="T56" fmla="*/ 615 w 2226"/>
                <a:gd name="T57" fmla="*/ 572 h 588"/>
                <a:gd name="T58" fmla="*/ 463 w 2226"/>
                <a:gd name="T59" fmla="*/ 222 h 588"/>
                <a:gd name="T60" fmla="*/ 365 w 2226"/>
                <a:gd name="T61" fmla="*/ 579 h 588"/>
                <a:gd name="T62" fmla="*/ 146 w 2226"/>
                <a:gd name="T63" fmla="*/ 223 h 588"/>
                <a:gd name="T64" fmla="*/ 1 w 2226"/>
                <a:gd name="T65" fmla="*/ 576 h 588"/>
                <a:gd name="T66" fmla="*/ 795 w 2226"/>
                <a:gd name="T67" fmla="*/ 421 h 588"/>
                <a:gd name="T68" fmla="*/ 861 w 2226"/>
                <a:gd name="T69" fmla="*/ 482 h 588"/>
                <a:gd name="T70" fmla="*/ 999 w 2226"/>
                <a:gd name="T71" fmla="*/ 448 h 588"/>
                <a:gd name="T72" fmla="*/ 974 w 2226"/>
                <a:gd name="T73" fmla="*/ 574 h 588"/>
                <a:gd name="T74" fmla="*/ 772 w 2226"/>
                <a:gd name="T75" fmla="*/ 575 h 588"/>
                <a:gd name="T76" fmla="*/ 659 w 2226"/>
                <a:gd name="T77" fmla="*/ 476 h 588"/>
                <a:gd name="T78" fmla="*/ 649 w 2226"/>
                <a:gd name="T79" fmla="*/ 300 h 588"/>
                <a:gd name="T80" fmla="*/ 753 w 2226"/>
                <a:gd name="T81" fmla="*/ 177 h 588"/>
                <a:gd name="T82" fmla="*/ 901 w 2226"/>
                <a:gd name="T83" fmla="*/ 155 h 588"/>
                <a:gd name="T84" fmla="*/ 1027 w 2226"/>
                <a:gd name="T85" fmla="*/ 233 h 588"/>
                <a:gd name="T86" fmla="*/ 921 w 2226"/>
                <a:gd name="T87" fmla="*/ 325 h 588"/>
                <a:gd name="T88" fmla="*/ 895 w 2226"/>
                <a:gd name="T89" fmla="*/ 267 h 588"/>
                <a:gd name="T90" fmla="*/ 818 w 2226"/>
                <a:gd name="T91" fmla="*/ 277 h 588"/>
                <a:gd name="T92" fmla="*/ 1595 w 2226"/>
                <a:gd name="T93" fmla="*/ 588 h 588"/>
                <a:gd name="T94" fmla="*/ 1393 w 2226"/>
                <a:gd name="T95" fmla="*/ 532 h 588"/>
                <a:gd name="T96" fmla="*/ 1483 w 2226"/>
                <a:gd name="T97" fmla="*/ 465 h 588"/>
                <a:gd name="T98" fmla="*/ 1638 w 2226"/>
                <a:gd name="T99" fmla="*/ 480 h 588"/>
                <a:gd name="T100" fmla="*/ 1609 w 2226"/>
                <a:gd name="T101" fmla="*/ 434 h 588"/>
                <a:gd name="T102" fmla="*/ 1433 w 2226"/>
                <a:gd name="T103" fmla="*/ 371 h 588"/>
                <a:gd name="T104" fmla="*/ 1410 w 2226"/>
                <a:gd name="T105" fmla="*/ 261 h 588"/>
                <a:gd name="T106" fmla="*/ 1497 w 2226"/>
                <a:gd name="T107" fmla="*/ 166 h 588"/>
                <a:gd name="T108" fmla="*/ 1713 w 2226"/>
                <a:gd name="T109" fmla="*/ 174 h 588"/>
                <a:gd name="T110" fmla="*/ 1716 w 2226"/>
                <a:gd name="T111" fmla="*/ 292 h 588"/>
                <a:gd name="T112" fmla="*/ 1568 w 2226"/>
                <a:gd name="T113" fmla="*/ 256 h 588"/>
                <a:gd name="T114" fmla="*/ 1563 w 2226"/>
                <a:gd name="T115" fmla="*/ 299 h 588"/>
                <a:gd name="T116" fmla="*/ 1752 w 2226"/>
                <a:gd name="T117" fmla="*/ 356 h 588"/>
                <a:gd name="T118" fmla="*/ 1787 w 2226"/>
                <a:gd name="T119" fmla="*/ 458 h 588"/>
                <a:gd name="T120" fmla="*/ 1721 w 2226"/>
                <a:gd name="T121" fmla="*/ 55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26" h="588">
                  <a:moveTo>
                    <a:pt x="2065" y="439"/>
                  </a:moveTo>
                  <a:lnTo>
                    <a:pt x="2065" y="391"/>
                  </a:lnTo>
                  <a:lnTo>
                    <a:pt x="2064" y="389"/>
                  </a:lnTo>
                  <a:lnTo>
                    <a:pt x="2063" y="388"/>
                  </a:lnTo>
                  <a:lnTo>
                    <a:pt x="2061" y="387"/>
                  </a:lnTo>
                  <a:lnTo>
                    <a:pt x="2060" y="387"/>
                  </a:lnTo>
                  <a:lnTo>
                    <a:pt x="2047" y="388"/>
                  </a:lnTo>
                  <a:lnTo>
                    <a:pt x="2035" y="389"/>
                  </a:lnTo>
                  <a:lnTo>
                    <a:pt x="2024" y="390"/>
                  </a:lnTo>
                  <a:lnTo>
                    <a:pt x="2014" y="392"/>
                  </a:lnTo>
                  <a:lnTo>
                    <a:pt x="2004" y="395"/>
                  </a:lnTo>
                  <a:lnTo>
                    <a:pt x="1996" y="397"/>
                  </a:lnTo>
                  <a:lnTo>
                    <a:pt x="1988" y="400"/>
                  </a:lnTo>
                  <a:lnTo>
                    <a:pt x="1981" y="403"/>
                  </a:lnTo>
                  <a:lnTo>
                    <a:pt x="1976" y="407"/>
                  </a:lnTo>
                  <a:lnTo>
                    <a:pt x="1971" y="411"/>
                  </a:lnTo>
                  <a:lnTo>
                    <a:pt x="1966" y="415"/>
                  </a:lnTo>
                  <a:lnTo>
                    <a:pt x="1963" y="420"/>
                  </a:lnTo>
                  <a:lnTo>
                    <a:pt x="1960" y="425"/>
                  </a:lnTo>
                  <a:lnTo>
                    <a:pt x="1958" y="430"/>
                  </a:lnTo>
                  <a:lnTo>
                    <a:pt x="1957" y="435"/>
                  </a:lnTo>
                  <a:lnTo>
                    <a:pt x="1957" y="441"/>
                  </a:lnTo>
                  <a:lnTo>
                    <a:pt x="1957" y="445"/>
                  </a:lnTo>
                  <a:lnTo>
                    <a:pt x="1958" y="448"/>
                  </a:lnTo>
                  <a:lnTo>
                    <a:pt x="1958" y="451"/>
                  </a:lnTo>
                  <a:lnTo>
                    <a:pt x="1959" y="454"/>
                  </a:lnTo>
                  <a:lnTo>
                    <a:pt x="1961" y="457"/>
                  </a:lnTo>
                  <a:lnTo>
                    <a:pt x="1963" y="459"/>
                  </a:lnTo>
                  <a:lnTo>
                    <a:pt x="1965" y="461"/>
                  </a:lnTo>
                  <a:lnTo>
                    <a:pt x="1967" y="463"/>
                  </a:lnTo>
                  <a:lnTo>
                    <a:pt x="1972" y="467"/>
                  </a:lnTo>
                  <a:lnTo>
                    <a:pt x="1975" y="468"/>
                  </a:lnTo>
                  <a:lnTo>
                    <a:pt x="1978" y="469"/>
                  </a:lnTo>
                  <a:lnTo>
                    <a:pt x="1984" y="470"/>
                  </a:lnTo>
                  <a:lnTo>
                    <a:pt x="1991" y="471"/>
                  </a:lnTo>
                  <a:lnTo>
                    <a:pt x="2005" y="470"/>
                  </a:lnTo>
                  <a:lnTo>
                    <a:pt x="2011" y="470"/>
                  </a:lnTo>
                  <a:lnTo>
                    <a:pt x="2017" y="469"/>
                  </a:lnTo>
                  <a:lnTo>
                    <a:pt x="2023" y="468"/>
                  </a:lnTo>
                  <a:lnTo>
                    <a:pt x="2028" y="467"/>
                  </a:lnTo>
                  <a:lnTo>
                    <a:pt x="2037" y="464"/>
                  </a:lnTo>
                  <a:lnTo>
                    <a:pt x="2045" y="461"/>
                  </a:lnTo>
                  <a:lnTo>
                    <a:pt x="2051" y="458"/>
                  </a:lnTo>
                  <a:lnTo>
                    <a:pt x="2056" y="454"/>
                  </a:lnTo>
                  <a:lnTo>
                    <a:pt x="2059" y="452"/>
                  </a:lnTo>
                  <a:lnTo>
                    <a:pt x="2061" y="450"/>
                  </a:lnTo>
                  <a:lnTo>
                    <a:pt x="2063" y="447"/>
                  </a:lnTo>
                  <a:lnTo>
                    <a:pt x="2064" y="443"/>
                  </a:lnTo>
                  <a:lnTo>
                    <a:pt x="2065" y="440"/>
                  </a:lnTo>
                  <a:lnTo>
                    <a:pt x="2065" y="439"/>
                  </a:lnTo>
                  <a:close/>
                  <a:moveTo>
                    <a:pt x="2225" y="572"/>
                  </a:moveTo>
                  <a:lnTo>
                    <a:pt x="2226" y="575"/>
                  </a:lnTo>
                  <a:lnTo>
                    <a:pt x="2225" y="577"/>
                  </a:lnTo>
                  <a:lnTo>
                    <a:pt x="2225" y="578"/>
                  </a:lnTo>
                  <a:lnTo>
                    <a:pt x="2224" y="579"/>
                  </a:lnTo>
                  <a:lnTo>
                    <a:pt x="2221" y="579"/>
                  </a:lnTo>
                  <a:lnTo>
                    <a:pt x="2220" y="579"/>
                  </a:lnTo>
                  <a:lnTo>
                    <a:pt x="2081" y="579"/>
                  </a:lnTo>
                  <a:lnTo>
                    <a:pt x="2079" y="579"/>
                  </a:lnTo>
                  <a:lnTo>
                    <a:pt x="2077" y="579"/>
                  </a:lnTo>
                  <a:lnTo>
                    <a:pt x="2074" y="577"/>
                  </a:lnTo>
                  <a:lnTo>
                    <a:pt x="2073" y="574"/>
                  </a:lnTo>
                  <a:lnTo>
                    <a:pt x="2072" y="572"/>
                  </a:lnTo>
                  <a:lnTo>
                    <a:pt x="2069" y="560"/>
                  </a:lnTo>
                  <a:lnTo>
                    <a:pt x="2067" y="548"/>
                  </a:lnTo>
                  <a:lnTo>
                    <a:pt x="2065" y="537"/>
                  </a:lnTo>
                  <a:lnTo>
                    <a:pt x="2065" y="526"/>
                  </a:lnTo>
                  <a:lnTo>
                    <a:pt x="2064" y="524"/>
                  </a:lnTo>
                  <a:lnTo>
                    <a:pt x="2064" y="522"/>
                  </a:lnTo>
                  <a:lnTo>
                    <a:pt x="2063" y="522"/>
                  </a:lnTo>
                  <a:lnTo>
                    <a:pt x="2062" y="522"/>
                  </a:lnTo>
                  <a:lnTo>
                    <a:pt x="2061" y="523"/>
                  </a:lnTo>
                  <a:lnTo>
                    <a:pt x="2060" y="524"/>
                  </a:lnTo>
                  <a:lnTo>
                    <a:pt x="2054" y="531"/>
                  </a:lnTo>
                  <a:lnTo>
                    <a:pt x="2048" y="537"/>
                  </a:lnTo>
                  <a:lnTo>
                    <a:pt x="2042" y="544"/>
                  </a:lnTo>
                  <a:lnTo>
                    <a:pt x="2035" y="549"/>
                  </a:lnTo>
                  <a:lnTo>
                    <a:pt x="2028" y="555"/>
                  </a:lnTo>
                  <a:lnTo>
                    <a:pt x="2021" y="560"/>
                  </a:lnTo>
                  <a:lnTo>
                    <a:pt x="2013" y="564"/>
                  </a:lnTo>
                  <a:lnTo>
                    <a:pt x="2005" y="569"/>
                  </a:lnTo>
                  <a:lnTo>
                    <a:pt x="1996" y="573"/>
                  </a:lnTo>
                  <a:lnTo>
                    <a:pt x="1987" y="576"/>
                  </a:lnTo>
                  <a:lnTo>
                    <a:pt x="1978" y="579"/>
                  </a:lnTo>
                  <a:lnTo>
                    <a:pt x="1968" y="581"/>
                  </a:lnTo>
                  <a:lnTo>
                    <a:pt x="1958" y="583"/>
                  </a:lnTo>
                  <a:lnTo>
                    <a:pt x="1948" y="584"/>
                  </a:lnTo>
                  <a:lnTo>
                    <a:pt x="1937" y="585"/>
                  </a:lnTo>
                  <a:lnTo>
                    <a:pt x="1925" y="586"/>
                  </a:lnTo>
                  <a:lnTo>
                    <a:pt x="1914" y="585"/>
                  </a:lnTo>
                  <a:lnTo>
                    <a:pt x="1903" y="584"/>
                  </a:lnTo>
                  <a:lnTo>
                    <a:pt x="1892" y="582"/>
                  </a:lnTo>
                  <a:lnTo>
                    <a:pt x="1881" y="579"/>
                  </a:lnTo>
                  <a:lnTo>
                    <a:pt x="1871" y="574"/>
                  </a:lnTo>
                  <a:lnTo>
                    <a:pt x="1861" y="570"/>
                  </a:lnTo>
                  <a:lnTo>
                    <a:pt x="1856" y="567"/>
                  </a:lnTo>
                  <a:lnTo>
                    <a:pt x="1851" y="564"/>
                  </a:lnTo>
                  <a:lnTo>
                    <a:pt x="1843" y="557"/>
                  </a:lnTo>
                  <a:lnTo>
                    <a:pt x="1835" y="549"/>
                  </a:lnTo>
                  <a:lnTo>
                    <a:pt x="1827" y="540"/>
                  </a:lnTo>
                  <a:lnTo>
                    <a:pt x="1824" y="536"/>
                  </a:lnTo>
                  <a:lnTo>
                    <a:pt x="1821" y="531"/>
                  </a:lnTo>
                  <a:lnTo>
                    <a:pt x="1816" y="520"/>
                  </a:lnTo>
                  <a:lnTo>
                    <a:pt x="1813" y="514"/>
                  </a:lnTo>
                  <a:lnTo>
                    <a:pt x="1811" y="508"/>
                  </a:lnTo>
                  <a:lnTo>
                    <a:pt x="1808" y="495"/>
                  </a:lnTo>
                  <a:lnTo>
                    <a:pt x="1806" y="481"/>
                  </a:lnTo>
                  <a:lnTo>
                    <a:pt x="1806" y="474"/>
                  </a:lnTo>
                  <a:lnTo>
                    <a:pt x="1805" y="466"/>
                  </a:lnTo>
                  <a:lnTo>
                    <a:pt x="1806" y="458"/>
                  </a:lnTo>
                  <a:lnTo>
                    <a:pt x="1806" y="449"/>
                  </a:lnTo>
                  <a:lnTo>
                    <a:pt x="1808" y="441"/>
                  </a:lnTo>
                  <a:lnTo>
                    <a:pt x="1809" y="433"/>
                  </a:lnTo>
                  <a:lnTo>
                    <a:pt x="1812" y="425"/>
                  </a:lnTo>
                  <a:lnTo>
                    <a:pt x="1814" y="418"/>
                  </a:lnTo>
                  <a:lnTo>
                    <a:pt x="1818" y="410"/>
                  </a:lnTo>
                  <a:lnTo>
                    <a:pt x="1822" y="403"/>
                  </a:lnTo>
                  <a:lnTo>
                    <a:pt x="1826" y="396"/>
                  </a:lnTo>
                  <a:lnTo>
                    <a:pt x="1831" y="390"/>
                  </a:lnTo>
                  <a:lnTo>
                    <a:pt x="1836" y="383"/>
                  </a:lnTo>
                  <a:lnTo>
                    <a:pt x="1842" y="377"/>
                  </a:lnTo>
                  <a:lnTo>
                    <a:pt x="1848" y="371"/>
                  </a:lnTo>
                  <a:lnTo>
                    <a:pt x="1855" y="365"/>
                  </a:lnTo>
                  <a:lnTo>
                    <a:pt x="1862" y="360"/>
                  </a:lnTo>
                  <a:lnTo>
                    <a:pt x="1869" y="355"/>
                  </a:lnTo>
                  <a:lnTo>
                    <a:pt x="1886" y="345"/>
                  </a:lnTo>
                  <a:lnTo>
                    <a:pt x="1895" y="341"/>
                  </a:lnTo>
                  <a:lnTo>
                    <a:pt x="1905" y="337"/>
                  </a:lnTo>
                  <a:lnTo>
                    <a:pt x="1915" y="333"/>
                  </a:lnTo>
                  <a:lnTo>
                    <a:pt x="1926" y="329"/>
                  </a:lnTo>
                  <a:lnTo>
                    <a:pt x="1948" y="323"/>
                  </a:lnTo>
                  <a:lnTo>
                    <a:pt x="1960" y="320"/>
                  </a:lnTo>
                  <a:lnTo>
                    <a:pt x="1973" y="317"/>
                  </a:lnTo>
                  <a:lnTo>
                    <a:pt x="1999" y="313"/>
                  </a:lnTo>
                  <a:lnTo>
                    <a:pt x="2013" y="311"/>
                  </a:lnTo>
                  <a:lnTo>
                    <a:pt x="2027" y="310"/>
                  </a:lnTo>
                  <a:lnTo>
                    <a:pt x="2057" y="308"/>
                  </a:lnTo>
                  <a:lnTo>
                    <a:pt x="2061" y="307"/>
                  </a:lnTo>
                  <a:lnTo>
                    <a:pt x="2064" y="306"/>
                  </a:lnTo>
                  <a:lnTo>
                    <a:pt x="2065" y="305"/>
                  </a:lnTo>
                  <a:lnTo>
                    <a:pt x="2065" y="302"/>
                  </a:lnTo>
                  <a:lnTo>
                    <a:pt x="2064" y="295"/>
                  </a:lnTo>
                  <a:lnTo>
                    <a:pt x="2063" y="291"/>
                  </a:lnTo>
                  <a:lnTo>
                    <a:pt x="2063" y="288"/>
                  </a:lnTo>
                  <a:lnTo>
                    <a:pt x="2061" y="285"/>
                  </a:lnTo>
                  <a:lnTo>
                    <a:pt x="2060" y="282"/>
                  </a:lnTo>
                  <a:lnTo>
                    <a:pt x="2055" y="277"/>
                  </a:lnTo>
                  <a:lnTo>
                    <a:pt x="2052" y="275"/>
                  </a:lnTo>
                  <a:lnTo>
                    <a:pt x="2049" y="273"/>
                  </a:lnTo>
                  <a:lnTo>
                    <a:pt x="2045" y="271"/>
                  </a:lnTo>
                  <a:lnTo>
                    <a:pt x="2041" y="269"/>
                  </a:lnTo>
                  <a:lnTo>
                    <a:pt x="2031" y="267"/>
                  </a:lnTo>
                  <a:lnTo>
                    <a:pt x="2025" y="267"/>
                  </a:lnTo>
                  <a:lnTo>
                    <a:pt x="2018" y="267"/>
                  </a:lnTo>
                  <a:lnTo>
                    <a:pt x="2009" y="267"/>
                  </a:lnTo>
                  <a:lnTo>
                    <a:pt x="2000" y="268"/>
                  </a:lnTo>
                  <a:lnTo>
                    <a:pt x="1992" y="269"/>
                  </a:lnTo>
                  <a:lnTo>
                    <a:pt x="1983" y="270"/>
                  </a:lnTo>
                  <a:lnTo>
                    <a:pt x="1974" y="272"/>
                  </a:lnTo>
                  <a:lnTo>
                    <a:pt x="1966" y="274"/>
                  </a:lnTo>
                  <a:lnTo>
                    <a:pt x="1958" y="277"/>
                  </a:lnTo>
                  <a:lnTo>
                    <a:pt x="1950" y="280"/>
                  </a:lnTo>
                  <a:lnTo>
                    <a:pt x="1934" y="286"/>
                  </a:lnTo>
                  <a:lnTo>
                    <a:pt x="1920" y="293"/>
                  </a:lnTo>
                  <a:lnTo>
                    <a:pt x="1907" y="300"/>
                  </a:lnTo>
                  <a:lnTo>
                    <a:pt x="1895" y="308"/>
                  </a:lnTo>
                  <a:lnTo>
                    <a:pt x="1893" y="309"/>
                  </a:lnTo>
                  <a:lnTo>
                    <a:pt x="1891" y="309"/>
                  </a:lnTo>
                  <a:lnTo>
                    <a:pt x="1889" y="309"/>
                  </a:lnTo>
                  <a:lnTo>
                    <a:pt x="1888" y="309"/>
                  </a:lnTo>
                  <a:lnTo>
                    <a:pt x="1886" y="307"/>
                  </a:lnTo>
                  <a:lnTo>
                    <a:pt x="1885" y="306"/>
                  </a:lnTo>
                  <a:lnTo>
                    <a:pt x="1830" y="230"/>
                  </a:lnTo>
                  <a:lnTo>
                    <a:pt x="1828" y="227"/>
                  </a:lnTo>
                  <a:lnTo>
                    <a:pt x="1828" y="225"/>
                  </a:lnTo>
                  <a:lnTo>
                    <a:pt x="1829" y="224"/>
                  </a:lnTo>
                  <a:lnTo>
                    <a:pt x="1830" y="221"/>
                  </a:lnTo>
                  <a:lnTo>
                    <a:pt x="1831" y="220"/>
                  </a:lnTo>
                  <a:lnTo>
                    <a:pt x="1847" y="207"/>
                  </a:lnTo>
                  <a:lnTo>
                    <a:pt x="1866" y="195"/>
                  </a:lnTo>
                  <a:lnTo>
                    <a:pt x="1876" y="189"/>
                  </a:lnTo>
                  <a:lnTo>
                    <a:pt x="1887" y="184"/>
                  </a:lnTo>
                  <a:lnTo>
                    <a:pt x="1899" y="178"/>
                  </a:lnTo>
                  <a:lnTo>
                    <a:pt x="1912" y="173"/>
                  </a:lnTo>
                  <a:lnTo>
                    <a:pt x="1925" y="169"/>
                  </a:lnTo>
                  <a:lnTo>
                    <a:pt x="1939" y="165"/>
                  </a:lnTo>
                  <a:lnTo>
                    <a:pt x="1954" y="161"/>
                  </a:lnTo>
                  <a:lnTo>
                    <a:pt x="1970" y="158"/>
                  </a:lnTo>
                  <a:lnTo>
                    <a:pt x="1987" y="155"/>
                  </a:lnTo>
                  <a:lnTo>
                    <a:pt x="2005" y="153"/>
                  </a:lnTo>
                  <a:lnTo>
                    <a:pt x="2023" y="152"/>
                  </a:lnTo>
                  <a:lnTo>
                    <a:pt x="2043" y="152"/>
                  </a:lnTo>
                  <a:lnTo>
                    <a:pt x="2054" y="152"/>
                  </a:lnTo>
                  <a:lnTo>
                    <a:pt x="2065" y="152"/>
                  </a:lnTo>
                  <a:lnTo>
                    <a:pt x="2086" y="154"/>
                  </a:lnTo>
                  <a:lnTo>
                    <a:pt x="2096" y="156"/>
                  </a:lnTo>
                  <a:lnTo>
                    <a:pt x="2105" y="158"/>
                  </a:lnTo>
                  <a:lnTo>
                    <a:pt x="2114" y="160"/>
                  </a:lnTo>
                  <a:lnTo>
                    <a:pt x="2122" y="163"/>
                  </a:lnTo>
                  <a:lnTo>
                    <a:pt x="2130" y="166"/>
                  </a:lnTo>
                  <a:lnTo>
                    <a:pt x="2138" y="169"/>
                  </a:lnTo>
                  <a:lnTo>
                    <a:pt x="2145" y="172"/>
                  </a:lnTo>
                  <a:lnTo>
                    <a:pt x="2152" y="176"/>
                  </a:lnTo>
                  <a:lnTo>
                    <a:pt x="2159" y="181"/>
                  </a:lnTo>
                  <a:lnTo>
                    <a:pt x="2165" y="185"/>
                  </a:lnTo>
                  <a:lnTo>
                    <a:pt x="2170" y="190"/>
                  </a:lnTo>
                  <a:lnTo>
                    <a:pt x="2176" y="196"/>
                  </a:lnTo>
                  <a:lnTo>
                    <a:pt x="2181" y="201"/>
                  </a:lnTo>
                  <a:lnTo>
                    <a:pt x="2186" y="207"/>
                  </a:lnTo>
                  <a:lnTo>
                    <a:pt x="2190" y="214"/>
                  </a:lnTo>
                  <a:lnTo>
                    <a:pt x="2194" y="220"/>
                  </a:lnTo>
                  <a:lnTo>
                    <a:pt x="2197" y="227"/>
                  </a:lnTo>
                  <a:lnTo>
                    <a:pt x="2201" y="235"/>
                  </a:lnTo>
                  <a:lnTo>
                    <a:pt x="2204" y="242"/>
                  </a:lnTo>
                  <a:lnTo>
                    <a:pt x="2206" y="251"/>
                  </a:lnTo>
                  <a:lnTo>
                    <a:pt x="2209" y="259"/>
                  </a:lnTo>
                  <a:lnTo>
                    <a:pt x="2211" y="268"/>
                  </a:lnTo>
                  <a:lnTo>
                    <a:pt x="2212" y="277"/>
                  </a:lnTo>
                  <a:lnTo>
                    <a:pt x="2214" y="287"/>
                  </a:lnTo>
                  <a:lnTo>
                    <a:pt x="2215" y="296"/>
                  </a:lnTo>
                  <a:lnTo>
                    <a:pt x="2215" y="307"/>
                  </a:lnTo>
                  <a:lnTo>
                    <a:pt x="2216" y="317"/>
                  </a:lnTo>
                  <a:lnTo>
                    <a:pt x="2216" y="328"/>
                  </a:lnTo>
                  <a:lnTo>
                    <a:pt x="2216" y="478"/>
                  </a:lnTo>
                  <a:lnTo>
                    <a:pt x="2217" y="512"/>
                  </a:lnTo>
                  <a:lnTo>
                    <a:pt x="2218" y="539"/>
                  </a:lnTo>
                  <a:lnTo>
                    <a:pt x="2220" y="549"/>
                  </a:lnTo>
                  <a:lnTo>
                    <a:pt x="2221" y="559"/>
                  </a:lnTo>
                  <a:lnTo>
                    <a:pt x="2223" y="566"/>
                  </a:lnTo>
                  <a:lnTo>
                    <a:pt x="2225" y="572"/>
                  </a:lnTo>
                  <a:close/>
                  <a:moveTo>
                    <a:pt x="1869" y="7"/>
                  </a:moveTo>
                  <a:lnTo>
                    <a:pt x="1869" y="5"/>
                  </a:lnTo>
                  <a:lnTo>
                    <a:pt x="1870" y="3"/>
                  </a:lnTo>
                  <a:lnTo>
                    <a:pt x="1873" y="0"/>
                  </a:lnTo>
                  <a:lnTo>
                    <a:pt x="1875" y="0"/>
                  </a:lnTo>
                  <a:lnTo>
                    <a:pt x="1877" y="0"/>
                  </a:lnTo>
                  <a:lnTo>
                    <a:pt x="1987" y="0"/>
                  </a:lnTo>
                  <a:lnTo>
                    <a:pt x="1989" y="0"/>
                  </a:lnTo>
                  <a:lnTo>
                    <a:pt x="1991" y="1"/>
                  </a:lnTo>
                  <a:lnTo>
                    <a:pt x="1994" y="3"/>
                  </a:lnTo>
                  <a:lnTo>
                    <a:pt x="1994" y="6"/>
                  </a:lnTo>
                  <a:lnTo>
                    <a:pt x="1995" y="7"/>
                  </a:lnTo>
                  <a:lnTo>
                    <a:pt x="1995" y="121"/>
                  </a:lnTo>
                  <a:lnTo>
                    <a:pt x="1994" y="123"/>
                  </a:lnTo>
                  <a:lnTo>
                    <a:pt x="1993" y="125"/>
                  </a:lnTo>
                  <a:lnTo>
                    <a:pt x="1991" y="128"/>
                  </a:lnTo>
                  <a:lnTo>
                    <a:pt x="1988" y="128"/>
                  </a:lnTo>
                  <a:lnTo>
                    <a:pt x="1987" y="129"/>
                  </a:lnTo>
                  <a:lnTo>
                    <a:pt x="1877" y="129"/>
                  </a:lnTo>
                  <a:lnTo>
                    <a:pt x="1874" y="128"/>
                  </a:lnTo>
                  <a:lnTo>
                    <a:pt x="1872" y="127"/>
                  </a:lnTo>
                  <a:lnTo>
                    <a:pt x="1870" y="125"/>
                  </a:lnTo>
                  <a:lnTo>
                    <a:pt x="1869" y="122"/>
                  </a:lnTo>
                  <a:lnTo>
                    <a:pt x="1869" y="121"/>
                  </a:lnTo>
                  <a:lnTo>
                    <a:pt x="1869" y="7"/>
                  </a:lnTo>
                  <a:close/>
                  <a:moveTo>
                    <a:pt x="2047" y="121"/>
                  </a:moveTo>
                  <a:lnTo>
                    <a:pt x="2047" y="7"/>
                  </a:lnTo>
                  <a:lnTo>
                    <a:pt x="2047" y="5"/>
                  </a:lnTo>
                  <a:lnTo>
                    <a:pt x="2048" y="3"/>
                  </a:lnTo>
                  <a:lnTo>
                    <a:pt x="2051" y="0"/>
                  </a:lnTo>
                  <a:lnTo>
                    <a:pt x="2053" y="0"/>
                  </a:lnTo>
                  <a:lnTo>
                    <a:pt x="2054" y="0"/>
                  </a:lnTo>
                  <a:lnTo>
                    <a:pt x="2165" y="0"/>
                  </a:lnTo>
                  <a:lnTo>
                    <a:pt x="2167" y="0"/>
                  </a:lnTo>
                  <a:lnTo>
                    <a:pt x="2169" y="1"/>
                  </a:lnTo>
                  <a:lnTo>
                    <a:pt x="2171" y="3"/>
                  </a:lnTo>
                  <a:lnTo>
                    <a:pt x="2172" y="6"/>
                  </a:lnTo>
                  <a:lnTo>
                    <a:pt x="2172" y="7"/>
                  </a:lnTo>
                  <a:lnTo>
                    <a:pt x="2172" y="121"/>
                  </a:lnTo>
                  <a:lnTo>
                    <a:pt x="2172" y="123"/>
                  </a:lnTo>
                  <a:lnTo>
                    <a:pt x="2171" y="125"/>
                  </a:lnTo>
                  <a:lnTo>
                    <a:pt x="2169" y="127"/>
                  </a:lnTo>
                  <a:lnTo>
                    <a:pt x="2166" y="128"/>
                  </a:lnTo>
                  <a:lnTo>
                    <a:pt x="2165" y="128"/>
                  </a:lnTo>
                  <a:lnTo>
                    <a:pt x="2054" y="128"/>
                  </a:lnTo>
                  <a:lnTo>
                    <a:pt x="2052" y="128"/>
                  </a:lnTo>
                  <a:lnTo>
                    <a:pt x="2050" y="127"/>
                  </a:lnTo>
                  <a:lnTo>
                    <a:pt x="2048" y="125"/>
                  </a:lnTo>
                  <a:lnTo>
                    <a:pt x="2047" y="122"/>
                  </a:lnTo>
                  <a:lnTo>
                    <a:pt x="2047" y="121"/>
                  </a:lnTo>
                  <a:close/>
                  <a:moveTo>
                    <a:pt x="1274" y="585"/>
                  </a:moveTo>
                  <a:lnTo>
                    <a:pt x="1249" y="584"/>
                  </a:lnTo>
                  <a:lnTo>
                    <a:pt x="1226" y="583"/>
                  </a:lnTo>
                  <a:lnTo>
                    <a:pt x="1207" y="580"/>
                  </a:lnTo>
                  <a:lnTo>
                    <a:pt x="1190" y="576"/>
                  </a:lnTo>
                  <a:lnTo>
                    <a:pt x="1175" y="571"/>
                  </a:lnTo>
                  <a:lnTo>
                    <a:pt x="1168" y="568"/>
                  </a:lnTo>
                  <a:lnTo>
                    <a:pt x="1162" y="565"/>
                  </a:lnTo>
                  <a:lnTo>
                    <a:pt x="1156" y="561"/>
                  </a:lnTo>
                  <a:lnTo>
                    <a:pt x="1151" y="558"/>
                  </a:lnTo>
                  <a:lnTo>
                    <a:pt x="1149" y="556"/>
                  </a:lnTo>
                  <a:lnTo>
                    <a:pt x="1147" y="554"/>
                  </a:lnTo>
                  <a:lnTo>
                    <a:pt x="1143" y="550"/>
                  </a:lnTo>
                  <a:lnTo>
                    <a:pt x="1139" y="545"/>
                  </a:lnTo>
                  <a:lnTo>
                    <a:pt x="1135" y="541"/>
                  </a:lnTo>
                  <a:lnTo>
                    <a:pt x="1130" y="531"/>
                  </a:lnTo>
                  <a:lnTo>
                    <a:pt x="1127" y="525"/>
                  </a:lnTo>
                  <a:lnTo>
                    <a:pt x="1125" y="520"/>
                  </a:lnTo>
                  <a:lnTo>
                    <a:pt x="1122" y="508"/>
                  </a:lnTo>
                  <a:lnTo>
                    <a:pt x="1121" y="502"/>
                  </a:lnTo>
                  <a:lnTo>
                    <a:pt x="1120" y="496"/>
                  </a:lnTo>
                  <a:lnTo>
                    <a:pt x="1119" y="482"/>
                  </a:lnTo>
                  <a:lnTo>
                    <a:pt x="1118" y="468"/>
                  </a:lnTo>
                  <a:lnTo>
                    <a:pt x="1118" y="453"/>
                  </a:lnTo>
                  <a:lnTo>
                    <a:pt x="1118" y="278"/>
                  </a:lnTo>
                  <a:lnTo>
                    <a:pt x="1117" y="276"/>
                  </a:lnTo>
                  <a:lnTo>
                    <a:pt x="1117" y="274"/>
                  </a:lnTo>
                  <a:lnTo>
                    <a:pt x="1114" y="272"/>
                  </a:lnTo>
                  <a:lnTo>
                    <a:pt x="1111" y="271"/>
                  </a:lnTo>
                  <a:lnTo>
                    <a:pt x="1110" y="271"/>
                  </a:lnTo>
                  <a:lnTo>
                    <a:pt x="1067" y="271"/>
                  </a:lnTo>
                  <a:lnTo>
                    <a:pt x="1064" y="270"/>
                  </a:lnTo>
                  <a:lnTo>
                    <a:pt x="1062" y="269"/>
                  </a:lnTo>
                  <a:lnTo>
                    <a:pt x="1060" y="267"/>
                  </a:lnTo>
                  <a:lnTo>
                    <a:pt x="1059" y="264"/>
                  </a:lnTo>
                  <a:lnTo>
                    <a:pt x="1059" y="263"/>
                  </a:lnTo>
                  <a:lnTo>
                    <a:pt x="1059" y="167"/>
                  </a:lnTo>
                  <a:lnTo>
                    <a:pt x="1059" y="164"/>
                  </a:lnTo>
                  <a:lnTo>
                    <a:pt x="1060" y="162"/>
                  </a:lnTo>
                  <a:lnTo>
                    <a:pt x="1063" y="160"/>
                  </a:lnTo>
                  <a:lnTo>
                    <a:pt x="1065" y="159"/>
                  </a:lnTo>
                  <a:lnTo>
                    <a:pt x="1067" y="159"/>
                  </a:lnTo>
                  <a:lnTo>
                    <a:pt x="1110" y="159"/>
                  </a:lnTo>
                  <a:lnTo>
                    <a:pt x="1113" y="159"/>
                  </a:lnTo>
                  <a:lnTo>
                    <a:pt x="1115" y="158"/>
                  </a:lnTo>
                  <a:lnTo>
                    <a:pt x="1117" y="157"/>
                  </a:lnTo>
                  <a:lnTo>
                    <a:pt x="1118" y="156"/>
                  </a:lnTo>
                  <a:lnTo>
                    <a:pt x="1120" y="153"/>
                  </a:lnTo>
                  <a:lnTo>
                    <a:pt x="1121" y="152"/>
                  </a:lnTo>
                  <a:lnTo>
                    <a:pt x="1170" y="25"/>
                  </a:lnTo>
                  <a:lnTo>
                    <a:pt x="1171" y="23"/>
                  </a:lnTo>
                  <a:lnTo>
                    <a:pt x="1173" y="21"/>
                  </a:lnTo>
                  <a:lnTo>
                    <a:pt x="1175" y="20"/>
                  </a:lnTo>
                  <a:lnTo>
                    <a:pt x="1176" y="19"/>
                  </a:lnTo>
                  <a:lnTo>
                    <a:pt x="1179" y="18"/>
                  </a:lnTo>
                  <a:lnTo>
                    <a:pt x="1180" y="18"/>
                  </a:lnTo>
                  <a:lnTo>
                    <a:pt x="1265" y="18"/>
                  </a:lnTo>
                  <a:lnTo>
                    <a:pt x="1268" y="19"/>
                  </a:lnTo>
                  <a:lnTo>
                    <a:pt x="1270" y="19"/>
                  </a:lnTo>
                  <a:lnTo>
                    <a:pt x="1272" y="22"/>
                  </a:lnTo>
                  <a:lnTo>
                    <a:pt x="1273" y="25"/>
                  </a:lnTo>
                  <a:lnTo>
                    <a:pt x="1273" y="26"/>
                  </a:lnTo>
                  <a:lnTo>
                    <a:pt x="1273" y="152"/>
                  </a:lnTo>
                  <a:lnTo>
                    <a:pt x="1273" y="154"/>
                  </a:lnTo>
                  <a:lnTo>
                    <a:pt x="1274" y="156"/>
                  </a:lnTo>
                  <a:lnTo>
                    <a:pt x="1277" y="158"/>
                  </a:lnTo>
                  <a:lnTo>
                    <a:pt x="1279" y="159"/>
                  </a:lnTo>
                  <a:lnTo>
                    <a:pt x="1281" y="159"/>
                  </a:lnTo>
                  <a:lnTo>
                    <a:pt x="1374" y="159"/>
                  </a:lnTo>
                  <a:lnTo>
                    <a:pt x="1376" y="160"/>
                  </a:lnTo>
                  <a:lnTo>
                    <a:pt x="1378" y="161"/>
                  </a:lnTo>
                  <a:lnTo>
                    <a:pt x="1381" y="163"/>
                  </a:lnTo>
                  <a:lnTo>
                    <a:pt x="1381" y="166"/>
                  </a:lnTo>
                  <a:lnTo>
                    <a:pt x="1381" y="167"/>
                  </a:lnTo>
                  <a:lnTo>
                    <a:pt x="1381" y="263"/>
                  </a:lnTo>
                  <a:lnTo>
                    <a:pt x="1381" y="266"/>
                  </a:lnTo>
                  <a:lnTo>
                    <a:pt x="1380" y="268"/>
                  </a:lnTo>
                  <a:lnTo>
                    <a:pt x="1378" y="270"/>
                  </a:lnTo>
                  <a:lnTo>
                    <a:pt x="1375" y="271"/>
                  </a:lnTo>
                  <a:lnTo>
                    <a:pt x="1374" y="271"/>
                  </a:lnTo>
                  <a:lnTo>
                    <a:pt x="1281" y="271"/>
                  </a:lnTo>
                  <a:lnTo>
                    <a:pt x="1278" y="271"/>
                  </a:lnTo>
                  <a:lnTo>
                    <a:pt x="1276" y="272"/>
                  </a:lnTo>
                  <a:lnTo>
                    <a:pt x="1274" y="275"/>
                  </a:lnTo>
                  <a:lnTo>
                    <a:pt x="1273" y="277"/>
                  </a:lnTo>
                  <a:lnTo>
                    <a:pt x="1273" y="278"/>
                  </a:lnTo>
                  <a:lnTo>
                    <a:pt x="1273" y="419"/>
                  </a:lnTo>
                  <a:lnTo>
                    <a:pt x="1274" y="434"/>
                  </a:lnTo>
                  <a:lnTo>
                    <a:pt x="1275" y="446"/>
                  </a:lnTo>
                  <a:lnTo>
                    <a:pt x="1277" y="452"/>
                  </a:lnTo>
                  <a:lnTo>
                    <a:pt x="1279" y="456"/>
                  </a:lnTo>
                  <a:lnTo>
                    <a:pt x="1281" y="460"/>
                  </a:lnTo>
                  <a:lnTo>
                    <a:pt x="1284" y="463"/>
                  </a:lnTo>
                  <a:lnTo>
                    <a:pt x="1287" y="466"/>
                  </a:lnTo>
                  <a:lnTo>
                    <a:pt x="1291" y="469"/>
                  </a:lnTo>
                  <a:lnTo>
                    <a:pt x="1296" y="471"/>
                  </a:lnTo>
                  <a:lnTo>
                    <a:pt x="1301" y="472"/>
                  </a:lnTo>
                  <a:lnTo>
                    <a:pt x="1307" y="473"/>
                  </a:lnTo>
                  <a:lnTo>
                    <a:pt x="1313" y="474"/>
                  </a:lnTo>
                  <a:lnTo>
                    <a:pt x="1320" y="474"/>
                  </a:lnTo>
                  <a:lnTo>
                    <a:pt x="1328" y="475"/>
                  </a:lnTo>
                  <a:lnTo>
                    <a:pt x="1340" y="474"/>
                  </a:lnTo>
                  <a:lnTo>
                    <a:pt x="1351" y="473"/>
                  </a:lnTo>
                  <a:lnTo>
                    <a:pt x="1361" y="472"/>
                  </a:lnTo>
                  <a:lnTo>
                    <a:pt x="1366" y="471"/>
                  </a:lnTo>
                  <a:lnTo>
                    <a:pt x="1367" y="471"/>
                  </a:lnTo>
                  <a:lnTo>
                    <a:pt x="1368" y="471"/>
                  </a:lnTo>
                  <a:lnTo>
                    <a:pt x="1369" y="474"/>
                  </a:lnTo>
                  <a:lnTo>
                    <a:pt x="1370" y="477"/>
                  </a:lnTo>
                  <a:lnTo>
                    <a:pt x="1370" y="564"/>
                  </a:lnTo>
                  <a:lnTo>
                    <a:pt x="1369" y="569"/>
                  </a:lnTo>
                  <a:lnTo>
                    <a:pt x="1369" y="572"/>
                  </a:lnTo>
                  <a:lnTo>
                    <a:pt x="1368" y="575"/>
                  </a:lnTo>
                  <a:lnTo>
                    <a:pt x="1366" y="577"/>
                  </a:lnTo>
                  <a:lnTo>
                    <a:pt x="1364" y="578"/>
                  </a:lnTo>
                  <a:lnTo>
                    <a:pt x="1362" y="579"/>
                  </a:lnTo>
                  <a:lnTo>
                    <a:pt x="1358" y="580"/>
                  </a:lnTo>
                  <a:lnTo>
                    <a:pt x="1340" y="582"/>
                  </a:lnTo>
                  <a:lnTo>
                    <a:pt x="1317" y="583"/>
                  </a:lnTo>
                  <a:lnTo>
                    <a:pt x="1294" y="584"/>
                  </a:lnTo>
                  <a:lnTo>
                    <a:pt x="1274" y="585"/>
                  </a:lnTo>
                  <a:close/>
                  <a:moveTo>
                    <a:pt x="0" y="572"/>
                  </a:moveTo>
                  <a:lnTo>
                    <a:pt x="0" y="7"/>
                  </a:lnTo>
                  <a:lnTo>
                    <a:pt x="0" y="5"/>
                  </a:lnTo>
                  <a:lnTo>
                    <a:pt x="1" y="3"/>
                  </a:lnTo>
                  <a:lnTo>
                    <a:pt x="4" y="1"/>
                  </a:lnTo>
                  <a:lnTo>
                    <a:pt x="6" y="0"/>
                  </a:lnTo>
                  <a:lnTo>
                    <a:pt x="7" y="0"/>
                  </a:lnTo>
                  <a:lnTo>
                    <a:pt x="200" y="0"/>
                  </a:lnTo>
                  <a:lnTo>
                    <a:pt x="202" y="0"/>
                  </a:lnTo>
                  <a:lnTo>
                    <a:pt x="204" y="1"/>
                  </a:lnTo>
                  <a:lnTo>
                    <a:pt x="206" y="2"/>
                  </a:lnTo>
                  <a:lnTo>
                    <a:pt x="207" y="3"/>
                  </a:lnTo>
                  <a:lnTo>
                    <a:pt x="209" y="6"/>
                  </a:lnTo>
                  <a:lnTo>
                    <a:pt x="209" y="7"/>
                  </a:lnTo>
                  <a:lnTo>
                    <a:pt x="307" y="386"/>
                  </a:lnTo>
                  <a:lnTo>
                    <a:pt x="307" y="387"/>
                  </a:lnTo>
                  <a:lnTo>
                    <a:pt x="308" y="388"/>
                  </a:lnTo>
                  <a:lnTo>
                    <a:pt x="310" y="389"/>
                  </a:lnTo>
                  <a:lnTo>
                    <a:pt x="312" y="389"/>
                  </a:lnTo>
                  <a:lnTo>
                    <a:pt x="313" y="387"/>
                  </a:lnTo>
                  <a:lnTo>
                    <a:pt x="313" y="386"/>
                  </a:lnTo>
                  <a:lnTo>
                    <a:pt x="401" y="7"/>
                  </a:lnTo>
                  <a:lnTo>
                    <a:pt x="402" y="5"/>
                  </a:lnTo>
                  <a:lnTo>
                    <a:pt x="403" y="3"/>
                  </a:lnTo>
                  <a:lnTo>
                    <a:pt x="406" y="1"/>
                  </a:lnTo>
                  <a:lnTo>
                    <a:pt x="409" y="0"/>
                  </a:lnTo>
                  <a:lnTo>
                    <a:pt x="410" y="0"/>
                  </a:lnTo>
                  <a:lnTo>
                    <a:pt x="607" y="0"/>
                  </a:lnTo>
                  <a:lnTo>
                    <a:pt x="610" y="0"/>
                  </a:lnTo>
                  <a:lnTo>
                    <a:pt x="611" y="1"/>
                  </a:lnTo>
                  <a:lnTo>
                    <a:pt x="614" y="4"/>
                  </a:lnTo>
                  <a:lnTo>
                    <a:pt x="615" y="6"/>
                  </a:lnTo>
                  <a:lnTo>
                    <a:pt x="615" y="7"/>
                  </a:lnTo>
                  <a:lnTo>
                    <a:pt x="615" y="572"/>
                  </a:lnTo>
                  <a:lnTo>
                    <a:pt x="614" y="575"/>
                  </a:lnTo>
                  <a:lnTo>
                    <a:pt x="613" y="576"/>
                  </a:lnTo>
                  <a:lnTo>
                    <a:pt x="611" y="579"/>
                  </a:lnTo>
                  <a:lnTo>
                    <a:pt x="608" y="579"/>
                  </a:lnTo>
                  <a:lnTo>
                    <a:pt x="607" y="580"/>
                  </a:lnTo>
                  <a:lnTo>
                    <a:pt x="473" y="580"/>
                  </a:lnTo>
                  <a:lnTo>
                    <a:pt x="470" y="579"/>
                  </a:lnTo>
                  <a:lnTo>
                    <a:pt x="468" y="578"/>
                  </a:lnTo>
                  <a:lnTo>
                    <a:pt x="466" y="576"/>
                  </a:lnTo>
                  <a:lnTo>
                    <a:pt x="465" y="573"/>
                  </a:lnTo>
                  <a:lnTo>
                    <a:pt x="465" y="572"/>
                  </a:lnTo>
                  <a:lnTo>
                    <a:pt x="465" y="226"/>
                  </a:lnTo>
                  <a:lnTo>
                    <a:pt x="465" y="224"/>
                  </a:lnTo>
                  <a:lnTo>
                    <a:pt x="464" y="223"/>
                  </a:lnTo>
                  <a:lnTo>
                    <a:pt x="463" y="222"/>
                  </a:lnTo>
                  <a:lnTo>
                    <a:pt x="462" y="222"/>
                  </a:lnTo>
                  <a:lnTo>
                    <a:pt x="461" y="222"/>
                  </a:lnTo>
                  <a:lnTo>
                    <a:pt x="460" y="223"/>
                  </a:lnTo>
                  <a:lnTo>
                    <a:pt x="458" y="226"/>
                  </a:lnTo>
                  <a:lnTo>
                    <a:pt x="452" y="264"/>
                  </a:lnTo>
                  <a:lnTo>
                    <a:pt x="446" y="298"/>
                  </a:lnTo>
                  <a:lnTo>
                    <a:pt x="443" y="314"/>
                  </a:lnTo>
                  <a:lnTo>
                    <a:pt x="440" y="330"/>
                  </a:lnTo>
                  <a:lnTo>
                    <a:pt x="436" y="346"/>
                  </a:lnTo>
                  <a:lnTo>
                    <a:pt x="432" y="362"/>
                  </a:lnTo>
                  <a:lnTo>
                    <a:pt x="373" y="572"/>
                  </a:lnTo>
                  <a:lnTo>
                    <a:pt x="372" y="575"/>
                  </a:lnTo>
                  <a:lnTo>
                    <a:pt x="371" y="577"/>
                  </a:lnTo>
                  <a:lnTo>
                    <a:pt x="368" y="579"/>
                  </a:lnTo>
                  <a:lnTo>
                    <a:pt x="365" y="579"/>
                  </a:lnTo>
                  <a:lnTo>
                    <a:pt x="364" y="580"/>
                  </a:lnTo>
                  <a:lnTo>
                    <a:pt x="241" y="580"/>
                  </a:lnTo>
                  <a:lnTo>
                    <a:pt x="238" y="579"/>
                  </a:lnTo>
                  <a:lnTo>
                    <a:pt x="236" y="578"/>
                  </a:lnTo>
                  <a:lnTo>
                    <a:pt x="234" y="577"/>
                  </a:lnTo>
                  <a:lnTo>
                    <a:pt x="233" y="576"/>
                  </a:lnTo>
                  <a:lnTo>
                    <a:pt x="232" y="573"/>
                  </a:lnTo>
                  <a:lnTo>
                    <a:pt x="231" y="572"/>
                  </a:lnTo>
                  <a:lnTo>
                    <a:pt x="174" y="362"/>
                  </a:lnTo>
                  <a:lnTo>
                    <a:pt x="169" y="345"/>
                  </a:lnTo>
                  <a:lnTo>
                    <a:pt x="165" y="330"/>
                  </a:lnTo>
                  <a:lnTo>
                    <a:pt x="159" y="301"/>
                  </a:lnTo>
                  <a:lnTo>
                    <a:pt x="153" y="268"/>
                  </a:lnTo>
                  <a:lnTo>
                    <a:pt x="146" y="224"/>
                  </a:lnTo>
                  <a:lnTo>
                    <a:pt x="146" y="223"/>
                  </a:lnTo>
                  <a:lnTo>
                    <a:pt x="145" y="222"/>
                  </a:lnTo>
                  <a:lnTo>
                    <a:pt x="142" y="221"/>
                  </a:lnTo>
                  <a:lnTo>
                    <a:pt x="140" y="222"/>
                  </a:lnTo>
                  <a:lnTo>
                    <a:pt x="140" y="223"/>
                  </a:lnTo>
                  <a:lnTo>
                    <a:pt x="139" y="224"/>
                  </a:lnTo>
                  <a:lnTo>
                    <a:pt x="139" y="572"/>
                  </a:lnTo>
                  <a:lnTo>
                    <a:pt x="139" y="575"/>
                  </a:lnTo>
                  <a:lnTo>
                    <a:pt x="138" y="576"/>
                  </a:lnTo>
                  <a:lnTo>
                    <a:pt x="136" y="579"/>
                  </a:lnTo>
                  <a:lnTo>
                    <a:pt x="133" y="579"/>
                  </a:lnTo>
                  <a:lnTo>
                    <a:pt x="132" y="580"/>
                  </a:lnTo>
                  <a:lnTo>
                    <a:pt x="8" y="580"/>
                  </a:lnTo>
                  <a:lnTo>
                    <a:pt x="5" y="579"/>
                  </a:lnTo>
                  <a:lnTo>
                    <a:pt x="3" y="578"/>
                  </a:lnTo>
                  <a:lnTo>
                    <a:pt x="1" y="576"/>
                  </a:lnTo>
                  <a:lnTo>
                    <a:pt x="0" y="573"/>
                  </a:lnTo>
                  <a:lnTo>
                    <a:pt x="0" y="572"/>
                  </a:lnTo>
                  <a:close/>
                  <a:moveTo>
                    <a:pt x="1063" y="408"/>
                  </a:moveTo>
                  <a:lnTo>
                    <a:pt x="1062" y="410"/>
                  </a:lnTo>
                  <a:lnTo>
                    <a:pt x="1062" y="412"/>
                  </a:lnTo>
                  <a:lnTo>
                    <a:pt x="1061" y="413"/>
                  </a:lnTo>
                  <a:lnTo>
                    <a:pt x="1060" y="414"/>
                  </a:lnTo>
                  <a:lnTo>
                    <a:pt x="1058" y="414"/>
                  </a:lnTo>
                  <a:lnTo>
                    <a:pt x="1057" y="414"/>
                  </a:lnTo>
                  <a:lnTo>
                    <a:pt x="801" y="414"/>
                  </a:lnTo>
                  <a:lnTo>
                    <a:pt x="799" y="415"/>
                  </a:lnTo>
                  <a:lnTo>
                    <a:pt x="797" y="415"/>
                  </a:lnTo>
                  <a:lnTo>
                    <a:pt x="796" y="417"/>
                  </a:lnTo>
                  <a:lnTo>
                    <a:pt x="795" y="418"/>
                  </a:lnTo>
                  <a:lnTo>
                    <a:pt x="795" y="421"/>
                  </a:lnTo>
                  <a:lnTo>
                    <a:pt x="795" y="422"/>
                  </a:lnTo>
                  <a:lnTo>
                    <a:pt x="796" y="430"/>
                  </a:lnTo>
                  <a:lnTo>
                    <a:pt x="799" y="438"/>
                  </a:lnTo>
                  <a:lnTo>
                    <a:pt x="801" y="445"/>
                  </a:lnTo>
                  <a:lnTo>
                    <a:pt x="804" y="451"/>
                  </a:lnTo>
                  <a:lnTo>
                    <a:pt x="808" y="457"/>
                  </a:lnTo>
                  <a:lnTo>
                    <a:pt x="812" y="462"/>
                  </a:lnTo>
                  <a:lnTo>
                    <a:pt x="817" y="466"/>
                  </a:lnTo>
                  <a:lnTo>
                    <a:pt x="822" y="470"/>
                  </a:lnTo>
                  <a:lnTo>
                    <a:pt x="827" y="473"/>
                  </a:lnTo>
                  <a:lnTo>
                    <a:pt x="833" y="476"/>
                  </a:lnTo>
                  <a:lnTo>
                    <a:pt x="840" y="478"/>
                  </a:lnTo>
                  <a:lnTo>
                    <a:pt x="846" y="480"/>
                  </a:lnTo>
                  <a:lnTo>
                    <a:pt x="854" y="481"/>
                  </a:lnTo>
                  <a:lnTo>
                    <a:pt x="861" y="482"/>
                  </a:lnTo>
                  <a:lnTo>
                    <a:pt x="878" y="482"/>
                  </a:lnTo>
                  <a:lnTo>
                    <a:pt x="886" y="482"/>
                  </a:lnTo>
                  <a:lnTo>
                    <a:pt x="894" y="481"/>
                  </a:lnTo>
                  <a:lnTo>
                    <a:pt x="903" y="480"/>
                  </a:lnTo>
                  <a:lnTo>
                    <a:pt x="911" y="479"/>
                  </a:lnTo>
                  <a:lnTo>
                    <a:pt x="928" y="475"/>
                  </a:lnTo>
                  <a:lnTo>
                    <a:pt x="943" y="470"/>
                  </a:lnTo>
                  <a:lnTo>
                    <a:pt x="958" y="464"/>
                  </a:lnTo>
                  <a:lnTo>
                    <a:pt x="971" y="459"/>
                  </a:lnTo>
                  <a:lnTo>
                    <a:pt x="983" y="453"/>
                  </a:lnTo>
                  <a:lnTo>
                    <a:pt x="992" y="448"/>
                  </a:lnTo>
                  <a:lnTo>
                    <a:pt x="994" y="447"/>
                  </a:lnTo>
                  <a:lnTo>
                    <a:pt x="996" y="447"/>
                  </a:lnTo>
                  <a:lnTo>
                    <a:pt x="998" y="447"/>
                  </a:lnTo>
                  <a:lnTo>
                    <a:pt x="999" y="448"/>
                  </a:lnTo>
                  <a:lnTo>
                    <a:pt x="1002" y="450"/>
                  </a:lnTo>
                  <a:lnTo>
                    <a:pt x="1050" y="531"/>
                  </a:lnTo>
                  <a:lnTo>
                    <a:pt x="1052" y="535"/>
                  </a:lnTo>
                  <a:lnTo>
                    <a:pt x="1052" y="537"/>
                  </a:lnTo>
                  <a:lnTo>
                    <a:pt x="1051" y="538"/>
                  </a:lnTo>
                  <a:lnTo>
                    <a:pt x="1051" y="540"/>
                  </a:lnTo>
                  <a:lnTo>
                    <a:pt x="1050" y="540"/>
                  </a:lnTo>
                  <a:lnTo>
                    <a:pt x="1048" y="542"/>
                  </a:lnTo>
                  <a:lnTo>
                    <a:pt x="1038" y="547"/>
                  </a:lnTo>
                  <a:lnTo>
                    <a:pt x="1028" y="553"/>
                  </a:lnTo>
                  <a:lnTo>
                    <a:pt x="1018" y="558"/>
                  </a:lnTo>
                  <a:lnTo>
                    <a:pt x="1007" y="562"/>
                  </a:lnTo>
                  <a:lnTo>
                    <a:pt x="996" y="567"/>
                  </a:lnTo>
                  <a:lnTo>
                    <a:pt x="985" y="570"/>
                  </a:lnTo>
                  <a:lnTo>
                    <a:pt x="974" y="574"/>
                  </a:lnTo>
                  <a:lnTo>
                    <a:pt x="963" y="577"/>
                  </a:lnTo>
                  <a:lnTo>
                    <a:pt x="951" y="580"/>
                  </a:lnTo>
                  <a:lnTo>
                    <a:pt x="939" y="582"/>
                  </a:lnTo>
                  <a:lnTo>
                    <a:pt x="927" y="584"/>
                  </a:lnTo>
                  <a:lnTo>
                    <a:pt x="915" y="585"/>
                  </a:lnTo>
                  <a:lnTo>
                    <a:pt x="903" y="587"/>
                  </a:lnTo>
                  <a:lnTo>
                    <a:pt x="891" y="587"/>
                  </a:lnTo>
                  <a:lnTo>
                    <a:pt x="866" y="588"/>
                  </a:lnTo>
                  <a:lnTo>
                    <a:pt x="844" y="588"/>
                  </a:lnTo>
                  <a:lnTo>
                    <a:pt x="823" y="586"/>
                  </a:lnTo>
                  <a:lnTo>
                    <a:pt x="813" y="584"/>
                  </a:lnTo>
                  <a:lnTo>
                    <a:pt x="802" y="583"/>
                  </a:lnTo>
                  <a:lnTo>
                    <a:pt x="792" y="580"/>
                  </a:lnTo>
                  <a:lnTo>
                    <a:pt x="782" y="578"/>
                  </a:lnTo>
                  <a:lnTo>
                    <a:pt x="772" y="575"/>
                  </a:lnTo>
                  <a:lnTo>
                    <a:pt x="762" y="572"/>
                  </a:lnTo>
                  <a:lnTo>
                    <a:pt x="753" y="568"/>
                  </a:lnTo>
                  <a:lnTo>
                    <a:pt x="744" y="564"/>
                  </a:lnTo>
                  <a:lnTo>
                    <a:pt x="735" y="559"/>
                  </a:lnTo>
                  <a:lnTo>
                    <a:pt x="726" y="554"/>
                  </a:lnTo>
                  <a:lnTo>
                    <a:pt x="718" y="549"/>
                  </a:lnTo>
                  <a:lnTo>
                    <a:pt x="710" y="543"/>
                  </a:lnTo>
                  <a:lnTo>
                    <a:pt x="702" y="537"/>
                  </a:lnTo>
                  <a:lnTo>
                    <a:pt x="694" y="530"/>
                  </a:lnTo>
                  <a:lnTo>
                    <a:pt x="687" y="522"/>
                  </a:lnTo>
                  <a:lnTo>
                    <a:pt x="681" y="514"/>
                  </a:lnTo>
                  <a:lnTo>
                    <a:pt x="675" y="505"/>
                  </a:lnTo>
                  <a:lnTo>
                    <a:pt x="669" y="496"/>
                  </a:lnTo>
                  <a:lnTo>
                    <a:pt x="664" y="486"/>
                  </a:lnTo>
                  <a:lnTo>
                    <a:pt x="659" y="476"/>
                  </a:lnTo>
                  <a:lnTo>
                    <a:pt x="654" y="465"/>
                  </a:lnTo>
                  <a:lnTo>
                    <a:pt x="652" y="459"/>
                  </a:lnTo>
                  <a:lnTo>
                    <a:pt x="651" y="454"/>
                  </a:lnTo>
                  <a:lnTo>
                    <a:pt x="647" y="441"/>
                  </a:lnTo>
                  <a:lnTo>
                    <a:pt x="645" y="429"/>
                  </a:lnTo>
                  <a:lnTo>
                    <a:pt x="642" y="415"/>
                  </a:lnTo>
                  <a:lnTo>
                    <a:pt x="642" y="408"/>
                  </a:lnTo>
                  <a:lnTo>
                    <a:pt x="641" y="401"/>
                  </a:lnTo>
                  <a:lnTo>
                    <a:pt x="640" y="386"/>
                  </a:lnTo>
                  <a:lnTo>
                    <a:pt x="640" y="370"/>
                  </a:lnTo>
                  <a:lnTo>
                    <a:pt x="640" y="355"/>
                  </a:lnTo>
                  <a:lnTo>
                    <a:pt x="641" y="340"/>
                  </a:lnTo>
                  <a:lnTo>
                    <a:pt x="643" y="326"/>
                  </a:lnTo>
                  <a:lnTo>
                    <a:pt x="646" y="313"/>
                  </a:lnTo>
                  <a:lnTo>
                    <a:pt x="649" y="300"/>
                  </a:lnTo>
                  <a:lnTo>
                    <a:pt x="653" y="288"/>
                  </a:lnTo>
                  <a:lnTo>
                    <a:pt x="657" y="276"/>
                  </a:lnTo>
                  <a:lnTo>
                    <a:pt x="662" y="265"/>
                  </a:lnTo>
                  <a:lnTo>
                    <a:pt x="668" y="255"/>
                  </a:lnTo>
                  <a:lnTo>
                    <a:pt x="674" y="245"/>
                  </a:lnTo>
                  <a:lnTo>
                    <a:pt x="680" y="236"/>
                  </a:lnTo>
                  <a:lnTo>
                    <a:pt x="687" y="227"/>
                  </a:lnTo>
                  <a:lnTo>
                    <a:pt x="694" y="219"/>
                  </a:lnTo>
                  <a:lnTo>
                    <a:pt x="702" y="212"/>
                  </a:lnTo>
                  <a:lnTo>
                    <a:pt x="710" y="204"/>
                  </a:lnTo>
                  <a:lnTo>
                    <a:pt x="718" y="198"/>
                  </a:lnTo>
                  <a:lnTo>
                    <a:pt x="727" y="192"/>
                  </a:lnTo>
                  <a:lnTo>
                    <a:pt x="735" y="186"/>
                  </a:lnTo>
                  <a:lnTo>
                    <a:pt x="744" y="181"/>
                  </a:lnTo>
                  <a:lnTo>
                    <a:pt x="753" y="177"/>
                  </a:lnTo>
                  <a:lnTo>
                    <a:pt x="762" y="172"/>
                  </a:lnTo>
                  <a:lnTo>
                    <a:pt x="771" y="169"/>
                  </a:lnTo>
                  <a:lnTo>
                    <a:pt x="781" y="165"/>
                  </a:lnTo>
                  <a:lnTo>
                    <a:pt x="790" y="162"/>
                  </a:lnTo>
                  <a:lnTo>
                    <a:pt x="799" y="160"/>
                  </a:lnTo>
                  <a:lnTo>
                    <a:pt x="808" y="158"/>
                  </a:lnTo>
                  <a:lnTo>
                    <a:pt x="817" y="156"/>
                  </a:lnTo>
                  <a:lnTo>
                    <a:pt x="826" y="154"/>
                  </a:lnTo>
                  <a:lnTo>
                    <a:pt x="844" y="152"/>
                  </a:lnTo>
                  <a:lnTo>
                    <a:pt x="852" y="152"/>
                  </a:lnTo>
                  <a:lnTo>
                    <a:pt x="860" y="152"/>
                  </a:lnTo>
                  <a:lnTo>
                    <a:pt x="868" y="152"/>
                  </a:lnTo>
                  <a:lnTo>
                    <a:pt x="876" y="152"/>
                  </a:lnTo>
                  <a:lnTo>
                    <a:pt x="893" y="153"/>
                  </a:lnTo>
                  <a:lnTo>
                    <a:pt x="901" y="155"/>
                  </a:lnTo>
                  <a:lnTo>
                    <a:pt x="910" y="156"/>
                  </a:lnTo>
                  <a:lnTo>
                    <a:pt x="927" y="160"/>
                  </a:lnTo>
                  <a:lnTo>
                    <a:pt x="936" y="162"/>
                  </a:lnTo>
                  <a:lnTo>
                    <a:pt x="944" y="165"/>
                  </a:lnTo>
                  <a:lnTo>
                    <a:pt x="953" y="168"/>
                  </a:lnTo>
                  <a:lnTo>
                    <a:pt x="961" y="172"/>
                  </a:lnTo>
                  <a:lnTo>
                    <a:pt x="969" y="177"/>
                  </a:lnTo>
                  <a:lnTo>
                    <a:pt x="977" y="181"/>
                  </a:lnTo>
                  <a:lnTo>
                    <a:pt x="985" y="187"/>
                  </a:lnTo>
                  <a:lnTo>
                    <a:pt x="993" y="193"/>
                  </a:lnTo>
                  <a:lnTo>
                    <a:pt x="1000" y="199"/>
                  </a:lnTo>
                  <a:lnTo>
                    <a:pt x="1007" y="207"/>
                  </a:lnTo>
                  <a:lnTo>
                    <a:pt x="1014" y="215"/>
                  </a:lnTo>
                  <a:lnTo>
                    <a:pt x="1021" y="223"/>
                  </a:lnTo>
                  <a:lnTo>
                    <a:pt x="1027" y="233"/>
                  </a:lnTo>
                  <a:lnTo>
                    <a:pt x="1032" y="243"/>
                  </a:lnTo>
                  <a:lnTo>
                    <a:pt x="1035" y="248"/>
                  </a:lnTo>
                  <a:lnTo>
                    <a:pt x="1038" y="253"/>
                  </a:lnTo>
                  <a:lnTo>
                    <a:pt x="1043" y="265"/>
                  </a:lnTo>
                  <a:lnTo>
                    <a:pt x="1047" y="278"/>
                  </a:lnTo>
                  <a:lnTo>
                    <a:pt x="1051" y="291"/>
                  </a:lnTo>
                  <a:lnTo>
                    <a:pt x="1054" y="305"/>
                  </a:lnTo>
                  <a:lnTo>
                    <a:pt x="1057" y="320"/>
                  </a:lnTo>
                  <a:lnTo>
                    <a:pt x="1060" y="336"/>
                  </a:lnTo>
                  <a:lnTo>
                    <a:pt x="1061" y="354"/>
                  </a:lnTo>
                  <a:lnTo>
                    <a:pt x="1062" y="372"/>
                  </a:lnTo>
                  <a:lnTo>
                    <a:pt x="1063" y="391"/>
                  </a:lnTo>
                  <a:lnTo>
                    <a:pt x="1063" y="408"/>
                  </a:lnTo>
                  <a:close/>
                  <a:moveTo>
                    <a:pt x="918" y="326"/>
                  </a:moveTo>
                  <a:lnTo>
                    <a:pt x="921" y="325"/>
                  </a:lnTo>
                  <a:lnTo>
                    <a:pt x="922" y="325"/>
                  </a:lnTo>
                  <a:lnTo>
                    <a:pt x="923" y="323"/>
                  </a:lnTo>
                  <a:lnTo>
                    <a:pt x="924" y="322"/>
                  </a:lnTo>
                  <a:lnTo>
                    <a:pt x="925" y="319"/>
                  </a:lnTo>
                  <a:lnTo>
                    <a:pt x="924" y="318"/>
                  </a:lnTo>
                  <a:lnTo>
                    <a:pt x="923" y="311"/>
                  </a:lnTo>
                  <a:lnTo>
                    <a:pt x="922" y="304"/>
                  </a:lnTo>
                  <a:lnTo>
                    <a:pt x="920" y="297"/>
                  </a:lnTo>
                  <a:lnTo>
                    <a:pt x="917" y="291"/>
                  </a:lnTo>
                  <a:lnTo>
                    <a:pt x="915" y="286"/>
                  </a:lnTo>
                  <a:lnTo>
                    <a:pt x="911" y="281"/>
                  </a:lnTo>
                  <a:lnTo>
                    <a:pt x="908" y="277"/>
                  </a:lnTo>
                  <a:lnTo>
                    <a:pt x="904" y="273"/>
                  </a:lnTo>
                  <a:lnTo>
                    <a:pt x="900" y="270"/>
                  </a:lnTo>
                  <a:lnTo>
                    <a:pt x="895" y="267"/>
                  </a:lnTo>
                  <a:lnTo>
                    <a:pt x="890" y="265"/>
                  </a:lnTo>
                  <a:lnTo>
                    <a:pt x="885" y="263"/>
                  </a:lnTo>
                  <a:lnTo>
                    <a:pt x="879" y="262"/>
                  </a:lnTo>
                  <a:lnTo>
                    <a:pt x="873" y="261"/>
                  </a:lnTo>
                  <a:lnTo>
                    <a:pt x="866" y="260"/>
                  </a:lnTo>
                  <a:lnTo>
                    <a:pt x="860" y="260"/>
                  </a:lnTo>
                  <a:lnTo>
                    <a:pt x="854" y="260"/>
                  </a:lnTo>
                  <a:lnTo>
                    <a:pt x="849" y="261"/>
                  </a:lnTo>
                  <a:lnTo>
                    <a:pt x="844" y="262"/>
                  </a:lnTo>
                  <a:lnTo>
                    <a:pt x="839" y="263"/>
                  </a:lnTo>
                  <a:lnTo>
                    <a:pt x="834" y="265"/>
                  </a:lnTo>
                  <a:lnTo>
                    <a:pt x="830" y="267"/>
                  </a:lnTo>
                  <a:lnTo>
                    <a:pt x="826" y="270"/>
                  </a:lnTo>
                  <a:lnTo>
                    <a:pt x="821" y="273"/>
                  </a:lnTo>
                  <a:lnTo>
                    <a:pt x="818" y="277"/>
                  </a:lnTo>
                  <a:lnTo>
                    <a:pt x="814" y="281"/>
                  </a:lnTo>
                  <a:lnTo>
                    <a:pt x="810" y="286"/>
                  </a:lnTo>
                  <a:lnTo>
                    <a:pt x="807" y="291"/>
                  </a:lnTo>
                  <a:lnTo>
                    <a:pt x="804" y="297"/>
                  </a:lnTo>
                  <a:lnTo>
                    <a:pt x="802" y="304"/>
                  </a:lnTo>
                  <a:lnTo>
                    <a:pt x="799" y="311"/>
                  </a:lnTo>
                  <a:lnTo>
                    <a:pt x="797" y="318"/>
                  </a:lnTo>
                  <a:lnTo>
                    <a:pt x="797" y="321"/>
                  </a:lnTo>
                  <a:lnTo>
                    <a:pt x="797" y="323"/>
                  </a:lnTo>
                  <a:lnTo>
                    <a:pt x="798" y="324"/>
                  </a:lnTo>
                  <a:lnTo>
                    <a:pt x="799" y="325"/>
                  </a:lnTo>
                  <a:lnTo>
                    <a:pt x="800" y="326"/>
                  </a:lnTo>
                  <a:lnTo>
                    <a:pt x="802" y="326"/>
                  </a:lnTo>
                  <a:lnTo>
                    <a:pt x="918" y="326"/>
                  </a:lnTo>
                  <a:close/>
                  <a:moveTo>
                    <a:pt x="1595" y="588"/>
                  </a:moveTo>
                  <a:lnTo>
                    <a:pt x="1577" y="588"/>
                  </a:lnTo>
                  <a:lnTo>
                    <a:pt x="1560" y="587"/>
                  </a:lnTo>
                  <a:lnTo>
                    <a:pt x="1543" y="585"/>
                  </a:lnTo>
                  <a:lnTo>
                    <a:pt x="1528" y="584"/>
                  </a:lnTo>
                  <a:lnTo>
                    <a:pt x="1513" y="581"/>
                  </a:lnTo>
                  <a:lnTo>
                    <a:pt x="1499" y="578"/>
                  </a:lnTo>
                  <a:lnTo>
                    <a:pt x="1485" y="575"/>
                  </a:lnTo>
                  <a:lnTo>
                    <a:pt x="1472" y="571"/>
                  </a:lnTo>
                  <a:lnTo>
                    <a:pt x="1460" y="567"/>
                  </a:lnTo>
                  <a:lnTo>
                    <a:pt x="1449" y="563"/>
                  </a:lnTo>
                  <a:lnTo>
                    <a:pt x="1438" y="558"/>
                  </a:lnTo>
                  <a:lnTo>
                    <a:pt x="1427" y="553"/>
                  </a:lnTo>
                  <a:lnTo>
                    <a:pt x="1418" y="548"/>
                  </a:lnTo>
                  <a:lnTo>
                    <a:pt x="1409" y="543"/>
                  </a:lnTo>
                  <a:lnTo>
                    <a:pt x="1393" y="532"/>
                  </a:lnTo>
                  <a:lnTo>
                    <a:pt x="1391" y="531"/>
                  </a:lnTo>
                  <a:lnTo>
                    <a:pt x="1390" y="529"/>
                  </a:lnTo>
                  <a:lnTo>
                    <a:pt x="1389" y="527"/>
                  </a:lnTo>
                  <a:lnTo>
                    <a:pt x="1389" y="525"/>
                  </a:lnTo>
                  <a:lnTo>
                    <a:pt x="1390" y="523"/>
                  </a:lnTo>
                  <a:lnTo>
                    <a:pt x="1391" y="522"/>
                  </a:lnTo>
                  <a:lnTo>
                    <a:pt x="1440" y="446"/>
                  </a:lnTo>
                  <a:lnTo>
                    <a:pt x="1442" y="444"/>
                  </a:lnTo>
                  <a:lnTo>
                    <a:pt x="1443" y="444"/>
                  </a:lnTo>
                  <a:lnTo>
                    <a:pt x="1444" y="443"/>
                  </a:lnTo>
                  <a:lnTo>
                    <a:pt x="1446" y="443"/>
                  </a:lnTo>
                  <a:lnTo>
                    <a:pt x="1448" y="444"/>
                  </a:lnTo>
                  <a:lnTo>
                    <a:pt x="1450" y="445"/>
                  </a:lnTo>
                  <a:lnTo>
                    <a:pt x="1465" y="456"/>
                  </a:lnTo>
                  <a:lnTo>
                    <a:pt x="1483" y="465"/>
                  </a:lnTo>
                  <a:lnTo>
                    <a:pt x="1501" y="473"/>
                  </a:lnTo>
                  <a:lnTo>
                    <a:pt x="1510" y="476"/>
                  </a:lnTo>
                  <a:lnTo>
                    <a:pt x="1520" y="479"/>
                  </a:lnTo>
                  <a:lnTo>
                    <a:pt x="1529" y="482"/>
                  </a:lnTo>
                  <a:lnTo>
                    <a:pt x="1539" y="485"/>
                  </a:lnTo>
                  <a:lnTo>
                    <a:pt x="1558" y="489"/>
                  </a:lnTo>
                  <a:lnTo>
                    <a:pt x="1576" y="491"/>
                  </a:lnTo>
                  <a:lnTo>
                    <a:pt x="1594" y="492"/>
                  </a:lnTo>
                  <a:lnTo>
                    <a:pt x="1604" y="491"/>
                  </a:lnTo>
                  <a:lnTo>
                    <a:pt x="1613" y="490"/>
                  </a:lnTo>
                  <a:lnTo>
                    <a:pt x="1622" y="488"/>
                  </a:lnTo>
                  <a:lnTo>
                    <a:pt x="1629" y="486"/>
                  </a:lnTo>
                  <a:lnTo>
                    <a:pt x="1632" y="484"/>
                  </a:lnTo>
                  <a:lnTo>
                    <a:pt x="1635" y="482"/>
                  </a:lnTo>
                  <a:lnTo>
                    <a:pt x="1638" y="480"/>
                  </a:lnTo>
                  <a:lnTo>
                    <a:pt x="1640" y="477"/>
                  </a:lnTo>
                  <a:lnTo>
                    <a:pt x="1642" y="474"/>
                  </a:lnTo>
                  <a:lnTo>
                    <a:pt x="1643" y="471"/>
                  </a:lnTo>
                  <a:lnTo>
                    <a:pt x="1644" y="468"/>
                  </a:lnTo>
                  <a:lnTo>
                    <a:pt x="1644" y="464"/>
                  </a:lnTo>
                  <a:lnTo>
                    <a:pt x="1644" y="461"/>
                  </a:lnTo>
                  <a:lnTo>
                    <a:pt x="1643" y="457"/>
                  </a:lnTo>
                  <a:lnTo>
                    <a:pt x="1642" y="454"/>
                  </a:lnTo>
                  <a:lnTo>
                    <a:pt x="1641" y="451"/>
                  </a:lnTo>
                  <a:lnTo>
                    <a:pt x="1640" y="449"/>
                  </a:lnTo>
                  <a:lnTo>
                    <a:pt x="1638" y="448"/>
                  </a:lnTo>
                  <a:lnTo>
                    <a:pt x="1636" y="445"/>
                  </a:lnTo>
                  <a:lnTo>
                    <a:pt x="1629" y="441"/>
                  </a:lnTo>
                  <a:lnTo>
                    <a:pt x="1620" y="437"/>
                  </a:lnTo>
                  <a:lnTo>
                    <a:pt x="1609" y="434"/>
                  </a:lnTo>
                  <a:lnTo>
                    <a:pt x="1595" y="432"/>
                  </a:lnTo>
                  <a:lnTo>
                    <a:pt x="1579" y="429"/>
                  </a:lnTo>
                  <a:lnTo>
                    <a:pt x="1551" y="425"/>
                  </a:lnTo>
                  <a:lnTo>
                    <a:pt x="1537" y="422"/>
                  </a:lnTo>
                  <a:lnTo>
                    <a:pt x="1522" y="419"/>
                  </a:lnTo>
                  <a:lnTo>
                    <a:pt x="1508" y="415"/>
                  </a:lnTo>
                  <a:lnTo>
                    <a:pt x="1493" y="411"/>
                  </a:lnTo>
                  <a:lnTo>
                    <a:pt x="1480" y="405"/>
                  </a:lnTo>
                  <a:lnTo>
                    <a:pt x="1466" y="398"/>
                  </a:lnTo>
                  <a:lnTo>
                    <a:pt x="1460" y="395"/>
                  </a:lnTo>
                  <a:lnTo>
                    <a:pt x="1454" y="391"/>
                  </a:lnTo>
                  <a:lnTo>
                    <a:pt x="1448" y="386"/>
                  </a:lnTo>
                  <a:lnTo>
                    <a:pt x="1443" y="382"/>
                  </a:lnTo>
                  <a:lnTo>
                    <a:pt x="1438" y="377"/>
                  </a:lnTo>
                  <a:lnTo>
                    <a:pt x="1433" y="371"/>
                  </a:lnTo>
                  <a:lnTo>
                    <a:pt x="1428" y="366"/>
                  </a:lnTo>
                  <a:lnTo>
                    <a:pt x="1424" y="359"/>
                  </a:lnTo>
                  <a:lnTo>
                    <a:pt x="1420" y="353"/>
                  </a:lnTo>
                  <a:lnTo>
                    <a:pt x="1417" y="346"/>
                  </a:lnTo>
                  <a:lnTo>
                    <a:pt x="1414" y="338"/>
                  </a:lnTo>
                  <a:lnTo>
                    <a:pt x="1411" y="330"/>
                  </a:lnTo>
                  <a:lnTo>
                    <a:pt x="1410" y="322"/>
                  </a:lnTo>
                  <a:lnTo>
                    <a:pt x="1408" y="313"/>
                  </a:lnTo>
                  <a:lnTo>
                    <a:pt x="1408" y="308"/>
                  </a:lnTo>
                  <a:lnTo>
                    <a:pt x="1407" y="304"/>
                  </a:lnTo>
                  <a:lnTo>
                    <a:pt x="1407" y="294"/>
                  </a:lnTo>
                  <a:lnTo>
                    <a:pt x="1407" y="285"/>
                  </a:lnTo>
                  <a:lnTo>
                    <a:pt x="1408" y="277"/>
                  </a:lnTo>
                  <a:lnTo>
                    <a:pt x="1409" y="268"/>
                  </a:lnTo>
                  <a:lnTo>
                    <a:pt x="1410" y="261"/>
                  </a:lnTo>
                  <a:lnTo>
                    <a:pt x="1412" y="253"/>
                  </a:lnTo>
                  <a:lnTo>
                    <a:pt x="1415" y="246"/>
                  </a:lnTo>
                  <a:lnTo>
                    <a:pt x="1417" y="239"/>
                  </a:lnTo>
                  <a:lnTo>
                    <a:pt x="1420" y="232"/>
                  </a:lnTo>
                  <a:lnTo>
                    <a:pt x="1424" y="225"/>
                  </a:lnTo>
                  <a:lnTo>
                    <a:pt x="1428" y="219"/>
                  </a:lnTo>
                  <a:lnTo>
                    <a:pt x="1436" y="208"/>
                  </a:lnTo>
                  <a:lnTo>
                    <a:pt x="1441" y="202"/>
                  </a:lnTo>
                  <a:lnTo>
                    <a:pt x="1446" y="197"/>
                  </a:lnTo>
                  <a:lnTo>
                    <a:pt x="1457" y="188"/>
                  </a:lnTo>
                  <a:lnTo>
                    <a:pt x="1463" y="183"/>
                  </a:lnTo>
                  <a:lnTo>
                    <a:pt x="1469" y="179"/>
                  </a:lnTo>
                  <a:lnTo>
                    <a:pt x="1483" y="172"/>
                  </a:lnTo>
                  <a:lnTo>
                    <a:pt x="1490" y="169"/>
                  </a:lnTo>
                  <a:lnTo>
                    <a:pt x="1497" y="166"/>
                  </a:lnTo>
                  <a:lnTo>
                    <a:pt x="1512" y="161"/>
                  </a:lnTo>
                  <a:lnTo>
                    <a:pt x="1528" y="157"/>
                  </a:lnTo>
                  <a:lnTo>
                    <a:pt x="1544" y="154"/>
                  </a:lnTo>
                  <a:lnTo>
                    <a:pt x="1561" y="152"/>
                  </a:lnTo>
                  <a:lnTo>
                    <a:pt x="1579" y="152"/>
                  </a:lnTo>
                  <a:lnTo>
                    <a:pt x="1595" y="152"/>
                  </a:lnTo>
                  <a:lnTo>
                    <a:pt x="1611" y="153"/>
                  </a:lnTo>
                  <a:lnTo>
                    <a:pt x="1626" y="154"/>
                  </a:lnTo>
                  <a:lnTo>
                    <a:pt x="1641" y="156"/>
                  </a:lnTo>
                  <a:lnTo>
                    <a:pt x="1654" y="158"/>
                  </a:lnTo>
                  <a:lnTo>
                    <a:pt x="1667" y="160"/>
                  </a:lnTo>
                  <a:lnTo>
                    <a:pt x="1679" y="163"/>
                  </a:lnTo>
                  <a:lnTo>
                    <a:pt x="1691" y="167"/>
                  </a:lnTo>
                  <a:lnTo>
                    <a:pt x="1702" y="170"/>
                  </a:lnTo>
                  <a:lnTo>
                    <a:pt x="1713" y="174"/>
                  </a:lnTo>
                  <a:lnTo>
                    <a:pt x="1723" y="179"/>
                  </a:lnTo>
                  <a:lnTo>
                    <a:pt x="1733" y="183"/>
                  </a:lnTo>
                  <a:lnTo>
                    <a:pt x="1742" y="188"/>
                  </a:lnTo>
                  <a:lnTo>
                    <a:pt x="1751" y="194"/>
                  </a:lnTo>
                  <a:lnTo>
                    <a:pt x="1768" y="205"/>
                  </a:lnTo>
                  <a:lnTo>
                    <a:pt x="1770" y="207"/>
                  </a:lnTo>
                  <a:lnTo>
                    <a:pt x="1771" y="209"/>
                  </a:lnTo>
                  <a:lnTo>
                    <a:pt x="1772" y="211"/>
                  </a:lnTo>
                  <a:lnTo>
                    <a:pt x="1772" y="212"/>
                  </a:lnTo>
                  <a:lnTo>
                    <a:pt x="1771" y="215"/>
                  </a:lnTo>
                  <a:lnTo>
                    <a:pt x="1770" y="216"/>
                  </a:lnTo>
                  <a:lnTo>
                    <a:pt x="1722" y="288"/>
                  </a:lnTo>
                  <a:lnTo>
                    <a:pt x="1720" y="290"/>
                  </a:lnTo>
                  <a:lnTo>
                    <a:pt x="1718" y="292"/>
                  </a:lnTo>
                  <a:lnTo>
                    <a:pt x="1716" y="292"/>
                  </a:lnTo>
                  <a:lnTo>
                    <a:pt x="1715" y="292"/>
                  </a:lnTo>
                  <a:lnTo>
                    <a:pt x="1711" y="292"/>
                  </a:lnTo>
                  <a:lnTo>
                    <a:pt x="1708" y="290"/>
                  </a:lnTo>
                  <a:lnTo>
                    <a:pt x="1693" y="282"/>
                  </a:lnTo>
                  <a:lnTo>
                    <a:pt x="1677" y="274"/>
                  </a:lnTo>
                  <a:lnTo>
                    <a:pt x="1662" y="268"/>
                  </a:lnTo>
                  <a:lnTo>
                    <a:pt x="1647" y="263"/>
                  </a:lnTo>
                  <a:lnTo>
                    <a:pt x="1633" y="258"/>
                  </a:lnTo>
                  <a:lnTo>
                    <a:pt x="1619" y="255"/>
                  </a:lnTo>
                  <a:lnTo>
                    <a:pt x="1612" y="254"/>
                  </a:lnTo>
                  <a:lnTo>
                    <a:pt x="1606" y="254"/>
                  </a:lnTo>
                  <a:lnTo>
                    <a:pt x="1593" y="253"/>
                  </a:lnTo>
                  <a:lnTo>
                    <a:pt x="1584" y="253"/>
                  </a:lnTo>
                  <a:lnTo>
                    <a:pt x="1576" y="254"/>
                  </a:lnTo>
                  <a:lnTo>
                    <a:pt x="1568" y="256"/>
                  </a:lnTo>
                  <a:lnTo>
                    <a:pt x="1562" y="259"/>
                  </a:lnTo>
                  <a:lnTo>
                    <a:pt x="1560" y="261"/>
                  </a:lnTo>
                  <a:lnTo>
                    <a:pt x="1557" y="263"/>
                  </a:lnTo>
                  <a:lnTo>
                    <a:pt x="1554" y="267"/>
                  </a:lnTo>
                  <a:lnTo>
                    <a:pt x="1552" y="270"/>
                  </a:lnTo>
                  <a:lnTo>
                    <a:pt x="1551" y="273"/>
                  </a:lnTo>
                  <a:lnTo>
                    <a:pt x="1551" y="276"/>
                  </a:lnTo>
                  <a:lnTo>
                    <a:pt x="1550" y="280"/>
                  </a:lnTo>
                  <a:lnTo>
                    <a:pt x="1551" y="283"/>
                  </a:lnTo>
                  <a:lnTo>
                    <a:pt x="1551" y="286"/>
                  </a:lnTo>
                  <a:lnTo>
                    <a:pt x="1553" y="289"/>
                  </a:lnTo>
                  <a:lnTo>
                    <a:pt x="1555" y="292"/>
                  </a:lnTo>
                  <a:lnTo>
                    <a:pt x="1557" y="295"/>
                  </a:lnTo>
                  <a:lnTo>
                    <a:pt x="1560" y="297"/>
                  </a:lnTo>
                  <a:lnTo>
                    <a:pt x="1563" y="299"/>
                  </a:lnTo>
                  <a:lnTo>
                    <a:pt x="1567" y="301"/>
                  </a:lnTo>
                  <a:lnTo>
                    <a:pt x="1576" y="304"/>
                  </a:lnTo>
                  <a:lnTo>
                    <a:pt x="1587" y="307"/>
                  </a:lnTo>
                  <a:lnTo>
                    <a:pt x="1600" y="309"/>
                  </a:lnTo>
                  <a:lnTo>
                    <a:pt x="1615" y="312"/>
                  </a:lnTo>
                  <a:lnTo>
                    <a:pt x="1642" y="316"/>
                  </a:lnTo>
                  <a:lnTo>
                    <a:pt x="1657" y="318"/>
                  </a:lnTo>
                  <a:lnTo>
                    <a:pt x="1672" y="321"/>
                  </a:lnTo>
                  <a:lnTo>
                    <a:pt x="1686" y="325"/>
                  </a:lnTo>
                  <a:lnTo>
                    <a:pt x="1701" y="329"/>
                  </a:lnTo>
                  <a:lnTo>
                    <a:pt x="1715" y="334"/>
                  </a:lnTo>
                  <a:lnTo>
                    <a:pt x="1728" y="340"/>
                  </a:lnTo>
                  <a:lnTo>
                    <a:pt x="1740" y="348"/>
                  </a:lnTo>
                  <a:lnTo>
                    <a:pt x="1746" y="352"/>
                  </a:lnTo>
                  <a:lnTo>
                    <a:pt x="1752" y="356"/>
                  </a:lnTo>
                  <a:lnTo>
                    <a:pt x="1757" y="361"/>
                  </a:lnTo>
                  <a:lnTo>
                    <a:pt x="1762" y="366"/>
                  </a:lnTo>
                  <a:lnTo>
                    <a:pt x="1766" y="371"/>
                  </a:lnTo>
                  <a:lnTo>
                    <a:pt x="1771" y="377"/>
                  </a:lnTo>
                  <a:lnTo>
                    <a:pt x="1774" y="383"/>
                  </a:lnTo>
                  <a:lnTo>
                    <a:pt x="1778" y="390"/>
                  </a:lnTo>
                  <a:lnTo>
                    <a:pt x="1781" y="397"/>
                  </a:lnTo>
                  <a:lnTo>
                    <a:pt x="1783" y="404"/>
                  </a:lnTo>
                  <a:lnTo>
                    <a:pt x="1785" y="412"/>
                  </a:lnTo>
                  <a:lnTo>
                    <a:pt x="1787" y="420"/>
                  </a:lnTo>
                  <a:lnTo>
                    <a:pt x="1787" y="425"/>
                  </a:lnTo>
                  <a:lnTo>
                    <a:pt x="1787" y="429"/>
                  </a:lnTo>
                  <a:lnTo>
                    <a:pt x="1788" y="438"/>
                  </a:lnTo>
                  <a:lnTo>
                    <a:pt x="1787" y="449"/>
                  </a:lnTo>
                  <a:lnTo>
                    <a:pt x="1787" y="458"/>
                  </a:lnTo>
                  <a:lnTo>
                    <a:pt x="1785" y="468"/>
                  </a:lnTo>
                  <a:lnTo>
                    <a:pt x="1783" y="477"/>
                  </a:lnTo>
                  <a:lnTo>
                    <a:pt x="1781" y="485"/>
                  </a:lnTo>
                  <a:lnTo>
                    <a:pt x="1778" y="494"/>
                  </a:lnTo>
                  <a:lnTo>
                    <a:pt x="1775" y="501"/>
                  </a:lnTo>
                  <a:lnTo>
                    <a:pt x="1771" y="509"/>
                  </a:lnTo>
                  <a:lnTo>
                    <a:pt x="1767" y="516"/>
                  </a:lnTo>
                  <a:lnTo>
                    <a:pt x="1763" y="523"/>
                  </a:lnTo>
                  <a:lnTo>
                    <a:pt x="1758" y="529"/>
                  </a:lnTo>
                  <a:lnTo>
                    <a:pt x="1752" y="535"/>
                  </a:lnTo>
                  <a:lnTo>
                    <a:pt x="1747" y="540"/>
                  </a:lnTo>
                  <a:lnTo>
                    <a:pt x="1741" y="546"/>
                  </a:lnTo>
                  <a:lnTo>
                    <a:pt x="1734" y="550"/>
                  </a:lnTo>
                  <a:lnTo>
                    <a:pt x="1728" y="555"/>
                  </a:lnTo>
                  <a:lnTo>
                    <a:pt x="1721" y="559"/>
                  </a:lnTo>
                  <a:lnTo>
                    <a:pt x="1714" y="563"/>
                  </a:lnTo>
                  <a:lnTo>
                    <a:pt x="1699" y="570"/>
                  </a:lnTo>
                  <a:lnTo>
                    <a:pt x="1683" y="576"/>
                  </a:lnTo>
                  <a:lnTo>
                    <a:pt x="1675" y="578"/>
                  </a:lnTo>
                  <a:lnTo>
                    <a:pt x="1666" y="580"/>
                  </a:lnTo>
                  <a:lnTo>
                    <a:pt x="1649" y="584"/>
                  </a:lnTo>
                  <a:lnTo>
                    <a:pt x="1631" y="586"/>
                  </a:lnTo>
                  <a:lnTo>
                    <a:pt x="1613" y="588"/>
                  </a:lnTo>
                  <a:lnTo>
                    <a:pt x="1595" y="58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pic>
        <p:nvPicPr>
          <p:cNvPr id="16" name="Graphic 15">
            <a:extLst>
              <a:ext uri="{FF2B5EF4-FFF2-40B4-BE49-F238E27FC236}">
                <a16:creationId xmlns:a16="http://schemas.microsoft.com/office/drawing/2014/main" id="{8BF8AE3E-283F-3D0D-CD26-B28D16845E0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63352" y="2668930"/>
            <a:ext cx="5168474" cy="1520139"/>
          </a:xfrm>
          <a:prstGeom prst="rect">
            <a:avLst/>
          </a:prstGeom>
        </p:spPr>
      </p:pic>
    </p:spTree>
    <p:extLst>
      <p:ext uri="{BB962C8B-B14F-4D97-AF65-F5344CB8AC3E}">
        <p14:creationId xmlns:p14="http://schemas.microsoft.com/office/powerpoint/2010/main" val="1262262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End slide / products / F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2063552" y="260351"/>
            <a:ext cx="1224137" cy="216023"/>
          </a:xfrm>
        </p:spPr>
        <p:txBody>
          <a:bodyPr/>
          <a:lstStyle>
            <a:lvl1pPr>
              <a:defRPr>
                <a:noFill/>
              </a:defRPr>
            </a:lvl1pPr>
          </a:lstStyle>
          <a:p>
            <a:fld id="{BD3CFFDA-818F-4A73-BD76-D775C6C0AF81}" type="datetime1">
              <a:rPr lang="en-GB" smtClean="0"/>
              <a:t>22/10/2025</a:t>
            </a:fld>
            <a:endParaRPr lang="fi-FI"/>
          </a:p>
        </p:txBody>
      </p:sp>
      <p:sp>
        <p:nvSpPr>
          <p:cNvPr id="5" name="Footer Placeholder 4"/>
          <p:cNvSpPr>
            <a:spLocks noGrp="1"/>
          </p:cNvSpPr>
          <p:nvPr>
            <p:ph type="ftr" sz="quarter" idx="11"/>
          </p:nvPr>
        </p:nvSpPr>
        <p:spPr>
          <a:xfrm>
            <a:off x="3287688" y="260350"/>
            <a:ext cx="8137550" cy="216024"/>
          </a:xfrm>
        </p:spPr>
        <p:txBody>
          <a:bodyPr/>
          <a:lstStyle>
            <a:lvl1pPr>
              <a:defRPr>
                <a:noFill/>
              </a:defRPr>
            </a:lvl1pPr>
          </a:lstStyle>
          <a:p>
            <a:r>
              <a:rPr lang="fi-FI"/>
              <a:t>Presentation name / Author</a:t>
            </a:r>
          </a:p>
        </p:txBody>
      </p:sp>
      <p:sp>
        <p:nvSpPr>
          <p:cNvPr id="6" name="Slide Number Placeholder 5"/>
          <p:cNvSpPr>
            <a:spLocks noGrp="1"/>
          </p:cNvSpPr>
          <p:nvPr>
            <p:ph type="sldNum" sz="quarter" idx="12"/>
          </p:nvPr>
        </p:nvSpPr>
        <p:spPr>
          <a:xfrm>
            <a:off x="11425239" y="260351"/>
            <a:ext cx="431800" cy="216023"/>
          </a:xfrm>
        </p:spPr>
        <p:txBody>
          <a:bodyPr/>
          <a:lstStyle>
            <a:lvl1pPr>
              <a:defRPr>
                <a:noFill/>
              </a:defRPr>
            </a:lvl1pPr>
          </a:lstStyle>
          <a:p>
            <a:fld id="{49A25110-65A2-4B67-BF3F-8D6D3162EF46}" type="slidenum">
              <a:rPr lang="fi-FI" smtClean="0"/>
              <a:pPr/>
              <a:t>‹#›</a:t>
            </a:fld>
            <a:endParaRPr lang="fi-FI"/>
          </a:p>
        </p:txBody>
      </p:sp>
      <p:grpSp>
        <p:nvGrpSpPr>
          <p:cNvPr id="10" name="Group 9">
            <a:extLst>
              <a:ext uri="{FF2B5EF4-FFF2-40B4-BE49-F238E27FC236}">
                <a16:creationId xmlns:a16="http://schemas.microsoft.com/office/drawing/2014/main" id="{7A91AA7E-261A-842A-E177-DD410855708E}"/>
              </a:ext>
            </a:extLst>
          </p:cNvPr>
          <p:cNvGrpSpPr>
            <a:grpSpLocks noChangeAspect="1"/>
          </p:cNvGrpSpPr>
          <p:nvPr userDrawn="1"/>
        </p:nvGrpSpPr>
        <p:grpSpPr>
          <a:xfrm>
            <a:off x="335360" y="6093296"/>
            <a:ext cx="1243838" cy="432000"/>
            <a:chOff x="3279775" y="2451101"/>
            <a:chExt cx="5640388" cy="1958974"/>
          </a:xfrm>
        </p:grpSpPr>
        <p:sp>
          <p:nvSpPr>
            <p:cNvPr id="11" name="Freeform 10">
              <a:extLst>
                <a:ext uri="{FF2B5EF4-FFF2-40B4-BE49-F238E27FC236}">
                  <a16:creationId xmlns:a16="http://schemas.microsoft.com/office/drawing/2014/main" id="{5916A7BD-D6DE-B401-BE6E-EFD2C0FDF397}"/>
                </a:ext>
              </a:extLst>
            </p:cNvPr>
            <p:cNvSpPr>
              <a:spLocks/>
            </p:cNvSpPr>
            <p:nvPr/>
          </p:nvSpPr>
          <p:spPr bwMode="auto">
            <a:xfrm>
              <a:off x="3279775" y="2451101"/>
              <a:ext cx="1838325" cy="1944687"/>
            </a:xfrm>
            <a:custGeom>
              <a:avLst/>
              <a:gdLst>
                <a:gd name="T0" fmla="*/ 978 w 1158"/>
                <a:gd name="T1" fmla="*/ 608 h 1225"/>
                <a:gd name="T2" fmla="*/ 974 w 1158"/>
                <a:gd name="T3" fmla="*/ 610 h 1225"/>
                <a:gd name="T4" fmla="*/ 968 w 1158"/>
                <a:gd name="T5" fmla="*/ 608 h 1225"/>
                <a:gd name="T6" fmla="*/ 966 w 1158"/>
                <a:gd name="T7" fmla="*/ 134 h 1225"/>
                <a:gd name="T8" fmla="*/ 963 w 1158"/>
                <a:gd name="T9" fmla="*/ 128 h 1225"/>
                <a:gd name="T10" fmla="*/ 956 w 1158"/>
                <a:gd name="T11" fmla="*/ 128 h 1225"/>
                <a:gd name="T12" fmla="*/ 953 w 1158"/>
                <a:gd name="T13" fmla="*/ 132 h 1225"/>
                <a:gd name="T14" fmla="*/ 784 w 1158"/>
                <a:gd name="T15" fmla="*/ 603 h 1225"/>
                <a:gd name="T16" fmla="*/ 779 w 1158"/>
                <a:gd name="T17" fmla="*/ 607 h 1225"/>
                <a:gd name="T18" fmla="*/ 773 w 1158"/>
                <a:gd name="T19" fmla="*/ 605 h 1225"/>
                <a:gd name="T20" fmla="*/ 771 w 1158"/>
                <a:gd name="T21" fmla="*/ 466 h 1225"/>
                <a:gd name="T22" fmla="*/ 769 w 1158"/>
                <a:gd name="T23" fmla="*/ 461 h 1225"/>
                <a:gd name="T24" fmla="*/ 764 w 1158"/>
                <a:gd name="T25" fmla="*/ 459 h 1225"/>
                <a:gd name="T26" fmla="*/ 584 w 1158"/>
                <a:gd name="T27" fmla="*/ 614 h 1225"/>
                <a:gd name="T28" fmla="*/ 579 w 1158"/>
                <a:gd name="T29" fmla="*/ 616 h 1225"/>
                <a:gd name="T30" fmla="*/ 396 w 1158"/>
                <a:gd name="T31" fmla="*/ 461 h 1225"/>
                <a:gd name="T32" fmla="*/ 390 w 1158"/>
                <a:gd name="T33" fmla="*/ 460 h 1225"/>
                <a:gd name="T34" fmla="*/ 386 w 1158"/>
                <a:gd name="T35" fmla="*/ 464 h 1225"/>
                <a:gd name="T36" fmla="*/ 386 w 1158"/>
                <a:gd name="T37" fmla="*/ 603 h 1225"/>
                <a:gd name="T38" fmla="*/ 381 w 1158"/>
                <a:gd name="T39" fmla="*/ 607 h 1225"/>
                <a:gd name="T40" fmla="*/ 375 w 1158"/>
                <a:gd name="T41" fmla="*/ 605 h 1225"/>
                <a:gd name="T42" fmla="*/ 292 w 1158"/>
                <a:gd name="T43" fmla="*/ 378 h 1225"/>
                <a:gd name="T44" fmla="*/ 203 w 1158"/>
                <a:gd name="T45" fmla="*/ 130 h 1225"/>
                <a:gd name="T46" fmla="*/ 197 w 1158"/>
                <a:gd name="T47" fmla="*/ 128 h 1225"/>
                <a:gd name="T48" fmla="*/ 192 w 1158"/>
                <a:gd name="T49" fmla="*/ 132 h 1225"/>
                <a:gd name="T50" fmla="*/ 191 w 1158"/>
                <a:gd name="T51" fmla="*/ 606 h 1225"/>
                <a:gd name="T52" fmla="*/ 186 w 1158"/>
                <a:gd name="T53" fmla="*/ 610 h 1225"/>
                <a:gd name="T54" fmla="*/ 181 w 1158"/>
                <a:gd name="T55" fmla="*/ 609 h 1225"/>
                <a:gd name="T56" fmla="*/ 13 w 1158"/>
                <a:gd name="T57" fmla="*/ 5 h 1225"/>
                <a:gd name="T58" fmla="*/ 10 w 1158"/>
                <a:gd name="T59" fmla="*/ 1 h 1225"/>
                <a:gd name="T60" fmla="*/ 4 w 1158"/>
                <a:gd name="T61" fmla="*/ 1 h 1225"/>
                <a:gd name="T62" fmla="*/ 0 w 1158"/>
                <a:gd name="T63" fmla="*/ 7 h 1225"/>
                <a:gd name="T64" fmla="*/ 1 w 1158"/>
                <a:gd name="T65" fmla="*/ 552 h 1225"/>
                <a:gd name="T66" fmla="*/ 147 w 1158"/>
                <a:gd name="T67" fmla="*/ 644 h 1225"/>
                <a:gd name="T68" fmla="*/ 389 w 1158"/>
                <a:gd name="T69" fmla="*/ 646 h 1225"/>
                <a:gd name="T70" fmla="*/ 397 w 1158"/>
                <a:gd name="T71" fmla="*/ 649 h 1225"/>
                <a:gd name="T72" fmla="*/ 500 w 1158"/>
                <a:gd name="T73" fmla="*/ 909 h 1225"/>
                <a:gd name="T74" fmla="*/ 501 w 1158"/>
                <a:gd name="T75" fmla="*/ 917 h 1225"/>
                <a:gd name="T76" fmla="*/ 447 w 1158"/>
                <a:gd name="T77" fmla="*/ 1030 h 1225"/>
                <a:gd name="T78" fmla="*/ 519 w 1158"/>
                <a:gd name="T79" fmla="*/ 1218 h 1225"/>
                <a:gd name="T80" fmla="*/ 526 w 1158"/>
                <a:gd name="T81" fmla="*/ 1224 h 1225"/>
                <a:gd name="T82" fmla="*/ 629 w 1158"/>
                <a:gd name="T83" fmla="*/ 1225 h 1225"/>
                <a:gd name="T84" fmla="*/ 637 w 1158"/>
                <a:gd name="T85" fmla="*/ 1221 h 1225"/>
                <a:gd name="T86" fmla="*/ 710 w 1158"/>
                <a:gd name="T87" fmla="*/ 1036 h 1225"/>
                <a:gd name="T88" fmla="*/ 710 w 1158"/>
                <a:gd name="T89" fmla="*/ 1030 h 1225"/>
                <a:gd name="T90" fmla="*/ 657 w 1158"/>
                <a:gd name="T91" fmla="*/ 917 h 1225"/>
                <a:gd name="T92" fmla="*/ 758 w 1158"/>
                <a:gd name="T93" fmla="*/ 652 h 1225"/>
                <a:gd name="T94" fmla="*/ 765 w 1158"/>
                <a:gd name="T95" fmla="*/ 646 h 1225"/>
                <a:gd name="T96" fmla="*/ 1009 w 1158"/>
                <a:gd name="T97" fmla="*/ 645 h 1225"/>
                <a:gd name="T98" fmla="*/ 1155 w 1158"/>
                <a:gd name="T99" fmla="*/ 554 h 1225"/>
                <a:gd name="T100" fmla="*/ 1158 w 1158"/>
                <a:gd name="T101" fmla="*/ 549 h 1225"/>
                <a:gd name="T102" fmla="*/ 1158 w 1158"/>
                <a:gd name="T103" fmla="*/ 4 h 1225"/>
                <a:gd name="T104" fmla="*/ 1152 w 1158"/>
                <a:gd name="T105" fmla="*/ 0 h 1225"/>
                <a:gd name="T106" fmla="*/ 1146 w 1158"/>
                <a:gd name="T107" fmla="*/ 3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8" h="1225">
                  <a:moveTo>
                    <a:pt x="1145" y="5"/>
                  </a:moveTo>
                  <a:lnTo>
                    <a:pt x="979" y="605"/>
                  </a:lnTo>
                  <a:lnTo>
                    <a:pt x="978" y="608"/>
                  </a:lnTo>
                  <a:lnTo>
                    <a:pt x="977" y="608"/>
                  </a:lnTo>
                  <a:lnTo>
                    <a:pt x="976" y="609"/>
                  </a:lnTo>
                  <a:lnTo>
                    <a:pt x="974" y="610"/>
                  </a:lnTo>
                  <a:lnTo>
                    <a:pt x="972" y="610"/>
                  </a:lnTo>
                  <a:lnTo>
                    <a:pt x="970" y="609"/>
                  </a:lnTo>
                  <a:lnTo>
                    <a:pt x="968" y="608"/>
                  </a:lnTo>
                  <a:lnTo>
                    <a:pt x="967" y="606"/>
                  </a:lnTo>
                  <a:lnTo>
                    <a:pt x="966" y="603"/>
                  </a:lnTo>
                  <a:lnTo>
                    <a:pt x="966" y="134"/>
                  </a:lnTo>
                  <a:lnTo>
                    <a:pt x="966" y="132"/>
                  </a:lnTo>
                  <a:lnTo>
                    <a:pt x="964" y="130"/>
                  </a:lnTo>
                  <a:lnTo>
                    <a:pt x="963" y="128"/>
                  </a:lnTo>
                  <a:lnTo>
                    <a:pt x="961" y="128"/>
                  </a:lnTo>
                  <a:lnTo>
                    <a:pt x="958" y="128"/>
                  </a:lnTo>
                  <a:lnTo>
                    <a:pt x="956" y="128"/>
                  </a:lnTo>
                  <a:lnTo>
                    <a:pt x="955" y="129"/>
                  </a:lnTo>
                  <a:lnTo>
                    <a:pt x="955" y="130"/>
                  </a:lnTo>
                  <a:lnTo>
                    <a:pt x="953" y="132"/>
                  </a:lnTo>
                  <a:lnTo>
                    <a:pt x="916" y="240"/>
                  </a:lnTo>
                  <a:lnTo>
                    <a:pt x="865" y="378"/>
                  </a:lnTo>
                  <a:lnTo>
                    <a:pt x="784" y="603"/>
                  </a:lnTo>
                  <a:lnTo>
                    <a:pt x="782" y="605"/>
                  </a:lnTo>
                  <a:lnTo>
                    <a:pt x="781" y="606"/>
                  </a:lnTo>
                  <a:lnTo>
                    <a:pt x="779" y="607"/>
                  </a:lnTo>
                  <a:lnTo>
                    <a:pt x="776" y="607"/>
                  </a:lnTo>
                  <a:lnTo>
                    <a:pt x="774" y="606"/>
                  </a:lnTo>
                  <a:lnTo>
                    <a:pt x="773" y="605"/>
                  </a:lnTo>
                  <a:lnTo>
                    <a:pt x="772" y="603"/>
                  </a:lnTo>
                  <a:lnTo>
                    <a:pt x="771" y="600"/>
                  </a:lnTo>
                  <a:lnTo>
                    <a:pt x="771" y="466"/>
                  </a:lnTo>
                  <a:lnTo>
                    <a:pt x="771" y="464"/>
                  </a:lnTo>
                  <a:lnTo>
                    <a:pt x="770" y="462"/>
                  </a:lnTo>
                  <a:lnTo>
                    <a:pt x="769" y="461"/>
                  </a:lnTo>
                  <a:lnTo>
                    <a:pt x="767" y="460"/>
                  </a:lnTo>
                  <a:lnTo>
                    <a:pt x="766" y="459"/>
                  </a:lnTo>
                  <a:lnTo>
                    <a:pt x="764" y="459"/>
                  </a:lnTo>
                  <a:lnTo>
                    <a:pt x="762" y="460"/>
                  </a:lnTo>
                  <a:lnTo>
                    <a:pt x="761" y="461"/>
                  </a:lnTo>
                  <a:lnTo>
                    <a:pt x="584" y="614"/>
                  </a:lnTo>
                  <a:lnTo>
                    <a:pt x="583" y="615"/>
                  </a:lnTo>
                  <a:lnTo>
                    <a:pt x="581" y="615"/>
                  </a:lnTo>
                  <a:lnTo>
                    <a:pt x="579" y="616"/>
                  </a:lnTo>
                  <a:lnTo>
                    <a:pt x="576" y="615"/>
                  </a:lnTo>
                  <a:lnTo>
                    <a:pt x="573" y="614"/>
                  </a:lnTo>
                  <a:lnTo>
                    <a:pt x="396" y="461"/>
                  </a:lnTo>
                  <a:lnTo>
                    <a:pt x="393" y="459"/>
                  </a:lnTo>
                  <a:lnTo>
                    <a:pt x="391" y="460"/>
                  </a:lnTo>
                  <a:lnTo>
                    <a:pt x="390" y="460"/>
                  </a:lnTo>
                  <a:lnTo>
                    <a:pt x="388" y="461"/>
                  </a:lnTo>
                  <a:lnTo>
                    <a:pt x="387" y="462"/>
                  </a:lnTo>
                  <a:lnTo>
                    <a:pt x="386" y="464"/>
                  </a:lnTo>
                  <a:lnTo>
                    <a:pt x="386" y="466"/>
                  </a:lnTo>
                  <a:lnTo>
                    <a:pt x="386" y="601"/>
                  </a:lnTo>
                  <a:lnTo>
                    <a:pt x="386" y="603"/>
                  </a:lnTo>
                  <a:lnTo>
                    <a:pt x="384" y="605"/>
                  </a:lnTo>
                  <a:lnTo>
                    <a:pt x="383" y="606"/>
                  </a:lnTo>
                  <a:lnTo>
                    <a:pt x="381" y="607"/>
                  </a:lnTo>
                  <a:lnTo>
                    <a:pt x="379" y="607"/>
                  </a:lnTo>
                  <a:lnTo>
                    <a:pt x="377" y="606"/>
                  </a:lnTo>
                  <a:lnTo>
                    <a:pt x="375" y="605"/>
                  </a:lnTo>
                  <a:lnTo>
                    <a:pt x="374" y="603"/>
                  </a:lnTo>
                  <a:lnTo>
                    <a:pt x="340" y="511"/>
                  </a:lnTo>
                  <a:lnTo>
                    <a:pt x="292" y="378"/>
                  </a:lnTo>
                  <a:lnTo>
                    <a:pt x="242" y="240"/>
                  </a:lnTo>
                  <a:lnTo>
                    <a:pt x="205" y="132"/>
                  </a:lnTo>
                  <a:lnTo>
                    <a:pt x="203" y="130"/>
                  </a:lnTo>
                  <a:lnTo>
                    <a:pt x="202" y="128"/>
                  </a:lnTo>
                  <a:lnTo>
                    <a:pt x="200" y="128"/>
                  </a:lnTo>
                  <a:lnTo>
                    <a:pt x="197" y="128"/>
                  </a:lnTo>
                  <a:lnTo>
                    <a:pt x="195" y="128"/>
                  </a:lnTo>
                  <a:lnTo>
                    <a:pt x="194" y="130"/>
                  </a:lnTo>
                  <a:lnTo>
                    <a:pt x="192" y="132"/>
                  </a:lnTo>
                  <a:lnTo>
                    <a:pt x="192" y="134"/>
                  </a:lnTo>
                  <a:lnTo>
                    <a:pt x="192" y="604"/>
                  </a:lnTo>
                  <a:lnTo>
                    <a:pt x="191" y="606"/>
                  </a:lnTo>
                  <a:lnTo>
                    <a:pt x="190" y="608"/>
                  </a:lnTo>
                  <a:lnTo>
                    <a:pt x="188" y="609"/>
                  </a:lnTo>
                  <a:lnTo>
                    <a:pt x="186" y="610"/>
                  </a:lnTo>
                  <a:lnTo>
                    <a:pt x="184" y="610"/>
                  </a:lnTo>
                  <a:lnTo>
                    <a:pt x="182" y="609"/>
                  </a:lnTo>
                  <a:lnTo>
                    <a:pt x="181" y="609"/>
                  </a:lnTo>
                  <a:lnTo>
                    <a:pt x="180" y="608"/>
                  </a:lnTo>
                  <a:lnTo>
                    <a:pt x="179" y="605"/>
                  </a:lnTo>
                  <a:lnTo>
                    <a:pt x="13" y="5"/>
                  </a:lnTo>
                  <a:lnTo>
                    <a:pt x="12" y="3"/>
                  </a:lnTo>
                  <a:lnTo>
                    <a:pt x="11" y="2"/>
                  </a:lnTo>
                  <a:lnTo>
                    <a:pt x="10" y="1"/>
                  </a:lnTo>
                  <a:lnTo>
                    <a:pt x="8" y="1"/>
                  </a:lnTo>
                  <a:lnTo>
                    <a:pt x="6" y="0"/>
                  </a:lnTo>
                  <a:lnTo>
                    <a:pt x="4" y="1"/>
                  </a:lnTo>
                  <a:lnTo>
                    <a:pt x="2" y="3"/>
                  </a:lnTo>
                  <a:lnTo>
                    <a:pt x="1" y="4"/>
                  </a:lnTo>
                  <a:lnTo>
                    <a:pt x="0" y="7"/>
                  </a:lnTo>
                  <a:lnTo>
                    <a:pt x="0" y="546"/>
                  </a:lnTo>
                  <a:lnTo>
                    <a:pt x="0" y="549"/>
                  </a:lnTo>
                  <a:lnTo>
                    <a:pt x="1" y="552"/>
                  </a:lnTo>
                  <a:lnTo>
                    <a:pt x="3" y="554"/>
                  </a:lnTo>
                  <a:lnTo>
                    <a:pt x="5" y="555"/>
                  </a:lnTo>
                  <a:lnTo>
                    <a:pt x="147" y="644"/>
                  </a:lnTo>
                  <a:lnTo>
                    <a:pt x="150" y="645"/>
                  </a:lnTo>
                  <a:lnTo>
                    <a:pt x="153" y="646"/>
                  </a:lnTo>
                  <a:lnTo>
                    <a:pt x="389" y="646"/>
                  </a:lnTo>
                  <a:lnTo>
                    <a:pt x="392" y="646"/>
                  </a:lnTo>
                  <a:lnTo>
                    <a:pt x="395" y="647"/>
                  </a:lnTo>
                  <a:lnTo>
                    <a:pt x="397" y="649"/>
                  </a:lnTo>
                  <a:lnTo>
                    <a:pt x="398" y="651"/>
                  </a:lnTo>
                  <a:lnTo>
                    <a:pt x="399" y="652"/>
                  </a:lnTo>
                  <a:lnTo>
                    <a:pt x="500" y="909"/>
                  </a:lnTo>
                  <a:lnTo>
                    <a:pt x="501" y="912"/>
                  </a:lnTo>
                  <a:lnTo>
                    <a:pt x="501" y="914"/>
                  </a:lnTo>
                  <a:lnTo>
                    <a:pt x="501" y="917"/>
                  </a:lnTo>
                  <a:lnTo>
                    <a:pt x="500" y="920"/>
                  </a:lnTo>
                  <a:lnTo>
                    <a:pt x="448" y="1028"/>
                  </a:lnTo>
                  <a:lnTo>
                    <a:pt x="447" y="1030"/>
                  </a:lnTo>
                  <a:lnTo>
                    <a:pt x="447" y="1032"/>
                  </a:lnTo>
                  <a:lnTo>
                    <a:pt x="447" y="1036"/>
                  </a:lnTo>
                  <a:lnTo>
                    <a:pt x="519" y="1218"/>
                  </a:lnTo>
                  <a:lnTo>
                    <a:pt x="520" y="1221"/>
                  </a:lnTo>
                  <a:lnTo>
                    <a:pt x="523" y="1223"/>
                  </a:lnTo>
                  <a:lnTo>
                    <a:pt x="526" y="1224"/>
                  </a:lnTo>
                  <a:lnTo>
                    <a:pt x="529" y="1225"/>
                  </a:lnTo>
                  <a:lnTo>
                    <a:pt x="579" y="1225"/>
                  </a:lnTo>
                  <a:lnTo>
                    <a:pt x="629" y="1225"/>
                  </a:lnTo>
                  <a:lnTo>
                    <a:pt x="632" y="1224"/>
                  </a:lnTo>
                  <a:lnTo>
                    <a:pt x="635" y="1223"/>
                  </a:lnTo>
                  <a:lnTo>
                    <a:pt x="637" y="1221"/>
                  </a:lnTo>
                  <a:lnTo>
                    <a:pt x="638" y="1219"/>
                  </a:lnTo>
                  <a:lnTo>
                    <a:pt x="638" y="1218"/>
                  </a:lnTo>
                  <a:lnTo>
                    <a:pt x="710" y="1036"/>
                  </a:lnTo>
                  <a:lnTo>
                    <a:pt x="711" y="1034"/>
                  </a:lnTo>
                  <a:lnTo>
                    <a:pt x="711" y="1032"/>
                  </a:lnTo>
                  <a:lnTo>
                    <a:pt x="710" y="1030"/>
                  </a:lnTo>
                  <a:lnTo>
                    <a:pt x="710" y="1028"/>
                  </a:lnTo>
                  <a:lnTo>
                    <a:pt x="657" y="920"/>
                  </a:lnTo>
                  <a:lnTo>
                    <a:pt x="657" y="917"/>
                  </a:lnTo>
                  <a:lnTo>
                    <a:pt x="656" y="914"/>
                  </a:lnTo>
                  <a:lnTo>
                    <a:pt x="657" y="909"/>
                  </a:lnTo>
                  <a:lnTo>
                    <a:pt x="758" y="652"/>
                  </a:lnTo>
                  <a:lnTo>
                    <a:pt x="760" y="650"/>
                  </a:lnTo>
                  <a:lnTo>
                    <a:pt x="762" y="647"/>
                  </a:lnTo>
                  <a:lnTo>
                    <a:pt x="765" y="646"/>
                  </a:lnTo>
                  <a:lnTo>
                    <a:pt x="768" y="646"/>
                  </a:lnTo>
                  <a:lnTo>
                    <a:pt x="1006" y="646"/>
                  </a:lnTo>
                  <a:lnTo>
                    <a:pt x="1009" y="645"/>
                  </a:lnTo>
                  <a:lnTo>
                    <a:pt x="1011" y="644"/>
                  </a:lnTo>
                  <a:lnTo>
                    <a:pt x="1153" y="555"/>
                  </a:lnTo>
                  <a:lnTo>
                    <a:pt x="1155" y="554"/>
                  </a:lnTo>
                  <a:lnTo>
                    <a:pt x="1156" y="553"/>
                  </a:lnTo>
                  <a:lnTo>
                    <a:pt x="1157" y="552"/>
                  </a:lnTo>
                  <a:lnTo>
                    <a:pt x="1158" y="549"/>
                  </a:lnTo>
                  <a:lnTo>
                    <a:pt x="1158" y="546"/>
                  </a:lnTo>
                  <a:lnTo>
                    <a:pt x="1158" y="7"/>
                  </a:lnTo>
                  <a:lnTo>
                    <a:pt x="1158" y="4"/>
                  </a:lnTo>
                  <a:lnTo>
                    <a:pt x="1156" y="3"/>
                  </a:lnTo>
                  <a:lnTo>
                    <a:pt x="1154" y="1"/>
                  </a:lnTo>
                  <a:lnTo>
                    <a:pt x="1152" y="0"/>
                  </a:lnTo>
                  <a:lnTo>
                    <a:pt x="1150" y="1"/>
                  </a:lnTo>
                  <a:lnTo>
                    <a:pt x="1148" y="1"/>
                  </a:lnTo>
                  <a:lnTo>
                    <a:pt x="1146" y="3"/>
                  </a:lnTo>
                  <a:lnTo>
                    <a:pt x="1145" y="4"/>
                  </a:lnTo>
                  <a:lnTo>
                    <a:pt x="1145" y="5"/>
                  </a:lnTo>
                  <a:close/>
                </a:path>
              </a:pathLst>
            </a:custGeom>
            <a:solidFill>
              <a:srgbClr val="62A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dirty="0"/>
            </a:p>
          </p:txBody>
        </p:sp>
        <p:sp>
          <p:nvSpPr>
            <p:cNvPr id="12" name="Freeform 11">
              <a:extLst>
                <a:ext uri="{FF2B5EF4-FFF2-40B4-BE49-F238E27FC236}">
                  <a16:creationId xmlns:a16="http://schemas.microsoft.com/office/drawing/2014/main" id="{A9587479-2D8A-3D50-85B2-B7D2D6486C2B}"/>
                </a:ext>
              </a:extLst>
            </p:cNvPr>
            <p:cNvSpPr>
              <a:spLocks noEditPoints="1"/>
            </p:cNvSpPr>
            <p:nvPr/>
          </p:nvSpPr>
          <p:spPr bwMode="auto">
            <a:xfrm>
              <a:off x="5386388" y="3476625"/>
              <a:ext cx="3533775" cy="933450"/>
            </a:xfrm>
            <a:custGeom>
              <a:avLst/>
              <a:gdLst>
                <a:gd name="T0" fmla="*/ 1976 w 2226"/>
                <a:gd name="T1" fmla="*/ 407 h 588"/>
                <a:gd name="T2" fmla="*/ 1967 w 2226"/>
                <a:gd name="T3" fmla="*/ 463 h 588"/>
                <a:gd name="T4" fmla="*/ 2059 w 2226"/>
                <a:gd name="T5" fmla="*/ 452 h 588"/>
                <a:gd name="T6" fmla="*/ 2077 w 2226"/>
                <a:gd name="T7" fmla="*/ 579 h 588"/>
                <a:gd name="T8" fmla="*/ 2048 w 2226"/>
                <a:gd name="T9" fmla="*/ 537 h 588"/>
                <a:gd name="T10" fmla="*/ 1914 w 2226"/>
                <a:gd name="T11" fmla="*/ 585 h 588"/>
                <a:gd name="T12" fmla="*/ 1811 w 2226"/>
                <a:gd name="T13" fmla="*/ 508 h 588"/>
                <a:gd name="T14" fmla="*/ 1836 w 2226"/>
                <a:gd name="T15" fmla="*/ 383 h 588"/>
                <a:gd name="T16" fmla="*/ 2013 w 2226"/>
                <a:gd name="T17" fmla="*/ 311 h 588"/>
                <a:gd name="T18" fmla="*/ 2045 w 2226"/>
                <a:gd name="T19" fmla="*/ 271 h 588"/>
                <a:gd name="T20" fmla="*/ 1907 w 2226"/>
                <a:gd name="T21" fmla="*/ 300 h 588"/>
                <a:gd name="T22" fmla="*/ 1866 w 2226"/>
                <a:gd name="T23" fmla="*/ 195 h 588"/>
                <a:gd name="T24" fmla="*/ 2086 w 2226"/>
                <a:gd name="T25" fmla="*/ 154 h 588"/>
                <a:gd name="T26" fmla="*/ 2190 w 2226"/>
                <a:gd name="T27" fmla="*/ 214 h 588"/>
                <a:gd name="T28" fmla="*/ 2217 w 2226"/>
                <a:gd name="T29" fmla="*/ 512 h 588"/>
                <a:gd name="T30" fmla="*/ 1994 w 2226"/>
                <a:gd name="T31" fmla="*/ 3 h 588"/>
                <a:gd name="T32" fmla="*/ 1869 w 2226"/>
                <a:gd name="T33" fmla="*/ 7 h 588"/>
                <a:gd name="T34" fmla="*/ 2172 w 2226"/>
                <a:gd name="T35" fmla="*/ 123 h 588"/>
                <a:gd name="T36" fmla="*/ 1190 w 2226"/>
                <a:gd name="T37" fmla="*/ 576 h 588"/>
                <a:gd name="T38" fmla="*/ 1121 w 2226"/>
                <a:gd name="T39" fmla="*/ 502 h 588"/>
                <a:gd name="T40" fmla="*/ 1059 w 2226"/>
                <a:gd name="T41" fmla="*/ 264 h 588"/>
                <a:gd name="T42" fmla="*/ 1170 w 2226"/>
                <a:gd name="T43" fmla="*/ 25 h 588"/>
                <a:gd name="T44" fmla="*/ 1274 w 2226"/>
                <a:gd name="T45" fmla="*/ 156 h 588"/>
                <a:gd name="T46" fmla="*/ 1374 w 2226"/>
                <a:gd name="T47" fmla="*/ 271 h 588"/>
                <a:gd name="T48" fmla="*/ 1291 w 2226"/>
                <a:gd name="T49" fmla="*/ 469 h 588"/>
                <a:gd name="T50" fmla="*/ 1370 w 2226"/>
                <a:gd name="T51" fmla="*/ 564 h 588"/>
                <a:gd name="T52" fmla="*/ 1 w 2226"/>
                <a:gd name="T53" fmla="*/ 3 h 588"/>
                <a:gd name="T54" fmla="*/ 312 w 2226"/>
                <a:gd name="T55" fmla="*/ 389 h 588"/>
                <a:gd name="T56" fmla="*/ 615 w 2226"/>
                <a:gd name="T57" fmla="*/ 572 h 588"/>
                <a:gd name="T58" fmla="*/ 463 w 2226"/>
                <a:gd name="T59" fmla="*/ 222 h 588"/>
                <a:gd name="T60" fmla="*/ 365 w 2226"/>
                <a:gd name="T61" fmla="*/ 579 h 588"/>
                <a:gd name="T62" fmla="*/ 146 w 2226"/>
                <a:gd name="T63" fmla="*/ 223 h 588"/>
                <a:gd name="T64" fmla="*/ 1 w 2226"/>
                <a:gd name="T65" fmla="*/ 576 h 588"/>
                <a:gd name="T66" fmla="*/ 795 w 2226"/>
                <a:gd name="T67" fmla="*/ 421 h 588"/>
                <a:gd name="T68" fmla="*/ 861 w 2226"/>
                <a:gd name="T69" fmla="*/ 482 h 588"/>
                <a:gd name="T70" fmla="*/ 999 w 2226"/>
                <a:gd name="T71" fmla="*/ 448 h 588"/>
                <a:gd name="T72" fmla="*/ 974 w 2226"/>
                <a:gd name="T73" fmla="*/ 574 h 588"/>
                <a:gd name="T74" fmla="*/ 772 w 2226"/>
                <a:gd name="T75" fmla="*/ 575 h 588"/>
                <a:gd name="T76" fmla="*/ 659 w 2226"/>
                <a:gd name="T77" fmla="*/ 476 h 588"/>
                <a:gd name="T78" fmla="*/ 649 w 2226"/>
                <a:gd name="T79" fmla="*/ 300 h 588"/>
                <a:gd name="T80" fmla="*/ 753 w 2226"/>
                <a:gd name="T81" fmla="*/ 177 h 588"/>
                <a:gd name="T82" fmla="*/ 901 w 2226"/>
                <a:gd name="T83" fmla="*/ 155 h 588"/>
                <a:gd name="T84" fmla="*/ 1027 w 2226"/>
                <a:gd name="T85" fmla="*/ 233 h 588"/>
                <a:gd name="T86" fmla="*/ 921 w 2226"/>
                <a:gd name="T87" fmla="*/ 325 h 588"/>
                <a:gd name="T88" fmla="*/ 895 w 2226"/>
                <a:gd name="T89" fmla="*/ 267 h 588"/>
                <a:gd name="T90" fmla="*/ 818 w 2226"/>
                <a:gd name="T91" fmla="*/ 277 h 588"/>
                <a:gd name="T92" fmla="*/ 1595 w 2226"/>
                <a:gd name="T93" fmla="*/ 588 h 588"/>
                <a:gd name="T94" fmla="*/ 1393 w 2226"/>
                <a:gd name="T95" fmla="*/ 532 h 588"/>
                <a:gd name="T96" fmla="*/ 1483 w 2226"/>
                <a:gd name="T97" fmla="*/ 465 h 588"/>
                <a:gd name="T98" fmla="*/ 1638 w 2226"/>
                <a:gd name="T99" fmla="*/ 480 h 588"/>
                <a:gd name="T100" fmla="*/ 1609 w 2226"/>
                <a:gd name="T101" fmla="*/ 434 h 588"/>
                <a:gd name="T102" fmla="*/ 1433 w 2226"/>
                <a:gd name="T103" fmla="*/ 371 h 588"/>
                <a:gd name="T104" fmla="*/ 1410 w 2226"/>
                <a:gd name="T105" fmla="*/ 261 h 588"/>
                <a:gd name="T106" fmla="*/ 1497 w 2226"/>
                <a:gd name="T107" fmla="*/ 166 h 588"/>
                <a:gd name="T108" fmla="*/ 1713 w 2226"/>
                <a:gd name="T109" fmla="*/ 174 h 588"/>
                <a:gd name="T110" fmla="*/ 1716 w 2226"/>
                <a:gd name="T111" fmla="*/ 292 h 588"/>
                <a:gd name="T112" fmla="*/ 1568 w 2226"/>
                <a:gd name="T113" fmla="*/ 256 h 588"/>
                <a:gd name="T114" fmla="*/ 1563 w 2226"/>
                <a:gd name="T115" fmla="*/ 299 h 588"/>
                <a:gd name="T116" fmla="*/ 1752 w 2226"/>
                <a:gd name="T117" fmla="*/ 356 h 588"/>
                <a:gd name="T118" fmla="*/ 1787 w 2226"/>
                <a:gd name="T119" fmla="*/ 458 h 588"/>
                <a:gd name="T120" fmla="*/ 1721 w 2226"/>
                <a:gd name="T121" fmla="*/ 55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26" h="588">
                  <a:moveTo>
                    <a:pt x="2065" y="439"/>
                  </a:moveTo>
                  <a:lnTo>
                    <a:pt x="2065" y="391"/>
                  </a:lnTo>
                  <a:lnTo>
                    <a:pt x="2064" y="389"/>
                  </a:lnTo>
                  <a:lnTo>
                    <a:pt x="2063" y="388"/>
                  </a:lnTo>
                  <a:lnTo>
                    <a:pt x="2061" y="387"/>
                  </a:lnTo>
                  <a:lnTo>
                    <a:pt x="2060" y="387"/>
                  </a:lnTo>
                  <a:lnTo>
                    <a:pt x="2047" y="388"/>
                  </a:lnTo>
                  <a:lnTo>
                    <a:pt x="2035" y="389"/>
                  </a:lnTo>
                  <a:lnTo>
                    <a:pt x="2024" y="390"/>
                  </a:lnTo>
                  <a:lnTo>
                    <a:pt x="2014" y="392"/>
                  </a:lnTo>
                  <a:lnTo>
                    <a:pt x="2004" y="395"/>
                  </a:lnTo>
                  <a:lnTo>
                    <a:pt x="1996" y="397"/>
                  </a:lnTo>
                  <a:lnTo>
                    <a:pt x="1988" y="400"/>
                  </a:lnTo>
                  <a:lnTo>
                    <a:pt x="1981" y="403"/>
                  </a:lnTo>
                  <a:lnTo>
                    <a:pt x="1976" y="407"/>
                  </a:lnTo>
                  <a:lnTo>
                    <a:pt x="1971" y="411"/>
                  </a:lnTo>
                  <a:lnTo>
                    <a:pt x="1966" y="415"/>
                  </a:lnTo>
                  <a:lnTo>
                    <a:pt x="1963" y="420"/>
                  </a:lnTo>
                  <a:lnTo>
                    <a:pt x="1960" y="425"/>
                  </a:lnTo>
                  <a:lnTo>
                    <a:pt x="1958" y="430"/>
                  </a:lnTo>
                  <a:lnTo>
                    <a:pt x="1957" y="435"/>
                  </a:lnTo>
                  <a:lnTo>
                    <a:pt x="1957" y="441"/>
                  </a:lnTo>
                  <a:lnTo>
                    <a:pt x="1957" y="445"/>
                  </a:lnTo>
                  <a:lnTo>
                    <a:pt x="1958" y="448"/>
                  </a:lnTo>
                  <a:lnTo>
                    <a:pt x="1958" y="451"/>
                  </a:lnTo>
                  <a:lnTo>
                    <a:pt x="1959" y="454"/>
                  </a:lnTo>
                  <a:lnTo>
                    <a:pt x="1961" y="457"/>
                  </a:lnTo>
                  <a:lnTo>
                    <a:pt x="1963" y="459"/>
                  </a:lnTo>
                  <a:lnTo>
                    <a:pt x="1965" y="461"/>
                  </a:lnTo>
                  <a:lnTo>
                    <a:pt x="1967" y="463"/>
                  </a:lnTo>
                  <a:lnTo>
                    <a:pt x="1972" y="467"/>
                  </a:lnTo>
                  <a:lnTo>
                    <a:pt x="1975" y="468"/>
                  </a:lnTo>
                  <a:lnTo>
                    <a:pt x="1978" y="469"/>
                  </a:lnTo>
                  <a:lnTo>
                    <a:pt x="1984" y="470"/>
                  </a:lnTo>
                  <a:lnTo>
                    <a:pt x="1991" y="471"/>
                  </a:lnTo>
                  <a:lnTo>
                    <a:pt x="2005" y="470"/>
                  </a:lnTo>
                  <a:lnTo>
                    <a:pt x="2011" y="470"/>
                  </a:lnTo>
                  <a:lnTo>
                    <a:pt x="2017" y="469"/>
                  </a:lnTo>
                  <a:lnTo>
                    <a:pt x="2023" y="468"/>
                  </a:lnTo>
                  <a:lnTo>
                    <a:pt x="2028" y="467"/>
                  </a:lnTo>
                  <a:lnTo>
                    <a:pt x="2037" y="464"/>
                  </a:lnTo>
                  <a:lnTo>
                    <a:pt x="2045" y="461"/>
                  </a:lnTo>
                  <a:lnTo>
                    <a:pt x="2051" y="458"/>
                  </a:lnTo>
                  <a:lnTo>
                    <a:pt x="2056" y="454"/>
                  </a:lnTo>
                  <a:lnTo>
                    <a:pt x="2059" y="452"/>
                  </a:lnTo>
                  <a:lnTo>
                    <a:pt x="2061" y="450"/>
                  </a:lnTo>
                  <a:lnTo>
                    <a:pt x="2063" y="447"/>
                  </a:lnTo>
                  <a:lnTo>
                    <a:pt x="2064" y="443"/>
                  </a:lnTo>
                  <a:lnTo>
                    <a:pt x="2065" y="440"/>
                  </a:lnTo>
                  <a:lnTo>
                    <a:pt x="2065" y="439"/>
                  </a:lnTo>
                  <a:close/>
                  <a:moveTo>
                    <a:pt x="2225" y="572"/>
                  </a:moveTo>
                  <a:lnTo>
                    <a:pt x="2226" y="575"/>
                  </a:lnTo>
                  <a:lnTo>
                    <a:pt x="2225" y="577"/>
                  </a:lnTo>
                  <a:lnTo>
                    <a:pt x="2225" y="578"/>
                  </a:lnTo>
                  <a:lnTo>
                    <a:pt x="2224" y="579"/>
                  </a:lnTo>
                  <a:lnTo>
                    <a:pt x="2221" y="579"/>
                  </a:lnTo>
                  <a:lnTo>
                    <a:pt x="2220" y="579"/>
                  </a:lnTo>
                  <a:lnTo>
                    <a:pt x="2081" y="579"/>
                  </a:lnTo>
                  <a:lnTo>
                    <a:pt x="2079" y="579"/>
                  </a:lnTo>
                  <a:lnTo>
                    <a:pt x="2077" y="579"/>
                  </a:lnTo>
                  <a:lnTo>
                    <a:pt x="2074" y="577"/>
                  </a:lnTo>
                  <a:lnTo>
                    <a:pt x="2073" y="574"/>
                  </a:lnTo>
                  <a:lnTo>
                    <a:pt x="2072" y="572"/>
                  </a:lnTo>
                  <a:lnTo>
                    <a:pt x="2069" y="560"/>
                  </a:lnTo>
                  <a:lnTo>
                    <a:pt x="2067" y="548"/>
                  </a:lnTo>
                  <a:lnTo>
                    <a:pt x="2065" y="537"/>
                  </a:lnTo>
                  <a:lnTo>
                    <a:pt x="2065" y="526"/>
                  </a:lnTo>
                  <a:lnTo>
                    <a:pt x="2064" y="524"/>
                  </a:lnTo>
                  <a:lnTo>
                    <a:pt x="2064" y="522"/>
                  </a:lnTo>
                  <a:lnTo>
                    <a:pt x="2063" y="522"/>
                  </a:lnTo>
                  <a:lnTo>
                    <a:pt x="2062" y="522"/>
                  </a:lnTo>
                  <a:lnTo>
                    <a:pt x="2061" y="523"/>
                  </a:lnTo>
                  <a:lnTo>
                    <a:pt x="2060" y="524"/>
                  </a:lnTo>
                  <a:lnTo>
                    <a:pt x="2054" y="531"/>
                  </a:lnTo>
                  <a:lnTo>
                    <a:pt x="2048" y="537"/>
                  </a:lnTo>
                  <a:lnTo>
                    <a:pt x="2042" y="544"/>
                  </a:lnTo>
                  <a:lnTo>
                    <a:pt x="2035" y="549"/>
                  </a:lnTo>
                  <a:lnTo>
                    <a:pt x="2028" y="555"/>
                  </a:lnTo>
                  <a:lnTo>
                    <a:pt x="2021" y="560"/>
                  </a:lnTo>
                  <a:lnTo>
                    <a:pt x="2013" y="564"/>
                  </a:lnTo>
                  <a:lnTo>
                    <a:pt x="2005" y="569"/>
                  </a:lnTo>
                  <a:lnTo>
                    <a:pt x="1996" y="573"/>
                  </a:lnTo>
                  <a:lnTo>
                    <a:pt x="1987" y="576"/>
                  </a:lnTo>
                  <a:lnTo>
                    <a:pt x="1978" y="579"/>
                  </a:lnTo>
                  <a:lnTo>
                    <a:pt x="1968" y="581"/>
                  </a:lnTo>
                  <a:lnTo>
                    <a:pt x="1958" y="583"/>
                  </a:lnTo>
                  <a:lnTo>
                    <a:pt x="1948" y="584"/>
                  </a:lnTo>
                  <a:lnTo>
                    <a:pt x="1937" y="585"/>
                  </a:lnTo>
                  <a:lnTo>
                    <a:pt x="1925" y="586"/>
                  </a:lnTo>
                  <a:lnTo>
                    <a:pt x="1914" y="585"/>
                  </a:lnTo>
                  <a:lnTo>
                    <a:pt x="1903" y="584"/>
                  </a:lnTo>
                  <a:lnTo>
                    <a:pt x="1892" y="582"/>
                  </a:lnTo>
                  <a:lnTo>
                    <a:pt x="1881" y="579"/>
                  </a:lnTo>
                  <a:lnTo>
                    <a:pt x="1871" y="574"/>
                  </a:lnTo>
                  <a:lnTo>
                    <a:pt x="1861" y="570"/>
                  </a:lnTo>
                  <a:lnTo>
                    <a:pt x="1856" y="567"/>
                  </a:lnTo>
                  <a:lnTo>
                    <a:pt x="1851" y="564"/>
                  </a:lnTo>
                  <a:lnTo>
                    <a:pt x="1843" y="557"/>
                  </a:lnTo>
                  <a:lnTo>
                    <a:pt x="1835" y="549"/>
                  </a:lnTo>
                  <a:lnTo>
                    <a:pt x="1827" y="540"/>
                  </a:lnTo>
                  <a:lnTo>
                    <a:pt x="1824" y="536"/>
                  </a:lnTo>
                  <a:lnTo>
                    <a:pt x="1821" y="531"/>
                  </a:lnTo>
                  <a:lnTo>
                    <a:pt x="1816" y="520"/>
                  </a:lnTo>
                  <a:lnTo>
                    <a:pt x="1813" y="514"/>
                  </a:lnTo>
                  <a:lnTo>
                    <a:pt x="1811" y="508"/>
                  </a:lnTo>
                  <a:lnTo>
                    <a:pt x="1808" y="495"/>
                  </a:lnTo>
                  <a:lnTo>
                    <a:pt x="1806" y="481"/>
                  </a:lnTo>
                  <a:lnTo>
                    <a:pt x="1806" y="474"/>
                  </a:lnTo>
                  <a:lnTo>
                    <a:pt x="1805" y="466"/>
                  </a:lnTo>
                  <a:lnTo>
                    <a:pt x="1806" y="458"/>
                  </a:lnTo>
                  <a:lnTo>
                    <a:pt x="1806" y="449"/>
                  </a:lnTo>
                  <a:lnTo>
                    <a:pt x="1808" y="441"/>
                  </a:lnTo>
                  <a:lnTo>
                    <a:pt x="1809" y="433"/>
                  </a:lnTo>
                  <a:lnTo>
                    <a:pt x="1812" y="425"/>
                  </a:lnTo>
                  <a:lnTo>
                    <a:pt x="1814" y="418"/>
                  </a:lnTo>
                  <a:lnTo>
                    <a:pt x="1818" y="410"/>
                  </a:lnTo>
                  <a:lnTo>
                    <a:pt x="1822" y="403"/>
                  </a:lnTo>
                  <a:lnTo>
                    <a:pt x="1826" y="396"/>
                  </a:lnTo>
                  <a:lnTo>
                    <a:pt x="1831" y="390"/>
                  </a:lnTo>
                  <a:lnTo>
                    <a:pt x="1836" y="383"/>
                  </a:lnTo>
                  <a:lnTo>
                    <a:pt x="1842" y="377"/>
                  </a:lnTo>
                  <a:lnTo>
                    <a:pt x="1848" y="371"/>
                  </a:lnTo>
                  <a:lnTo>
                    <a:pt x="1855" y="365"/>
                  </a:lnTo>
                  <a:lnTo>
                    <a:pt x="1862" y="360"/>
                  </a:lnTo>
                  <a:lnTo>
                    <a:pt x="1869" y="355"/>
                  </a:lnTo>
                  <a:lnTo>
                    <a:pt x="1886" y="345"/>
                  </a:lnTo>
                  <a:lnTo>
                    <a:pt x="1895" y="341"/>
                  </a:lnTo>
                  <a:lnTo>
                    <a:pt x="1905" y="337"/>
                  </a:lnTo>
                  <a:lnTo>
                    <a:pt x="1915" y="333"/>
                  </a:lnTo>
                  <a:lnTo>
                    <a:pt x="1926" y="329"/>
                  </a:lnTo>
                  <a:lnTo>
                    <a:pt x="1948" y="323"/>
                  </a:lnTo>
                  <a:lnTo>
                    <a:pt x="1960" y="320"/>
                  </a:lnTo>
                  <a:lnTo>
                    <a:pt x="1973" y="317"/>
                  </a:lnTo>
                  <a:lnTo>
                    <a:pt x="1999" y="313"/>
                  </a:lnTo>
                  <a:lnTo>
                    <a:pt x="2013" y="311"/>
                  </a:lnTo>
                  <a:lnTo>
                    <a:pt x="2027" y="310"/>
                  </a:lnTo>
                  <a:lnTo>
                    <a:pt x="2057" y="308"/>
                  </a:lnTo>
                  <a:lnTo>
                    <a:pt x="2061" y="307"/>
                  </a:lnTo>
                  <a:lnTo>
                    <a:pt x="2064" y="306"/>
                  </a:lnTo>
                  <a:lnTo>
                    <a:pt x="2065" y="305"/>
                  </a:lnTo>
                  <a:lnTo>
                    <a:pt x="2065" y="302"/>
                  </a:lnTo>
                  <a:lnTo>
                    <a:pt x="2064" y="295"/>
                  </a:lnTo>
                  <a:lnTo>
                    <a:pt x="2063" y="291"/>
                  </a:lnTo>
                  <a:lnTo>
                    <a:pt x="2063" y="288"/>
                  </a:lnTo>
                  <a:lnTo>
                    <a:pt x="2061" y="285"/>
                  </a:lnTo>
                  <a:lnTo>
                    <a:pt x="2060" y="282"/>
                  </a:lnTo>
                  <a:lnTo>
                    <a:pt x="2055" y="277"/>
                  </a:lnTo>
                  <a:lnTo>
                    <a:pt x="2052" y="275"/>
                  </a:lnTo>
                  <a:lnTo>
                    <a:pt x="2049" y="273"/>
                  </a:lnTo>
                  <a:lnTo>
                    <a:pt x="2045" y="271"/>
                  </a:lnTo>
                  <a:lnTo>
                    <a:pt x="2041" y="269"/>
                  </a:lnTo>
                  <a:lnTo>
                    <a:pt x="2031" y="267"/>
                  </a:lnTo>
                  <a:lnTo>
                    <a:pt x="2025" y="267"/>
                  </a:lnTo>
                  <a:lnTo>
                    <a:pt x="2018" y="267"/>
                  </a:lnTo>
                  <a:lnTo>
                    <a:pt x="2009" y="267"/>
                  </a:lnTo>
                  <a:lnTo>
                    <a:pt x="2000" y="268"/>
                  </a:lnTo>
                  <a:lnTo>
                    <a:pt x="1992" y="269"/>
                  </a:lnTo>
                  <a:lnTo>
                    <a:pt x="1983" y="270"/>
                  </a:lnTo>
                  <a:lnTo>
                    <a:pt x="1974" y="272"/>
                  </a:lnTo>
                  <a:lnTo>
                    <a:pt x="1966" y="274"/>
                  </a:lnTo>
                  <a:lnTo>
                    <a:pt x="1958" y="277"/>
                  </a:lnTo>
                  <a:lnTo>
                    <a:pt x="1950" y="280"/>
                  </a:lnTo>
                  <a:lnTo>
                    <a:pt x="1934" y="286"/>
                  </a:lnTo>
                  <a:lnTo>
                    <a:pt x="1920" y="293"/>
                  </a:lnTo>
                  <a:lnTo>
                    <a:pt x="1907" y="300"/>
                  </a:lnTo>
                  <a:lnTo>
                    <a:pt x="1895" y="308"/>
                  </a:lnTo>
                  <a:lnTo>
                    <a:pt x="1893" y="309"/>
                  </a:lnTo>
                  <a:lnTo>
                    <a:pt x="1891" y="309"/>
                  </a:lnTo>
                  <a:lnTo>
                    <a:pt x="1889" y="309"/>
                  </a:lnTo>
                  <a:lnTo>
                    <a:pt x="1888" y="309"/>
                  </a:lnTo>
                  <a:lnTo>
                    <a:pt x="1886" y="307"/>
                  </a:lnTo>
                  <a:lnTo>
                    <a:pt x="1885" y="306"/>
                  </a:lnTo>
                  <a:lnTo>
                    <a:pt x="1830" y="230"/>
                  </a:lnTo>
                  <a:lnTo>
                    <a:pt x="1828" y="227"/>
                  </a:lnTo>
                  <a:lnTo>
                    <a:pt x="1828" y="225"/>
                  </a:lnTo>
                  <a:lnTo>
                    <a:pt x="1829" y="224"/>
                  </a:lnTo>
                  <a:lnTo>
                    <a:pt x="1830" y="221"/>
                  </a:lnTo>
                  <a:lnTo>
                    <a:pt x="1831" y="220"/>
                  </a:lnTo>
                  <a:lnTo>
                    <a:pt x="1847" y="207"/>
                  </a:lnTo>
                  <a:lnTo>
                    <a:pt x="1866" y="195"/>
                  </a:lnTo>
                  <a:lnTo>
                    <a:pt x="1876" y="189"/>
                  </a:lnTo>
                  <a:lnTo>
                    <a:pt x="1887" y="184"/>
                  </a:lnTo>
                  <a:lnTo>
                    <a:pt x="1899" y="178"/>
                  </a:lnTo>
                  <a:lnTo>
                    <a:pt x="1912" y="173"/>
                  </a:lnTo>
                  <a:lnTo>
                    <a:pt x="1925" y="169"/>
                  </a:lnTo>
                  <a:lnTo>
                    <a:pt x="1939" y="165"/>
                  </a:lnTo>
                  <a:lnTo>
                    <a:pt x="1954" y="161"/>
                  </a:lnTo>
                  <a:lnTo>
                    <a:pt x="1970" y="158"/>
                  </a:lnTo>
                  <a:lnTo>
                    <a:pt x="1987" y="155"/>
                  </a:lnTo>
                  <a:lnTo>
                    <a:pt x="2005" y="153"/>
                  </a:lnTo>
                  <a:lnTo>
                    <a:pt x="2023" y="152"/>
                  </a:lnTo>
                  <a:lnTo>
                    <a:pt x="2043" y="152"/>
                  </a:lnTo>
                  <a:lnTo>
                    <a:pt x="2054" y="152"/>
                  </a:lnTo>
                  <a:lnTo>
                    <a:pt x="2065" y="152"/>
                  </a:lnTo>
                  <a:lnTo>
                    <a:pt x="2086" y="154"/>
                  </a:lnTo>
                  <a:lnTo>
                    <a:pt x="2096" y="156"/>
                  </a:lnTo>
                  <a:lnTo>
                    <a:pt x="2105" y="158"/>
                  </a:lnTo>
                  <a:lnTo>
                    <a:pt x="2114" y="160"/>
                  </a:lnTo>
                  <a:lnTo>
                    <a:pt x="2122" y="163"/>
                  </a:lnTo>
                  <a:lnTo>
                    <a:pt x="2130" y="166"/>
                  </a:lnTo>
                  <a:lnTo>
                    <a:pt x="2138" y="169"/>
                  </a:lnTo>
                  <a:lnTo>
                    <a:pt x="2145" y="172"/>
                  </a:lnTo>
                  <a:lnTo>
                    <a:pt x="2152" y="176"/>
                  </a:lnTo>
                  <a:lnTo>
                    <a:pt x="2159" y="181"/>
                  </a:lnTo>
                  <a:lnTo>
                    <a:pt x="2165" y="185"/>
                  </a:lnTo>
                  <a:lnTo>
                    <a:pt x="2170" y="190"/>
                  </a:lnTo>
                  <a:lnTo>
                    <a:pt x="2176" y="196"/>
                  </a:lnTo>
                  <a:lnTo>
                    <a:pt x="2181" y="201"/>
                  </a:lnTo>
                  <a:lnTo>
                    <a:pt x="2186" y="207"/>
                  </a:lnTo>
                  <a:lnTo>
                    <a:pt x="2190" y="214"/>
                  </a:lnTo>
                  <a:lnTo>
                    <a:pt x="2194" y="220"/>
                  </a:lnTo>
                  <a:lnTo>
                    <a:pt x="2197" y="227"/>
                  </a:lnTo>
                  <a:lnTo>
                    <a:pt x="2201" y="235"/>
                  </a:lnTo>
                  <a:lnTo>
                    <a:pt x="2204" y="242"/>
                  </a:lnTo>
                  <a:lnTo>
                    <a:pt x="2206" y="251"/>
                  </a:lnTo>
                  <a:lnTo>
                    <a:pt x="2209" y="259"/>
                  </a:lnTo>
                  <a:lnTo>
                    <a:pt x="2211" y="268"/>
                  </a:lnTo>
                  <a:lnTo>
                    <a:pt x="2212" y="277"/>
                  </a:lnTo>
                  <a:lnTo>
                    <a:pt x="2214" y="287"/>
                  </a:lnTo>
                  <a:lnTo>
                    <a:pt x="2215" y="296"/>
                  </a:lnTo>
                  <a:lnTo>
                    <a:pt x="2215" y="307"/>
                  </a:lnTo>
                  <a:lnTo>
                    <a:pt x="2216" y="317"/>
                  </a:lnTo>
                  <a:lnTo>
                    <a:pt x="2216" y="328"/>
                  </a:lnTo>
                  <a:lnTo>
                    <a:pt x="2216" y="478"/>
                  </a:lnTo>
                  <a:lnTo>
                    <a:pt x="2217" y="512"/>
                  </a:lnTo>
                  <a:lnTo>
                    <a:pt x="2218" y="539"/>
                  </a:lnTo>
                  <a:lnTo>
                    <a:pt x="2220" y="549"/>
                  </a:lnTo>
                  <a:lnTo>
                    <a:pt x="2221" y="559"/>
                  </a:lnTo>
                  <a:lnTo>
                    <a:pt x="2223" y="566"/>
                  </a:lnTo>
                  <a:lnTo>
                    <a:pt x="2225" y="572"/>
                  </a:lnTo>
                  <a:close/>
                  <a:moveTo>
                    <a:pt x="1869" y="7"/>
                  </a:moveTo>
                  <a:lnTo>
                    <a:pt x="1869" y="5"/>
                  </a:lnTo>
                  <a:lnTo>
                    <a:pt x="1870" y="3"/>
                  </a:lnTo>
                  <a:lnTo>
                    <a:pt x="1873" y="0"/>
                  </a:lnTo>
                  <a:lnTo>
                    <a:pt x="1875" y="0"/>
                  </a:lnTo>
                  <a:lnTo>
                    <a:pt x="1877" y="0"/>
                  </a:lnTo>
                  <a:lnTo>
                    <a:pt x="1987" y="0"/>
                  </a:lnTo>
                  <a:lnTo>
                    <a:pt x="1989" y="0"/>
                  </a:lnTo>
                  <a:lnTo>
                    <a:pt x="1991" y="1"/>
                  </a:lnTo>
                  <a:lnTo>
                    <a:pt x="1994" y="3"/>
                  </a:lnTo>
                  <a:lnTo>
                    <a:pt x="1994" y="6"/>
                  </a:lnTo>
                  <a:lnTo>
                    <a:pt x="1995" y="7"/>
                  </a:lnTo>
                  <a:lnTo>
                    <a:pt x="1995" y="121"/>
                  </a:lnTo>
                  <a:lnTo>
                    <a:pt x="1994" y="123"/>
                  </a:lnTo>
                  <a:lnTo>
                    <a:pt x="1993" y="125"/>
                  </a:lnTo>
                  <a:lnTo>
                    <a:pt x="1991" y="128"/>
                  </a:lnTo>
                  <a:lnTo>
                    <a:pt x="1988" y="128"/>
                  </a:lnTo>
                  <a:lnTo>
                    <a:pt x="1987" y="129"/>
                  </a:lnTo>
                  <a:lnTo>
                    <a:pt x="1877" y="129"/>
                  </a:lnTo>
                  <a:lnTo>
                    <a:pt x="1874" y="128"/>
                  </a:lnTo>
                  <a:lnTo>
                    <a:pt x="1872" y="127"/>
                  </a:lnTo>
                  <a:lnTo>
                    <a:pt x="1870" y="125"/>
                  </a:lnTo>
                  <a:lnTo>
                    <a:pt x="1869" y="122"/>
                  </a:lnTo>
                  <a:lnTo>
                    <a:pt x="1869" y="121"/>
                  </a:lnTo>
                  <a:lnTo>
                    <a:pt x="1869" y="7"/>
                  </a:lnTo>
                  <a:close/>
                  <a:moveTo>
                    <a:pt x="2047" y="121"/>
                  </a:moveTo>
                  <a:lnTo>
                    <a:pt x="2047" y="7"/>
                  </a:lnTo>
                  <a:lnTo>
                    <a:pt x="2047" y="5"/>
                  </a:lnTo>
                  <a:lnTo>
                    <a:pt x="2048" y="3"/>
                  </a:lnTo>
                  <a:lnTo>
                    <a:pt x="2051" y="0"/>
                  </a:lnTo>
                  <a:lnTo>
                    <a:pt x="2053" y="0"/>
                  </a:lnTo>
                  <a:lnTo>
                    <a:pt x="2054" y="0"/>
                  </a:lnTo>
                  <a:lnTo>
                    <a:pt x="2165" y="0"/>
                  </a:lnTo>
                  <a:lnTo>
                    <a:pt x="2167" y="0"/>
                  </a:lnTo>
                  <a:lnTo>
                    <a:pt x="2169" y="1"/>
                  </a:lnTo>
                  <a:lnTo>
                    <a:pt x="2171" y="3"/>
                  </a:lnTo>
                  <a:lnTo>
                    <a:pt x="2172" y="6"/>
                  </a:lnTo>
                  <a:lnTo>
                    <a:pt x="2172" y="7"/>
                  </a:lnTo>
                  <a:lnTo>
                    <a:pt x="2172" y="121"/>
                  </a:lnTo>
                  <a:lnTo>
                    <a:pt x="2172" y="123"/>
                  </a:lnTo>
                  <a:lnTo>
                    <a:pt x="2171" y="125"/>
                  </a:lnTo>
                  <a:lnTo>
                    <a:pt x="2169" y="127"/>
                  </a:lnTo>
                  <a:lnTo>
                    <a:pt x="2166" y="128"/>
                  </a:lnTo>
                  <a:lnTo>
                    <a:pt x="2165" y="128"/>
                  </a:lnTo>
                  <a:lnTo>
                    <a:pt x="2054" y="128"/>
                  </a:lnTo>
                  <a:lnTo>
                    <a:pt x="2052" y="128"/>
                  </a:lnTo>
                  <a:lnTo>
                    <a:pt x="2050" y="127"/>
                  </a:lnTo>
                  <a:lnTo>
                    <a:pt x="2048" y="125"/>
                  </a:lnTo>
                  <a:lnTo>
                    <a:pt x="2047" y="122"/>
                  </a:lnTo>
                  <a:lnTo>
                    <a:pt x="2047" y="121"/>
                  </a:lnTo>
                  <a:close/>
                  <a:moveTo>
                    <a:pt x="1274" y="585"/>
                  </a:moveTo>
                  <a:lnTo>
                    <a:pt x="1249" y="584"/>
                  </a:lnTo>
                  <a:lnTo>
                    <a:pt x="1226" y="583"/>
                  </a:lnTo>
                  <a:lnTo>
                    <a:pt x="1207" y="580"/>
                  </a:lnTo>
                  <a:lnTo>
                    <a:pt x="1190" y="576"/>
                  </a:lnTo>
                  <a:lnTo>
                    <a:pt x="1175" y="571"/>
                  </a:lnTo>
                  <a:lnTo>
                    <a:pt x="1168" y="568"/>
                  </a:lnTo>
                  <a:lnTo>
                    <a:pt x="1162" y="565"/>
                  </a:lnTo>
                  <a:lnTo>
                    <a:pt x="1156" y="561"/>
                  </a:lnTo>
                  <a:lnTo>
                    <a:pt x="1151" y="558"/>
                  </a:lnTo>
                  <a:lnTo>
                    <a:pt x="1149" y="556"/>
                  </a:lnTo>
                  <a:lnTo>
                    <a:pt x="1147" y="554"/>
                  </a:lnTo>
                  <a:lnTo>
                    <a:pt x="1143" y="550"/>
                  </a:lnTo>
                  <a:lnTo>
                    <a:pt x="1139" y="545"/>
                  </a:lnTo>
                  <a:lnTo>
                    <a:pt x="1135" y="541"/>
                  </a:lnTo>
                  <a:lnTo>
                    <a:pt x="1130" y="531"/>
                  </a:lnTo>
                  <a:lnTo>
                    <a:pt x="1127" y="525"/>
                  </a:lnTo>
                  <a:lnTo>
                    <a:pt x="1125" y="520"/>
                  </a:lnTo>
                  <a:lnTo>
                    <a:pt x="1122" y="508"/>
                  </a:lnTo>
                  <a:lnTo>
                    <a:pt x="1121" y="502"/>
                  </a:lnTo>
                  <a:lnTo>
                    <a:pt x="1120" y="496"/>
                  </a:lnTo>
                  <a:lnTo>
                    <a:pt x="1119" y="482"/>
                  </a:lnTo>
                  <a:lnTo>
                    <a:pt x="1118" y="468"/>
                  </a:lnTo>
                  <a:lnTo>
                    <a:pt x="1118" y="453"/>
                  </a:lnTo>
                  <a:lnTo>
                    <a:pt x="1118" y="278"/>
                  </a:lnTo>
                  <a:lnTo>
                    <a:pt x="1117" y="276"/>
                  </a:lnTo>
                  <a:lnTo>
                    <a:pt x="1117" y="274"/>
                  </a:lnTo>
                  <a:lnTo>
                    <a:pt x="1114" y="272"/>
                  </a:lnTo>
                  <a:lnTo>
                    <a:pt x="1111" y="271"/>
                  </a:lnTo>
                  <a:lnTo>
                    <a:pt x="1110" y="271"/>
                  </a:lnTo>
                  <a:lnTo>
                    <a:pt x="1067" y="271"/>
                  </a:lnTo>
                  <a:lnTo>
                    <a:pt x="1064" y="270"/>
                  </a:lnTo>
                  <a:lnTo>
                    <a:pt x="1062" y="269"/>
                  </a:lnTo>
                  <a:lnTo>
                    <a:pt x="1060" y="267"/>
                  </a:lnTo>
                  <a:lnTo>
                    <a:pt x="1059" y="264"/>
                  </a:lnTo>
                  <a:lnTo>
                    <a:pt x="1059" y="263"/>
                  </a:lnTo>
                  <a:lnTo>
                    <a:pt x="1059" y="167"/>
                  </a:lnTo>
                  <a:lnTo>
                    <a:pt x="1059" y="164"/>
                  </a:lnTo>
                  <a:lnTo>
                    <a:pt x="1060" y="162"/>
                  </a:lnTo>
                  <a:lnTo>
                    <a:pt x="1063" y="160"/>
                  </a:lnTo>
                  <a:lnTo>
                    <a:pt x="1065" y="159"/>
                  </a:lnTo>
                  <a:lnTo>
                    <a:pt x="1067" y="159"/>
                  </a:lnTo>
                  <a:lnTo>
                    <a:pt x="1110" y="159"/>
                  </a:lnTo>
                  <a:lnTo>
                    <a:pt x="1113" y="159"/>
                  </a:lnTo>
                  <a:lnTo>
                    <a:pt x="1115" y="158"/>
                  </a:lnTo>
                  <a:lnTo>
                    <a:pt x="1117" y="157"/>
                  </a:lnTo>
                  <a:lnTo>
                    <a:pt x="1118" y="156"/>
                  </a:lnTo>
                  <a:lnTo>
                    <a:pt x="1120" y="153"/>
                  </a:lnTo>
                  <a:lnTo>
                    <a:pt x="1121" y="152"/>
                  </a:lnTo>
                  <a:lnTo>
                    <a:pt x="1170" y="25"/>
                  </a:lnTo>
                  <a:lnTo>
                    <a:pt x="1171" y="23"/>
                  </a:lnTo>
                  <a:lnTo>
                    <a:pt x="1173" y="21"/>
                  </a:lnTo>
                  <a:lnTo>
                    <a:pt x="1175" y="20"/>
                  </a:lnTo>
                  <a:lnTo>
                    <a:pt x="1176" y="19"/>
                  </a:lnTo>
                  <a:lnTo>
                    <a:pt x="1179" y="18"/>
                  </a:lnTo>
                  <a:lnTo>
                    <a:pt x="1180" y="18"/>
                  </a:lnTo>
                  <a:lnTo>
                    <a:pt x="1265" y="18"/>
                  </a:lnTo>
                  <a:lnTo>
                    <a:pt x="1268" y="19"/>
                  </a:lnTo>
                  <a:lnTo>
                    <a:pt x="1270" y="19"/>
                  </a:lnTo>
                  <a:lnTo>
                    <a:pt x="1272" y="22"/>
                  </a:lnTo>
                  <a:lnTo>
                    <a:pt x="1273" y="25"/>
                  </a:lnTo>
                  <a:lnTo>
                    <a:pt x="1273" y="26"/>
                  </a:lnTo>
                  <a:lnTo>
                    <a:pt x="1273" y="152"/>
                  </a:lnTo>
                  <a:lnTo>
                    <a:pt x="1273" y="154"/>
                  </a:lnTo>
                  <a:lnTo>
                    <a:pt x="1274" y="156"/>
                  </a:lnTo>
                  <a:lnTo>
                    <a:pt x="1277" y="158"/>
                  </a:lnTo>
                  <a:lnTo>
                    <a:pt x="1279" y="159"/>
                  </a:lnTo>
                  <a:lnTo>
                    <a:pt x="1281" y="159"/>
                  </a:lnTo>
                  <a:lnTo>
                    <a:pt x="1374" y="159"/>
                  </a:lnTo>
                  <a:lnTo>
                    <a:pt x="1376" y="160"/>
                  </a:lnTo>
                  <a:lnTo>
                    <a:pt x="1378" y="161"/>
                  </a:lnTo>
                  <a:lnTo>
                    <a:pt x="1381" y="163"/>
                  </a:lnTo>
                  <a:lnTo>
                    <a:pt x="1381" y="166"/>
                  </a:lnTo>
                  <a:lnTo>
                    <a:pt x="1381" y="167"/>
                  </a:lnTo>
                  <a:lnTo>
                    <a:pt x="1381" y="263"/>
                  </a:lnTo>
                  <a:lnTo>
                    <a:pt x="1381" y="266"/>
                  </a:lnTo>
                  <a:lnTo>
                    <a:pt x="1380" y="268"/>
                  </a:lnTo>
                  <a:lnTo>
                    <a:pt x="1378" y="270"/>
                  </a:lnTo>
                  <a:lnTo>
                    <a:pt x="1375" y="271"/>
                  </a:lnTo>
                  <a:lnTo>
                    <a:pt x="1374" y="271"/>
                  </a:lnTo>
                  <a:lnTo>
                    <a:pt x="1281" y="271"/>
                  </a:lnTo>
                  <a:lnTo>
                    <a:pt x="1278" y="271"/>
                  </a:lnTo>
                  <a:lnTo>
                    <a:pt x="1276" y="272"/>
                  </a:lnTo>
                  <a:lnTo>
                    <a:pt x="1274" y="275"/>
                  </a:lnTo>
                  <a:lnTo>
                    <a:pt x="1273" y="277"/>
                  </a:lnTo>
                  <a:lnTo>
                    <a:pt x="1273" y="278"/>
                  </a:lnTo>
                  <a:lnTo>
                    <a:pt x="1273" y="419"/>
                  </a:lnTo>
                  <a:lnTo>
                    <a:pt x="1274" y="434"/>
                  </a:lnTo>
                  <a:lnTo>
                    <a:pt x="1275" y="446"/>
                  </a:lnTo>
                  <a:lnTo>
                    <a:pt x="1277" y="452"/>
                  </a:lnTo>
                  <a:lnTo>
                    <a:pt x="1279" y="456"/>
                  </a:lnTo>
                  <a:lnTo>
                    <a:pt x="1281" y="460"/>
                  </a:lnTo>
                  <a:lnTo>
                    <a:pt x="1284" y="463"/>
                  </a:lnTo>
                  <a:lnTo>
                    <a:pt x="1287" y="466"/>
                  </a:lnTo>
                  <a:lnTo>
                    <a:pt x="1291" y="469"/>
                  </a:lnTo>
                  <a:lnTo>
                    <a:pt x="1296" y="471"/>
                  </a:lnTo>
                  <a:lnTo>
                    <a:pt x="1301" y="472"/>
                  </a:lnTo>
                  <a:lnTo>
                    <a:pt x="1307" y="473"/>
                  </a:lnTo>
                  <a:lnTo>
                    <a:pt x="1313" y="474"/>
                  </a:lnTo>
                  <a:lnTo>
                    <a:pt x="1320" y="474"/>
                  </a:lnTo>
                  <a:lnTo>
                    <a:pt x="1328" y="475"/>
                  </a:lnTo>
                  <a:lnTo>
                    <a:pt x="1340" y="474"/>
                  </a:lnTo>
                  <a:lnTo>
                    <a:pt x="1351" y="473"/>
                  </a:lnTo>
                  <a:lnTo>
                    <a:pt x="1361" y="472"/>
                  </a:lnTo>
                  <a:lnTo>
                    <a:pt x="1366" y="471"/>
                  </a:lnTo>
                  <a:lnTo>
                    <a:pt x="1367" y="471"/>
                  </a:lnTo>
                  <a:lnTo>
                    <a:pt x="1368" y="471"/>
                  </a:lnTo>
                  <a:lnTo>
                    <a:pt x="1369" y="474"/>
                  </a:lnTo>
                  <a:lnTo>
                    <a:pt x="1370" y="477"/>
                  </a:lnTo>
                  <a:lnTo>
                    <a:pt x="1370" y="564"/>
                  </a:lnTo>
                  <a:lnTo>
                    <a:pt x="1369" y="569"/>
                  </a:lnTo>
                  <a:lnTo>
                    <a:pt x="1369" y="572"/>
                  </a:lnTo>
                  <a:lnTo>
                    <a:pt x="1368" y="575"/>
                  </a:lnTo>
                  <a:lnTo>
                    <a:pt x="1366" y="577"/>
                  </a:lnTo>
                  <a:lnTo>
                    <a:pt x="1364" y="578"/>
                  </a:lnTo>
                  <a:lnTo>
                    <a:pt x="1362" y="579"/>
                  </a:lnTo>
                  <a:lnTo>
                    <a:pt x="1358" y="580"/>
                  </a:lnTo>
                  <a:lnTo>
                    <a:pt x="1340" y="582"/>
                  </a:lnTo>
                  <a:lnTo>
                    <a:pt x="1317" y="583"/>
                  </a:lnTo>
                  <a:lnTo>
                    <a:pt x="1294" y="584"/>
                  </a:lnTo>
                  <a:lnTo>
                    <a:pt x="1274" y="585"/>
                  </a:lnTo>
                  <a:close/>
                  <a:moveTo>
                    <a:pt x="0" y="572"/>
                  </a:moveTo>
                  <a:lnTo>
                    <a:pt x="0" y="7"/>
                  </a:lnTo>
                  <a:lnTo>
                    <a:pt x="0" y="5"/>
                  </a:lnTo>
                  <a:lnTo>
                    <a:pt x="1" y="3"/>
                  </a:lnTo>
                  <a:lnTo>
                    <a:pt x="4" y="1"/>
                  </a:lnTo>
                  <a:lnTo>
                    <a:pt x="6" y="0"/>
                  </a:lnTo>
                  <a:lnTo>
                    <a:pt x="7" y="0"/>
                  </a:lnTo>
                  <a:lnTo>
                    <a:pt x="200" y="0"/>
                  </a:lnTo>
                  <a:lnTo>
                    <a:pt x="202" y="0"/>
                  </a:lnTo>
                  <a:lnTo>
                    <a:pt x="204" y="1"/>
                  </a:lnTo>
                  <a:lnTo>
                    <a:pt x="206" y="2"/>
                  </a:lnTo>
                  <a:lnTo>
                    <a:pt x="207" y="3"/>
                  </a:lnTo>
                  <a:lnTo>
                    <a:pt x="209" y="6"/>
                  </a:lnTo>
                  <a:lnTo>
                    <a:pt x="209" y="7"/>
                  </a:lnTo>
                  <a:lnTo>
                    <a:pt x="307" y="386"/>
                  </a:lnTo>
                  <a:lnTo>
                    <a:pt x="307" y="387"/>
                  </a:lnTo>
                  <a:lnTo>
                    <a:pt x="308" y="388"/>
                  </a:lnTo>
                  <a:lnTo>
                    <a:pt x="310" y="389"/>
                  </a:lnTo>
                  <a:lnTo>
                    <a:pt x="312" y="389"/>
                  </a:lnTo>
                  <a:lnTo>
                    <a:pt x="313" y="387"/>
                  </a:lnTo>
                  <a:lnTo>
                    <a:pt x="313" y="386"/>
                  </a:lnTo>
                  <a:lnTo>
                    <a:pt x="401" y="7"/>
                  </a:lnTo>
                  <a:lnTo>
                    <a:pt x="402" y="5"/>
                  </a:lnTo>
                  <a:lnTo>
                    <a:pt x="403" y="3"/>
                  </a:lnTo>
                  <a:lnTo>
                    <a:pt x="406" y="1"/>
                  </a:lnTo>
                  <a:lnTo>
                    <a:pt x="409" y="0"/>
                  </a:lnTo>
                  <a:lnTo>
                    <a:pt x="410" y="0"/>
                  </a:lnTo>
                  <a:lnTo>
                    <a:pt x="607" y="0"/>
                  </a:lnTo>
                  <a:lnTo>
                    <a:pt x="610" y="0"/>
                  </a:lnTo>
                  <a:lnTo>
                    <a:pt x="611" y="1"/>
                  </a:lnTo>
                  <a:lnTo>
                    <a:pt x="614" y="4"/>
                  </a:lnTo>
                  <a:lnTo>
                    <a:pt x="615" y="6"/>
                  </a:lnTo>
                  <a:lnTo>
                    <a:pt x="615" y="7"/>
                  </a:lnTo>
                  <a:lnTo>
                    <a:pt x="615" y="572"/>
                  </a:lnTo>
                  <a:lnTo>
                    <a:pt x="614" y="575"/>
                  </a:lnTo>
                  <a:lnTo>
                    <a:pt x="613" y="576"/>
                  </a:lnTo>
                  <a:lnTo>
                    <a:pt x="611" y="579"/>
                  </a:lnTo>
                  <a:lnTo>
                    <a:pt x="608" y="579"/>
                  </a:lnTo>
                  <a:lnTo>
                    <a:pt x="607" y="580"/>
                  </a:lnTo>
                  <a:lnTo>
                    <a:pt x="473" y="580"/>
                  </a:lnTo>
                  <a:lnTo>
                    <a:pt x="470" y="579"/>
                  </a:lnTo>
                  <a:lnTo>
                    <a:pt x="468" y="578"/>
                  </a:lnTo>
                  <a:lnTo>
                    <a:pt x="466" y="576"/>
                  </a:lnTo>
                  <a:lnTo>
                    <a:pt x="465" y="573"/>
                  </a:lnTo>
                  <a:lnTo>
                    <a:pt x="465" y="572"/>
                  </a:lnTo>
                  <a:lnTo>
                    <a:pt x="465" y="226"/>
                  </a:lnTo>
                  <a:lnTo>
                    <a:pt x="465" y="224"/>
                  </a:lnTo>
                  <a:lnTo>
                    <a:pt x="464" y="223"/>
                  </a:lnTo>
                  <a:lnTo>
                    <a:pt x="463" y="222"/>
                  </a:lnTo>
                  <a:lnTo>
                    <a:pt x="462" y="222"/>
                  </a:lnTo>
                  <a:lnTo>
                    <a:pt x="461" y="222"/>
                  </a:lnTo>
                  <a:lnTo>
                    <a:pt x="460" y="223"/>
                  </a:lnTo>
                  <a:lnTo>
                    <a:pt x="458" y="226"/>
                  </a:lnTo>
                  <a:lnTo>
                    <a:pt x="452" y="264"/>
                  </a:lnTo>
                  <a:lnTo>
                    <a:pt x="446" y="298"/>
                  </a:lnTo>
                  <a:lnTo>
                    <a:pt x="443" y="314"/>
                  </a:lnTo>
                  <a:lnTo>
                    <a:pt x="440" y="330"/>
                  </a:lnTo>
                  <a:lnTo>
                    <a:pt x="436" y="346"/>
                  </a:lnTo>
                  <a:lnTo>
                    <a:pt x="432" y="362"/>
                  </a:lnTo>
                  <a:lnTo>
                    <a:pt x="373" y="572"/>
                  </a:lnTo>
                  <a:lnTo>
                    <a:pt x="372" y="575"/>
                  </a:lnTo>
                  <a:lnTo>
                    <a:pt x="371" y="577"/>
                  </a:lnTo>
                  <a:lnTo>
                    <a:pt x="368" y="579"/>
                  </a:lnTo>
                  <a:lnTo>
                    <a:pt x="365" y="579"/>
                  </a:lnTo>
                  <a:lnTo>
                    <a:pt x="364" y="580"/>
                  </a:lnTo>
                  <a:lnTo>
                    <a:pt x="241" y="580"/>
                  </a:lnTo>
                  <a:lnTo>
                    <a:pt x="238" y="579"/>
                  </a:lnTo>
                  <a:lnTo>
                    <a:pt x="236" y="578"/>
                  </a:lnTo>
                  <a:lnTo>
                    <a:pt x="234" y="577"/>
                  </a:lnTo>
                  <a:lnTo>
                    <a:pt x="233" y="576"/>
                  </a:lnTo>
                  <a:lnTo>
                    <a:pt x="232" y="573"/>
                  </a:lnTo>
                  <a:lnTo>
                    <a:pt x="231" y="572"/>
                  </a:lnTo>
                  <a:lnTo>
                    <a:pt x="174" y="362"/>
                  </a:lnTo>
                  <a:lnTo>
                    <a:pt x="169" y="345"/>
                  </a:lnTo>
                  <a:lnTo>
                    <a:pt x="165" y="330"/>
                  </a:lnTo>
                  <a:lnTo>
                    <a:pt x="159" y="301"/>
                  </a:lnTo>
                  <a:lnTo>
                    <a:pt x="153" y="268"/>
                  </a:lnTo>
                  <a:lnTo>
                    <a:pt x="146" y="224"/>
                  </a:lnTo>
                  <a:lnTo>
                    <a:pt x="146" y="223"/>
                  </a:lnTo>
                  <a:lnTo>
                    <a:pt x="145" y="222"/>
                  </a:lnTo>
                  <a:lnTo>
                    <a:pt x="142" y="221"/>
                  </a:lnTo>
                  <a:lnTo>
                    <a:pt x="140" y="222"/>
                  </a:lnTo>
                  <a:lnTo>
                    <a:pt x="140" y="223"/>
                  </a:lnTo>
                  <a:lnTo>
                    <a:pt x="139" y="224"/>
                  </a:lnTo>
                  <a:lnTo>
                    <a:pt x="139" y="572"/>
                  </a:lnTo>
                  <a:lnTo>
                    <a:pt x="139" y="575"/>
                  </a:lnTo>
                  <a:lnTo>
                    <a:pt x="138" y="576"/>
                  </a:lnTo>
                  <a:lnTo>
                    <a:pt x="136" y="579"/>
                  </a:lnTo>
                  <a:lnTo>
                    <a:pt x="133" y="579"/>
                  </a:lnTo>
                  <a:lnTo>
                    <a:pt x="132" y="580"/>
                  </a:lnTo>
                  <a:lnTo>
                    <a:pt x="8" y="580"/>
                  </a:lnTo>
                  <a:lnTo>
                    <a:pt x="5" y="579"/>
                  </a:lnTo>
                  <a:lnTo>
                    <a:pt x="3" y="578"/>
                  </a:lnTo>
                  <a:lnTo>
                    <a:pt x="1" y="576"/>
                  </a:lnTo>
                  <a:lnTo>
                    <a:pt x="0" y="573"/>
                  </a:lnTo>
                  <a:lnTo>
                    <a:pt x="0" y="572"/>
                  </a:lnTo>
                  <a:close/>
                  <a:moveTo>
                    <a:pt x="1063" y="408"/>
                  </a:moveTo>
                  <a:lnTo>
                    <a:pt x="1062" y="410"/>
                  </a:lnTo>
                  <a:lnTo>
                    <a:pt x="1062" y="412"/>
                  </a:lnTo>
                  <a:lnTo>
                    <a:pt x="1061" y="413"/>
                  </a:lnTo>
                  <a:lnTo>
                    <a:pt x="1060" y="414"/>
                  </a:lnTo>
                  <a:lnTo>
                    <a:pt x="1058" y="414"/>
                  </a:lnTo>
                  <a:lnTo>
                    <a:pt x="1057" y="414"/>
                  </a:lnTo>
                  <a:lnTo>
                    <a:pt x="801" y="414"/>
                  </a:lnTo>
                  <a:lnTo>
                    <a:pt x="799" y="415"/>
                  </a:lnTo>
                  <a:lnTo>
                    <a:pt x="797" y="415"/>
                  </a:lnTo>
                  <a:lnTo>
                    <a:pt x="796" y="417"/>
                  </a:lnTo>
                  <a:lnTo>
                    <a:pt x="795" y="418"/>
                  </a:lnTo>
                  <a:lnTo>
                    <a:pt x="795" y="421"/>
                  </a:lnTo>
                  <a:lnTo>
                    <a:pt x="795" y="422"/>
                  </a:lnTo>
                  <a:lnTo>
                    <a:pt x="796" y="430"/>
                  </a:lnTo>
                  <a:lnTo>
                    <a:pt x="799" y="438"/>
                  </a:lnTo>
                  <a:lnTo>
                    <a:pt x="801" y="445"/>
                  </a:lnTo>
                  <a:lnTo>
                    <a:pt x="804" y="451"/>
                  </a:lnTo>
                  <a:lnTo>
                    <a:pt x="808" y="457"/>
                  </a:lnTo>
                  <a:lnTo>
                    <a:pt x="812" y="462"/>
                  </a:lnTo>
                  <a:lnTo>
                    <a:pt x="817" y="466"/>
                  </a:lnTo>
                  <a:lnTo>
                    <a:pt x="822" y="470"/>
                  </a:lnTo>
                  <a:lnTo>
                    <a:pt x="827" y="473"/>
                  </a:lnTo>
                  <a:lnTo>
                    <a:pt x="833" y="476"/>
                  </a:lnTo>
                  <a:lnTo>
                    <a:pt x="840" y="478"/>
                  </a:lnTo>
                  <a:lnTo>
                    <a:pt x="846" y="480"/>
                  </a:lnTo>
                  <a:lnTo>
                    <a:pt x="854" y="481"/>
                  </a:lnTo>
                  <a:lnTo>
                    <a:pt x="861" y="482"/>
                  </a:lnTo>
                  <a:lnTo>
                    <a:pt x="878" y="482"/>
                  </a:lnTo>
                  <a:lnTo>
                    <a:pt x="886" y="482"/>
                  </a:lnTo>
                  <a:lnTo>
                    <a:pt x="894" y="481"/>
                  </a:lnTo>
                  <a:lnTo>
                    <a:pt x="903" y="480"/>
                  </a:lnTo>
                  <a:lnTo>
                    <a:pt x="911" y="479"/>
                  </a:lnTo>
                  <a:lnTo>
                    <a:pt x="928" y="475"/>
                  </a:lnTo>
                  <a:lnTo>
                    <a:pt x="943" y="470"/>
                  </a:lnTo>
                  <a:lnTo>
                    <a:pt x="958" y="464"/>
                  </a:lnTo>
                  <a:lnTo>
                    <a:pt x="971" y="459"/>
                  </a:lnTo>
                  <a:lnTo>
                    <a:pt x="983" y="453"/>
                  </a:lnTo>
                  <a:lnTo>
                    <a:pt x="992" y="448"/>
                  </a:lnTo>
                  <a:lnTo>
                    <a:pt x="994" y="447"/>
                  </a:lnTo>
                  <a:lnTo>
                    <a:pt x="996" y="447"/>
                  </a:lnTo>
                  <a:lnTo>
                    <a:pt x="998" y="447"/>
                  </a:lnTo>
                  <a:lnTo>
                    <a:pt x="999" y="448"/>
                  </a:lnTo>
                  <a:lnTo>
                    <a:pt x="1002" y="450"/>
                  </a:lnTo>
                  <a:lnTo>
                    <a:pt x="1050" y="531"/>
                  </a:lnTo>
                  <a:lnTo>
                    <a:pt x="1052" y="535"/>
                  </a:lnTo>
                  <a:lnTo>
                    <a:pt x="1052" y="537"/>
                  </a:lnTo>
                  <a:lnTo>
                    <a:pt x="1051" y="538"/>
                  </a:lnTo>
                  <a:lnTo>
                    <a:pt x="1051" y="540"/>
                  </a:lnTo>
                  <a:lnTo>
                    <a:pt x="1050" y="540"/>
                  </a:lnTo>
                  <a:lnTo>
                    <a:pt x="1048" y="542"/>
                  </a:lnTo>
                  <a:lnTo>
                    <a:pt x="1038" y="547"/>
                  </a:lnTo>
                  <a:lnTo>
                    <a:pt x="1028" y="553"/>
                  </a:lnTo>
                  <a:lnTo>
                    <a:pt x="1018" y="558"/>
                  </a:lnTo>
                  <a:lnTo>
                    <a:pt x="1007" y="562"/>
                  </a:lnTo>
                  <a:lnTo>
                    <a:pt x="996" y="567"/>
                  </a:lnTo>
                  <a:lnTo>
                    <a:pt x="985" y="570"/>
                  </a:lnTo>
                  <a:lnTo>
                    <a:pt x="974" y="574"/>
                  </a:lnTo>
                  <a:lnTo>
                    <a:pt x="963" y="577"/>
                  </a:lnTo>
                  <a:lnTo>
                    <a:pt x="951" y="580"/>
                  </a:lnTo>
                  <a:lnTo>
                    <a:pt x="939" y="582"/>
                  </a:lnTo>
                  <a:lnTo>
                    <a:pt x="927" y="584"/>
                  </a:lnTo>
                  <a:lnTo>
                    <a:pt x="915" y="585"/>
                  </a:lnTo>
                  <a:lnTo>
                    <a:pt x="903" y="587"/>
                  </a:lnTo>
                  <a:lnTo>
                    <a:pt x="891" y="587"/>
                  </a:lnTo>
                  <a:lnTo>
                    <a:pt x="866" y="588"/>
                  </a:lnTo>
                  <a:lnTo>
                    <a:pt x="844" y="588"/>
                  </a:lnTo>
                  <a:lnTo>
                    <a:pt x="823" y="586"/>
                  </a:lnTo>
                  <a:lnTo>
                    <a:pt x="813" y="584"/>
                  </a:lnTo>
                  <a:lnTo>
                    <a:pt x="802" y="583"/>
                  </a:lnTo>
                  <a:lnTo>
                    <a:pt x="792" y="580"/>
                  </a:lnTo>
                  <a:lnTo>
                    <a:pt x="782" y="578"/>
                  </a:lnTo>
                  <a:lnTo>
                    <a:pt x="772" y="575"/>
                  </a:lnTo>
                  <a:lnTo>
                    <a:pt x="762" y="572"/>
                  </a:lnTo>
                  <a:lnTo>
                    <a:pt x="753" y="568"/>
                  </a:lnTo>
                  <a:lnTo>
                    <a:pt x="744" y="564"/>
                  </a:lnTo>
                  <a:lnTo>
                    <a:pt x="735" y="559"/>
                  </a:lnTo>
                  <a:lnTo>
                    <a:pt x="726" y="554"/>
                  </a:lnTo>
                  <a:lnTo>
                    <a:pt x="718" y="549"/>
                  </a:lnTo>
                  <a:lnTo>
                    <a:pt x="710" y="543"/>
                  </a:lnTo>
                  <a:lnTo>
                    <a:pt x="702" y="537"/>
                  </a:lnTo>
                  <a:lnTo>
                    <a:pt x="694" y="530"/>
                  </a:lnTo>
                  <a:lnTo>
                    <a:pt x="687" y="522"/>
                  </a:lnTo>
                  <a:lnTo>
                    <a:pt x="681" y="514"/>
                  </a:lnTo>
                  <a:lnTo>
                    <a:pt x="675" y="505"/>
                  </a:lnTo>
                  <a:lnTo>
                    <a:pt x="669" y="496"/>
                  </a:lnTo>
                  <a:lnTo>
                    <a:pt x="664" y="486"/>
                  </a:lnTo>
                  <a:lnTo>
                    <a:pt x="659" y="476"/>
                  </a:lnTo>
                  <a:lnTo>
                    <a:pt x="654" y="465"/>
                  </a:lnTo>
                  <a:lnTo>
                    <a:pt x="652" y="459"/>
                  </a:lnTo>
                  <a:lnTo>
                    <a:pt x="651" y="454"/>
                  </a:lnTo>
                  <a:lnTo>
                    <a:pt x="647" y="441"/>
                  </a:lnTo>
                  <a:lnTo>
                    <a:pt x="645" y="429"/>
                  </a:lnTo>
                  <a:lnTo>
                    <a:pt x="642" y="415"/>
                  </a:lnTo>
                  <a:lnTo>
                    <a:pt x="642" y="408"/>
                  </a:lnTo>
                  <a:lnTo>
                    <a:pt x="641" y="401"/>
                  </a:lnTo>
                  <a:lnTo>
                    <a:pt x="640" y="386"/>
                  </a:lnTo>
                  <a:lnTo>
                    <a:pt x="640" y="370"/>
                  </a:lnTo>
                  <a:lnTo>
                    <a:pt x="640" y="355"/>
                  </a:lnTo>
                  <a:lnTo>
                    <a:pt x="641" y="340"/>
                  </a:lnTo>
                  <a:lnTo>
                    <a:pt x="643" y="326"/>
                  </a:lnTo>
                  <a:lnTo>
                    <a:pt x="646" y="313"/>
                  </a:lnTo>
                  <a:lnTo>
                    <a:pt x="649" y="300"/>
                  </a:lnTo>
                  <a:lnTo>
                    <a:pt x="653" y="288"/>
                  </a:lnTo>
                  <a:lnTo>
                    <a:pt x="657" y="276"/>
                  </a:lnTo>
                  <a:lnTo>
                    <a:pt x="662" y="265"/>
                  </a:lnTo>
                  <a:lnTo>
                    <a:pt x="668" y="255"/>
                  </a:lnTo>
                  <a:lnTo>
                    <a:pt x="674" y="245"/>
                  </a:lnTo>
                  <a:lnTo>
                    <a:pt x="680" y="236"/>
                  </a:lnTo>
                  <a:lnTo>
                    <a:pt x="687" y="227"/>
                  </a:lnTo>
                  <a:lnTo>
                    <a:pt x="694" y="219"/>
                  </a:lnTo>
                  <a:lnTo>
                    <a:pt x="702" y="212"/>
                  </a:lnTo>
                  <a:lnTo>
                    <a:pt x="710" y="204"/>
                  </a:lnTo>
                  <a:lnTo>
                    <a:pt x="718" y="198"/>
                  </a:lnTo>
                  <a:lnTo>
                    <a:pt x="727" y="192"/>
                  </a:lnTo>
                  <a:lnTo>
                    <a:pt x="735" y="186"/>
                  </a:lnTo>
                  <a:lnTo>
                    <a:pt x="744" y="181"/>
                  </a:lnTo>
                  <a:lnTo>
                    <a:pt x="753" y="177"/>
                  </a:lnTo>
                  <a:lnTo>
                    <a:pt x="762" y="172"/>
                  </a:lnTo>
                  <a:lnTo>
                    <a:pt x="771" y="169"/>
                  </a:lnTo>
                  <a:lnTo>
                    <a:pt x="781" y="165"/>
                  </a:lnTo>
                  <a:lnTo>
                    <a:pt x="790" y="162"/>
                  </a:lnTo>
                  <a:lnTo>
                    <a:pt x="799" y="160"/>
                  </a:lnTo>
                  <a:lnTo>
                    <a:pt x="808" y="158"/>
                  </a:lnTo>
                  <a:lnTo>
                    <a:pt x="817" y="156"/>
                  </a:lnTo>
                  <a:lnTo>
                    <a:pt x="826" y="154"/>
                  </a:lnTo>
                  <a:lnTo>
                    <a:pt x="844" y="152"/>
                  </a:lnTo>
                  <a:lnTo>
                    <a:pt x="852" y="152"/>
                  </a:lnTo>
                  <a:lnTo>
                    <a:pt x="860" y="152"/>
                  </a:lnTo>
                  <a:lnTo>
                    <a:pt x="868" y="152"/>
                  </a:lnTo>
                  <a:lnTo>
                    <a:pt x="876" y="152"/>
                  </a:lnTo>
                  <a:lnTo>
                    <a:pt x="893" y="153"/>
                  </a:lnTo>
                  <a:lnTo>
                    <a:pt x="901" y="155"/>
                  </a:lnTo>
                  <a:lnTo>
                    <a:pt x="910" y="156"/>
                  </a:lnTo>
                  <a:lnTo>
                    <a:pt x="927" y="160"/>
                  </a:lnTo>
                  <a:lnTo>
                    <a:pt x="936" y="162"/>
                  </a:lnTo>
                  <a:lnTo>
                    <a:pt x="944" y="165"/>
                  </a:lnTo>
                  <a:lnTo>
                    <a:pt x="953" y="168"/>
                  </a:lnTo>
                  <a:lnTo>
                    <a:pt x="961" y="172"/>
                  </a:lnTo>
                  <a:lnTo>
                    <a:pt x="969" y="177"/>
                  </a:lnTo>
                  <a:lnTo>
                    <a:pt x="977" y="181"/>
                  </a:lnTo>
                  <a:lnTo>
                    <a:pt x="985" y="187"/>
                  </a:lnTo>
                  <a:lnTo>
                    <a:pt x="993" y="193"/>
                  </a:lnTo>
                  <a:lnTo>
                    <a:pt x="1000" y="199"/>
                  </a:lnTo>
                  <a:lnTo>
                    <a:pt x="1007" y="207"/>
                  </a:lnTo>
                  <a:lnTo>
                    <a:pt x="1014" y="215"/>
                  </a:lnTo>
                  <a:lnTo>
                    <a:pt x="1021" y="223"/>
                  </a:lnTo>
                  <a:lnTo>
                    <a:pt x="1027" y="233"/>
                  </a:lnTo>
                  <a:lnTo>
                    <a:pt x="1032" y="243"/>
                  </a:lnTo>
                  <a:lnTo>
                    <a:pt x="1035" y="248"/>
                  </a:lnTo>
                  <a:lnTo>
                    <a:pt x="1038" y="253"/>
                  </a:lnTo>
                  <a:lnTo>
                    <a:pt x="1043" y="265"/>
                  </a:lnTo>
                  <a:lnTo>
                    <a:pt x="1047" y="278"/>
                  </a:lnTo>
                  <a:lnTo>
                    <a:pt x="1051" y="291"/>
                  </a:lnTo>
                  <a:lnTo>
                    <a:pt x="1054" y="305"/>
                  </a:lnTo>
                  <a:lnTo>
                    <a:pt x="1057" y="320"/>
                  </a:lnTo>
                  <a:lnTo>
                    <a:pt x="1060" y="336"/>
                  </a:lnTo>
                  <a:lnTo>
                    <a:pt x="1061" y="354"/>
                  </a:lnTo>
                  <a:lnTo>
                    <a:pt x="1062" y="372"/>
                  </a:lnTo>
                  <a:lnTo>
                    <a:pt x="1063" y="391"/>
                  </a:lnTo>
                  <a:lnTo>
                    <a:pt x="1063" y="408"/>
                  </a:lnTo>
                  <a:close/>
                  <a:moveTo>
                    <a:pt x="918" y="326"/>
                  </a:moveTo>
                  <a:lnTo>
                    <a:pt x="921" y="325"/>
                  </a:lnTo>
                  <a:lnTo>
                    <a:pt x="922" y="325"/>
                  </a:lnTo>
                  <a:lnTo>
                    <a:pt x="923" y="323"/>
                  </a:lnTo>
                  <a:lnTo>
                    <a:pt x="924" y="322"/>
                  </a:lnTo>
                  <a:lnTo>
                    <a:pt x="925" y="319"/>
                  </a:lnTo>
                  <a:lnTo>
                    <a:pt x="924" y="318"/>
                  </a:lnTo>
                  <a:lnTo>
                    <a:pt x="923" y="311"/>
                  </a:lnTo>
                  <a:lnTo>
                    <a:pt x="922" y="304"/>
                  </a:lnTo>
                  <a:lnTo>
                    <a:pt x="920" y="297"/>
                  </a:lnTo>
                  <a:lnTo>
                    <a:pt x="917" y="291"/>
                  </a:lnTo>
                  <a:lnTo>
                    <a:pt x="915" y="286"/>
                  </a:lnTo>
                  <a:lnTo>
                    <a:pt x="911" y="281"/>
                  </a:lnTo>
                  <a:lnTo>
                    <a:pt x="908" y="277"/>
                  </a:lnTo>
                  <a:lnTo>
                    <a:pt x="904" y="273"/>
                  </a:lnTo>
                  <a:lnTo>
                    <a:pt x="900" y="270"/>
                  </a:lnTo>
                  <a:lnTo>
                    <a:pt x="895" y="267"/>
                  </a:lnTo>
                  <a:lnTo>
                    <a:pt x="890" y="265"/>
                  </a:lnTo>
                  <a:lnTo>
                    <a:pt x="885" y="263"/>
                  </a:lnTo>
                  <a:lnTo>
                    <a:pt x="879" y="262"/>
                  </a:lnTo>
                  <a:lnTo>
                    <a:pt x="873" y="261"/>
                  </a:lnTo>
                  <a:lnTo>
                    <a:pt x="866" y="260"/>
                  </a:lnTo>
                  <a:lnTo>
                    <a:pt x="860" y="260"/>
                  </a:lnTo>
                  <a:lnTo>
                    <a:pt x="854" y="260"/>
                  </a:lnTo>
                  <a:lnTo>
                    <a:pt x="849" y="261"/>
                  </a:lnTo>
                  <a:lnTo>
                    <a:pt x="844" y="262"/>
                  </a:lnTo>
                  <a:lnTo>
                    <a:pt x="839" y="263"/>
                  </a:lnTo>
                  <a:lnTo>
                    <a:pt x="834" y="265"/>
                  </a:lnTo>
                  <a:lnTo>
                    <a:pt x="830" y="267"/>
                  </a:lnTo>
                  <a:lnTo>
                    <a:pt x="826" y="270"/>
                  </a:lnTo>
                  <a:lnTo>
                    <a:pt x="821" y="273"/>
                  </a:lnTo>
                  <a:lnTo>
                    <a:pt x="818" y="277"/>
                  </a:lnTo>
                  <a:lnTo>
                    <a:pt x="814" y="281"/>
                  </a:lnTo>
                  <a:lnTo>
                    <a:pt x="810" y="286"/>
                  </a:lnTo>
                  <a:lnTo>
                    <a:pt x="807" y="291"/>
                  </a:lnTo>
                  <a:lnTo>
                    <a:pt x="804" y="297"/>
                  </a:lnTo>
                  <a:lnTo>
                    <a:pt x="802" y="304"/>
                  </a:lnTo>
                  <a:lnTo>
                    <a:pt x="799" y="311"/>
                  </a:lnTo>
                  <a:lnTo>
                    <a:pt x="797" y="318"/>
                  </a:lnTo>
                  <a:lnTo>
                    <a:pt x="797" y="321"/>
                  </a:lnTo>
                  <a:lnTo>
                    <a:pt x="797" y="323"/>
                  </a:lnTo>
                  <a:lnTo>
                    <a:pt x="798" y="324"/>
                  </a:lnTo>
                  <a:lnTo>
                    <a:pt x="799" y="325"/>
                  </a:lnTo>
                  <a:lnTo>
                    <a:pt x="800" y="326"/>
                  </a:lnTo>
                  <a:lnTo>
                    <a:pt x="802" y="326"/>
                  </a:lnTo>
                  <a:lnTo>
                    <a:pt x="918" y="326"/>
                  </a:lnTo>
                  <a:close/>
                  <a:moveTo>
                    <a:pt x="1595" y="588"/>
                  </a:moveTo>
                  <a:lnTo>
                    <a:pt x="1577" y="588"/>
                  </a:lnTo>
                  <a:lnTo>
                    <a:pt x="1560" y="587"/>
                  </a:lnTo>
                  <a:lnTo>
                    <a:pt x="1543" y="585"/>
                  </a:lnTo>
                  <a:lnTo>
                    <a:pt x="1528" y="584"/>
                  </a:lnTo>
                  <a:lnTo>
                    <a:pt x="1513" y="581"/>
                  </a:lnTo>
                  <a:lnTo>
                    <a:pt x="1499" y="578"/>
                  </a:lnTo>
                  <a:lnTo>
                    <a:pt x="1485" y="575"/>
                  </a:lnTo>
                  <a:lnTo>
                    <a:pt x="1472" y="571"/>
                  </a:lnTo>
                  <a:lnTo>
                    <a:pt x="1460" y="567"/>
                  </a:lnTo>
                  <a:lnTo>
                    <a:pt x="1449" y="563"/>
                  </a:lnTo>
                  <a:lnTo>
                    <a:pt x="1438" y="558"/>
                  </a:lnTo>
                  <a:lnTo>
                    <a:pt x="1427" y="553"/>
                  </a:lnTo>
                  <a:lnTo>
                    <a:pt x="1418" y="548"/>
                  </a:lnTo>
                  <a:lnTo>
                    <a:pt x="1409" y="543"/>
                  </a:lnTo>
                  <a:lnTo>
                    <a:pt x="1393" y="532"/>
                  </a:lnTo>
                  <a:lnTo>
                    <a:pt x="1391" y="531"/>
                  </a:lnTo>
                  <a:lnTo>
                    <a:pt x="1390" y="529"/>
                  </a:lnTo>
                  <a:lnTo>
                    <a:pt x="1389" y="527"/>
                  </a:lnTo>
                  <a:lnTo>
                    <a:pt x="1389" y="525"/>
                  </a:lnTo>
                  <a:lnTo>
                    <a:pt x="1390" y="523"/>
                  </a:lnTo>
                  <a:lnTo>
                    <a:pt x="1391" y="522"/>
                  </a:lnTo>
                  <a:lnTo>
                    <a:pt x="1440" y="446"/>
                  </a:lnTo>
                  <a:lnTo>
                    <a:pt x="1442" y="444"/>
                  </a:lnTo>
                  <a:lnTo>
                    <a:pt x="1443" y="444"/>
                  </a:lnTo>
                  <a:lnTo>
                    <a:pt x="1444" y="443"/>
                  </a:lnTo>
                  <a:lnTo>
                    <a:pt x="1446" y="443"/>
                  </a:lnTo>
                  <a:lnTo>
                    <a:pt x="1448" y="444"/>
                  </a:lnTo>
                  <a:lnTo>
                    <a:pt x="1450" y="445"/>
                  </a:lnTo>
                  <a:lnTo>
                    <a:pt x="1465" y="456"/>
                  </a:lnTo>
                  <a:lnTo>
                    <a:pt x="1483" y="465"/>
                  </a:lnTo>
                  <a:lnTo>
                    <a:pt x="1501" y="473"/>
                  </a:lnTo>
                  <a:lnTo>
                    <a:pt x="1510" y="476"/>
                  </a:lnTo>
                  <a:lnTo>
                    <a:pt x="1520" y="479"/>
                  </a:lnTo>
                  <a:lnTo>
                    <a:pt x="1529" y="482"/>
                  </a:lnTo>
                  <a:lnTo>
                    <a:pt x="1539" y="485"/>
                  </a:lnTo>
                  <a:lnTo>
                    <a:pt x="1558" y="489"/>
                  </a:lnTo>
                  <a:lnTo>
                    <a:pt x="1576" y="491"/>
                  </a:lnTo>
                  <a:lnTo>
                    <a:pt x="1594" y="492"/>
                  </a:lnTo>
                  <a:lnTo>
                    <a:pt x="1604" y="491"/>
                  </a:lnTo>
                  <a:lnTo>
                    <a:pt x="1613" y="490"/>
                  </a:lnTo>
                  <a:lnTo>
                    <a:pt x="1622" y="488"/>
                  </a:lnTo>
                  <a:lnTo>
                    <a:pt x="1629" y="486"/>
                  </a:lnTo>
                  <a:lnTo>
                    <a:pt x="1632" y="484"/>
                  </a:lnTo>
                  <a:lnTo>
                    <a:pt x="1635" y="482"/>
                  </a:lnTo>
                  <a:lnTo>
                    <a:pt x="1638" y="480"/>
                  </a:lnTo>
                  <a:lnTo>
                    <a:pt x="1640" y="477"/>
                  </a:lnTo>
                  <a:lnTo>
                    <a:pt x="1642" y="474"/>
                  </a:lnTo>
                  <a:lnTo>
                    <a:pt x="1643" y="471"/>
                  </a:lnTo>
                  <a:lnTo>
                    <a:pt x="1644" y="468"/>
                  </a:lnTo>
                  <a:lnTo>
                    <a:pt x="1644" y="464"/>
                  </a:lnTo>
                  <a:lnTo>
                    <a:pt x="1644" y="461"/>
                  </a:lnTo>
                  <a:lnTo>
                    <a:pt x="1643" y="457"/>
                  </a:lnTo>
                  <a:lnTo>
                    <a:pt x="1642" y="454"/>
                  </a:lnTo>
                  <a:lnTo>
                    <a:pt x="1641" y="451"/>
                  </a:lnTo>
                  <a:lnTo>
                    <a:pt x="1640" y="449"/>
                  </a:lnTo>
                  <a:lnTo>
                    <a:pt x="1638" y="448"/>
                  </a:lnTo>
                  <a:lnTo>
                    <a:pt x="1636" y="445"/>
                  </a:lnTo>
                  <a:lnTo>
                    <a:pt x="1629" y="441"/>
                  </a:lnTo>
                  <a:lnTo>
                    <a:pt x="1620" y="437"/>
                  </a:lnTo>
                  <a:lnTo>
                    <a:pt x="1609" y="434"/>
                  </a:lnTo>
                  <a:lnTo>
                    <a:pt x="1595" y="432"/>
                  </a:lnTo>
                  <a:lnTo>
                    <a:pt x="1579" y="429"/>
                  </a:lnTo>
                  <a:lnTo>
                    <a:pt x="1551" y="425"/>
                  </a:lnTo>
                  <a:lnTo>
                    <a:pt x="1537" y="422"/>
                  </a:lnTo>
                  <a:lnTo>
                    <a:pt x="1522" y="419"/>
                  </a:lnTo>
                  <a:lnTo>
                    <a:pt x="1508" y="415"/>
                  </a:lnTo>
                  <a:lnTo>
                    <a:pt x="1493" y="411"/>
                  </a:lnTo>
                  <a:lnTo>
                    <a:pt x="1480" y="405"/>
                  </a:lnTo>
                  <a:lnTo>
                    <a:pt x="1466" y="398"/>
                  </a:lnTo>
                  <a:lnTo>
                    <a:pt x="1460" y="395"/>
                  </a:lnTo>
                  <a:lnTo>
                    <a:pt x="1454" y="391"/>
                  </a:lnTo>
                  <a:lnTo>
                    <a:pt x="1448" y="386"/>
                  </a:lnTo>
                  <a:lnTo>
                    <a:pt x="1443" y="382"/>
                  </a:lnTo>
                  <a:lnTo>
                    <a:pt x="1438" y="377"/>
                  </a:lnTo>
                  <a:lnTo>
                    <a:pt x="1433" y="371"/>
                  </a:lnTo>
                  <a:lnTo>
                    <a:pt x="1428" y="366"/>
                  </a:lnTo>
                  <a:lnTo>
                    <a:pt x="1424" y="359"/>
                  </a:lnTo>
                  <a:lnTo>
                    <a:pt x="1420" y="353"/>
                  </a:lnTo>
                  <a:lnTo>
                    <a:pt x="1417" y="346"/>
                  </a:lnTo>
                  <a:lnTo>
                    <a:pt x="1414" y="338"/>
                  </a:lnTo>
                  <a:lnTo>
                    <a:pt x="1411" y="330"/>
                  </a:lnTo>
                  <a:lnTo>
                    <a:pt x="1410" y="322"/>
                  </a:lnTo>
                  <a:lnTo>
                    <a:pt x="1408" y="313"/>
                  </a:lnTo>
                  <a:lnTo>
                    <a:pt x="1408" y="308"/>
                  </a:lnTo>
                  <a:lnTo>
                    <a:pt x="1407" y="304"/>
                  </a:lnTo>
                  <a:lnTo>
                    <a:pt x="1407" y="294"/>
                  </a:lnTo>
                  <a:lnTo>
                    <a:pt x="1407" y="285"/>
                  </a:lnTo>
                  <a:lnTo>
                    <a:pt x="1408" y="277"/>
                  </a:lnTo>
                  <a:lnTo>
                    <a:pt x="1409" y="268"/>
                  </a:lnTo>
                  <a:lnTo>
                    <a:pt x="1410" y="261"/>
                  </a:lnTo>
                  <a:lnTo>
                    <a:pt x="1412" y="253"/>
                  </a:lnTo>
                  <a:lnTo>
                    <a:pt x="1415" y="246"/>
                  </a:lnTo>
                  <a:lnTo>
                    <a:pt x="1417" y="239"/>
                  </a:lnTo>
                  <a:lnTo>
                    <a:pt x="1420" y="232"/>
                  </a:lnTo>
                  <a:lnTo>
                    <a:pt x="1424" y="225"/>
                  </a:lnTo>
                  <a:lnTo>
                    <a:pt x="1428" y="219"/>
                  </a:lnTo>
                  <a:lnTo>
                    <a:pt x="1436" y="208"/>
                  </a:lnTo>
                  <a:lnTo>
                    <a:pt x="1441" y="202"/>
                  </a:lnTo>
                  <a:lnTo>
                    <a:pt x="1446" y="197"/>
                  </a:lnTo>
                  <a:lnTo>
                    <a:pt x="1457" y="188"/>
                  </a:lnTo>
                  <a:lnTo>
                    <a:pt x="1463" y="183"/>
                  </a:lnTo>
                  <a:lnTo>
                    <a:pt x="1469" y="179"/>
                  </a:lnTo>
                  <a:lnTo>
                    <a:pt x="1483" y="172"/>
                  </a:lnTo>
                  <a:lnTo>
                    <a:pt x="1490" y="169"/>
                  </a:lnTo>
                  <a:lnTo>
                    <a:pt x="1497" y="166"/>
                  </a:lnTo>
                  <a:lnTo>
                    <a:pt x="1512" y="161"/>
                  </a:lnTo>
                  <a:lnTo>
                    <a:pt x="1528" y="157"/>
                  </a:lnTo>
                  <a:lnTo>
                    <a:pt x="1544" y="154"/>
                  </a:lnTo>
                  <a:lnTo>
                    <a:pt x="1561" y="152"/>
                  </a:lnTo>
                  <a:lnTo>
                    <a:pt x="1579" y="152"/>
                  </a:lnTo>
                  <a:lnTo>
                    <a:pt x="1595" y="152"/>
                  </a:lnTo>
                  <a:lnTo>
                    <a:pt x="1611" y="153"/>
                  </a:lnTo>
                  <a:lnTo>
                    <a:pt x="1626" y="154"/>
                  </a:lnTo>
                  <a:lnTo>
                    <a:pt x="1641" y="156"/>
                  </a:lnTo>
                  <a:lnTo>
                    <a:pt x="1654" y="158"/>
                  </a:lnTo>
                  <a:lnTo>
                    <a:pt x="1667" y="160"/>
                  </a:lnTo>
                  <a:lnTo>
                    <a:pt x="1679" y="163"/>
                  </a:lnTo>
                  <a:lnTo>
                    <a:pt x="1691" y="167"/>
                  </a:lnTo>
                  <a:lnTo>
                    <a:pt x="1702" y="170"/>
                  </a:lnTo>
                  <a:lnTo>
                    <a:pt x="1713" y="174"/>
                  </a:lnTo>
                  <a:lnTo>
                    <a:pt x="1723" y="179"/>
                  </a:lnTo>
                  <a:lnTo>
                    <a:pt x="1733" y="183"/>
                  </a:lnTo>
                  <a:lnTo>
                    <a:pt x="1742" y="188"/>
                  </a:lnTo>
                  <a:lnTo>
                    <a:pt x="1751" y="194"/>
                  </a:lnTo>
                  <a:lnTo>
                    <a:pt x="1768" y="205"/>
                  </a:lnTo>
                  <a:lnTo>
                    <a:pt x="1770" y="207"/>
                  </a:lnTo>
                  <a:lnTo>
                    <a:pt x="1771" y="209"/>
                  </a:lnTo>
                  <a:lnTo>
                    <a:pt x="1772" y="211"/>
                  </a:lnTo>
                  <a:lnTo>
                    <a:pt x="1772" y="212"/>
                  </a:lnTo>
                  <a:lnTo>
                    <a:pt x="1771" y="215"/>
                  </a:lnTo>
                  <a:lnTo>
                    <a:pt x="1770" y="216"/>
                  </a:lnTo>
                  <a:lnTo>
                    <a:pt x="1722" y="288"/>
                  </a:lnTo>
                  <a:lnTo>
                    <a:pt x="1720" y="290"/>
                  </a:lnTo>
                  <a:lnTo>
                    <a:pt x="1718" y="292"/>
                  </a:lnTo>
                  <a:lnTo>
                    <a:pt x="1716" y="292"/>
                  </a:lnTo>
                  <a:lnTo>
                    <a:pt x="1715" y="292"/>
                  </a:lnTo>
                  <a:lnTo>
                    <a:pt x="1711" y="292"/>
                  </a:lnTo>
                  <a:lnTo>
                    <a:pt x="1708" y="290"/>
                  </a:lnTo>
                  <a:lnTo>
                    <a:pt x="1693" y="282"/>
                  </a:lnTo>
                  <a:lnTo>
                    <a:pt x="1677" y="274"/>
                  </a:lnTo>
                  <a:lnTo>
                    <a:pt x="1662" y="268"/>
                  </a:lnTo>
                  <a:lnTo>
                    <a:pt x="1647" y="263"/>
                  </a:lnTo>
                  <a:lnTo>
                    <a:pt x="1633" y="258"/>
                  </a:lnTo>
                  <a:lnTo>
                    <a:pt x="1619" y="255"/>
                  </a:lnTo>
                  <a:lnTo>
                    <a:pt x="1612" y="254"/>
                  </a:lnTo>
                  <a:lnTo>
                    <a:pt x="1606" y="254"/>
                  </a:lnTo>
                  <a:lnTo>
                    <a:pt x="1593" y="253"/>
                  </a:lnTo>
                  <a:lnTo>
                    <a:pt x="1584" y="253"/>
                  </a:lnTo>
                  <a:lnTo>
                    <a:pt x="1576" y="254"/>
                  </a:lnTo>
                  <a:lnTo>
                    <a:pt x="1568" y="256"/>
                  </a:lnTo>
                  <a:lnTo>
                    <a:pt x="1562" y="259"/>
                  </a:lnTo>
                  <a:lnTo>
                    <a:pt x="1560" y="261"/>
                  </a:lnTo>
                  <a:lnTo>
                    <a:pt x="1557" y="263"/>
                  </a:lnTo>
                  <a:lnTo>
                    <a:pt x="1554" y="267"/>
                  </a:lnTo>
                  <a:lnTo>
                    <a:pt x="1552" y="270"/>
                  </a:lnTo>
                  <a:lnTo>
                    <a:pt x="1551" y="273"/>
                  </a:lnTo>
                  <a:lnTo>
                    <a:pt x="1551" y="276"/>
                  </a:lnTo>
                  <a:lnTo>
                    <a:pt x="1550" y="280"/>
                  </a:lnTo>
                  <a:lnTo>
                    <a:pt x="1551" y="283"/>
                  </a:lnTo>
                  <a:lnTo>
                    <a:pt x="1551" y="286"/>
                  </a:lnTo>
                  <a:lnTo>
                    <a:pt x="1553" y="289"/>
                  </a:lnTo>
                  <a:lnTo>
                    <a:pt x="1555" y="292"/>
                  </a:lnTo>
                  <a:lnTo>
                    <a:pt x="1557" y="295"/>
                  </a:lnTo>
                  <a:lnTo>
                    <a:pt x="1560" y="297"/>
                  </a:lnTo>
                  <a:lnTo>
                    <a:pt x="1563" y="299"/>
                  </a:lnTo>
                  <a:lnTo>
                    <a:pt x="1567" y="301"/>
                  </a:lnTo>
                  <a:lnTo>
                    <a:pt x="1576" y="304"/>
                  </a:lnTo>
                  <a:lnTo>
                    <a:pt x="1587" y="307"/>
                  </a:lnTo>
                  <a:lnTo>
                    <a:pt x="1600" y="309"/>
                  </a:lnTo>
                  <a:lnTo>
                    <a:pt x="1615" y="312"/>
                  </a:lnTo>
                  <a:lnTo>
                    <a:pt x="1642" y="316"/>
                  </a:lnTo>
                  <a:lnTo>
                    <a:pt x="1657" y="318"/>
                  </a:lnTo>
                  <a:lnTo>
                    <a:pt x="1672" y="321"/>
                  </a:lnTo>
                  <a:lnTo>
                    <a:pt x="1686" y="325"/>
                  </a:lnTo>
                  <a:lnTo>
                    <a:pt x="1701" y="329"/>
                  </a:lnTo>
                  <a:lnTo>
                    <a:pt x="1715" y="334"/>
                  </a:lnTo>
                  <a:lnTo>
                    <a:pt x="1728" y="340"/>
                  </a:lnTo>
                  <a:lnTo>
                    <a:pt x="1740" y="348"/>
                  </a:lnTo>
                  <a:lnTo>
                    <a:pt x="1746" y="352"/>
                  </a:lnTo>
                  <a:lnTo>
                    <a:pt x="1752" y="356"/>
                  </a:lnTo>
                  <a:lnTo>
                    <a:pt x="1757" y="361"/>
                  </a:lnTo>
                  <a:lnTo>
                    <a:pt x="1762" y="366"/>
                  </a:lnTo>
                  <a:lnTo>
                    <a:pt x="1766" y="371"/>
                  </a:lnTo>
                  <a:lnTo>
                    <a:pt x="1771" y="377"/>
                  </a:lnTo>
                  <a:lnTo>
                    <a:pt x="1774" y="383"/>
                  </a:lnTo>
                  <a:lnTo>
                    <a:pt x="1778" y="390"/>
                  </a:lnTo>
                  <a:lnTo>
                    <a:pt x="1781" y="397"/>
                  </a:lnTo>
                  <a:lnTo>
                    <a:pt x="1783" y="404"/>
                  </a:lnTo>
                  <a:lnTo>
                    <a:pt x="1785" y="412"/>
                  </a:lnTo>
                  <a:lnTo>
                    <a:pt x="1787" y="420"/>
                  </a:lnTo>
                  <a:lnTo>
                    <a:pt x="1787" y="425"/>
                  </a:lnTo>
                  <a:lnTo>
                    <a:pt x="1787" y="429"/>
                  </a:lnTo>
                  <a:lnTo>
                    <a:pt x="1788" y="438"/>
                  </a:lnTo>
                  <a:lnTo>
                    <a:pt x="1787" y="449"/>
                  </a:lnTo>
                  <a:lnTo>
                    <a:pt x="1787" y="458"/>
                  </a:lnTo>
                  <a:lnTo>
                    <a:pt x="1785" y="468"/>
                  </a:lnTo>
                  <a:lnTo>
                    <a:pt x="1783" y="477"/>
                  </a:lnTo>
                  <a:lnTo>
                    <a:pt x="1781" y="485"/>
                  </a:lnTo>
                  <a:lnTo>
                    <a:pt x="1778" y="494"/>
                  </a:lnTo>
                  <a:lnTo>
                    <a:pt x="1775" y="501"/>
                  </a:lnTo>
                  <a:lnTo>
                    <a:pt x="1771" y="509"/>
                  </a:lnTo>
                  <a:lnTo>
                    <a:pt x="1767" y="516"/>
                  </a:lnTo>
                  <a:lnTo>
                    <a:pt x="1763" y="523"/>
                  </a:lnTo>
                  <a:lnTo>
                    <a:pt x="1758" y="529"/>
                  </a:lnTo>
                  <a:lnTo>
                    <a:pt x="1752" y="535"/>
                  </a:lnTo>
                  <a:lnTo>
                    <a:pt x="1747" y="540"/>
                  </a:lnTo>
                  <a:lnTo>
                    <a:pt x="1741" y="546"/>
                  </a:lnTo>
                  <a:lnTo>
                    <a:pt x="1734" y="550"/>
                  </a:lnTo>
                  <a:lnTo>
                    <a:pt x="1728" y="555"/>
                  </a:lnTo>
                  <a:lnTo>
                    <a:pt x="1721" y="559"/>
                  </a:lnTo>
                  <a:lnTo>
                    <a:pt x="1714" y="563"/>
                  </a:lnTo>
                  <a:lnTo>
                    <a:pt x="1699" y="570"/>
                  </a:lnTo>
                  <a:lnTo>
                    <a:pt x="1683" y="576"/>
                  </a:lnTo>
                  <a:lnTo>
                    <a:pt x="1675" y="578"/>
                  </a:lnTo>
                  <a:lnTo>
                    <a:pt x="1666" y="580"/>
                  </a:lnTo>
                  <a:lnTo>
                    <a:pt x="1649" y="584"/>
                  </a:lnTo>
                  <a:lnTo>
                    <a:pt x="1631" y="586"/>
                  </a:lnTo>
                  <a:lnTo>
                    <a:pt x="1613" y="588"/>
                  </a:lnTo>
                  <a:lnTo>
                    <a:pt x="1595" y="58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pic>
        <p:nvPicPr>
          <p:cNvPr id="13" name="Graphic 12">
            <a:extLst>
              <a:ext uri="{FF2B5EF4-FFF2-40B4-BE49-F238E27FC236}">
                <a16:creationId xmlns:a16="http://schemas.microsoft.com/office/drawing/2014/main" id="{134CC30D-22AB-9D76-7BC4-C7E230AD019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63352" y="2668930"/>
            <a:ext cx="5168475" cy="1520139"/>
          </a:xfrm>
          <a:prstGeom prst="rect">
            <a:avLst/>
          </a:prstGeom>
        </p:spPr>
      </p:pic>
    </p:spTree>
    <p:extLst>
      <p:ext uri="{BB962C8B-B14F-4D97-AF65-F5344CB8AC3E}">
        <p14:creationId xmlns:p14="http://schemas.microsoft.com/office/powerpoint/2010/main" val="3039549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slide / picture, light / EN">
    <p:bg>
      <p:bgPr>
        <a:solidFill>
          <a:schemeClr val="bg1"/>
        </a:solidFill>
        <a:effectLst/>
      </p:bgPr>
    </p:bg>
    <p:spTree>
      <p:nvGrpSpPr>
        <p:cNvPr id="1" name=""/>
        <p:cNvGrpSpPr/>
        <p:nvPr/>
      </p:nvGrpSpPr>
      <p:grpSpPr>
        <a:xfrm>
          <a:off x="0" y="0"/>
          <a:ext cx="0" cy="0"/>
          <a:chOff x="0" y="0"/>
          <a:chExt cx="0" cy="0"/>
        </a:xfrm>
      </p:grpSpPr>
      <p:sp>
        <p:nvSpPr>
          <p:cNvPr id="18" name="Picture Placeholder 5"/>
          <p:cNvSpPr>
            <a:spLocks noGrp="1"/>
          </p:cNvSpPr>
          <p:nvPr>
            <p:ph type="pic" sz="quarter" idx="17"/>
          </p:nvPr>
        </p:nvSpPr>
        <p:spPr>
          <a:xfrm>
            <a:off x="1" y="0"/>
            <a:ext cx="12191999" cy="6858000"/>
          </a:xfrm>
          <a:solidFill>
            <a:schemeClr val="bg1">
              <a:lumMod val="95000"/>
            </a:schemeClr>
          </a:solidFill>
        </p:spPr>
        <p:txBody>
          <a:bodyPr/>
          <a:lstStyle>
            <a:lvl1pPr marL="0" indent="0">
              <a:buFontTx/>
              <a:buNone/>
              <a:defRPr sz="1000"/>
            </a:lvl1pPr>
          </a:lstStyle>
          <a:p>
            <a:r>
              <a:rPr lang="en-US"/>
              <a:t>Click icon to add picture</a:t>
            </a:r>
            <a:endParaRPr lang="fi-FI" dirty="0"/>
          </a:p>
        </p:txBody>
      </p:sp>
      <p:sp>
        <p:nvSpPr>
          <p:cNvPr id="4" name="Date Placeholder 3"/>
          <p:cNvSpPr>
            <a:spLocks noGrp="1"/>
          </p:cNvSpPr>
          <p:nvPr>
            <p:ph type="dt" sz="half" idx="10"/>
          </p:nvPr>
        </p:nvSpPr>
        <p:spPr>
          <a:xfrm>
            <a:off x="2063552" y="260351"/>
            <a:ext cx="1224137" cy="216023"/>
          </a:xfrm>
        </p:spPr>
        <p:txBody>
          <a:bodyPr/>
          <a:lstStyle>
            <a:lvl1pPr>
              <a:defRPr>
                <a:noFill/>
              </a:defRPr>
            </a:lvl1pPr>
          </a:lstStyle>
          <a:p>
            <a:fld id="{BD3CFFDA-818F-4A73-BD76-D775C6C0AF81}" type="datetime1">
              <a:rPr lang="en-GB" smtClean="0"/>
              <a:t>22/10/2025</a:t>
            </a:fld>
            <a:endParaRPr lang="fi-FI"/>
          </a:p>
        </p:txBody>
      </p:sp>
      <p:sp>
        <p:nvSpPr>
          <p:cNvPr id="5" name="Footer Placeholder 4"/>
          <p:cNvSpPr>
            <a:spLocks noGrp="1"/>
          </p:cNvSpPr>
          <p:nvPr>
            <p:ph type="ftr" sz="quarter" idx="11"/>
          </p:nvPr>
        </p:nvSpPr>
        <p:spPr>
          <a:xfrm>
            <a:off x="3287688" y="260350"/>
            <a:ext cx="8137550" cy="216024"/>
          </a:xfrm>
        </p:spPr>
        <p:txBody>
          <a:bodyPr/>
          <a:lstStyle>
            <a:lvl1pPr>
              <a:defRPr>
                <a:noFill/>
              </a:defRPr>
            </a:lvl1pPr>
          </a:lstStyle>
          <a:p>
            <a:r>
              <a:rPr lang="fi-FI"/>
              <a:t>Presentation name / Author</a:t>
            </a:r>
          </a:p>
        </p:txBody>
      </p:sp>
      <p:sp>
        <p:nvSpPr>
          <p:cNvPr id="6" name="Slide Number Placeholder 5"/>
          <p:cNvSpPr>
            <a:spLocks noGrp="1"/>
          </p:cNvSpPr>
          <p:nvPr>
            <p:ph type="sldNum" sz="quarter" idx="12"/>
          </p:nvPr>
        </p:nvSpPr>
        <p:spPr>
          <a:xfrm>
            <a:off x="11425239" y="260351"/>
            <a:ext cx="431800" cy="216023"/>
          </a:xfrm>
        </p:spPr>
        <p:txBody>
          <a:bodyPr/>
          <a:lstStyle>
            <a:lvl1pPr>
              <a:defRPr>
                <a:noFill/>
              </a:defRPr>
            </a:lvl1pPr>
          </a:lstStyle>
          <a:p>
            <a:fld id="{49A25110-65A2-4B67-BF3F-8D6D3162EF46}" type="slidenum">
              <a:rPr lang="fi-FI" smtClean="0"/>
              <a:pPr/>
              <a:t>‹#›</a:t>
            </a:fld>
            <a:endParaRPr lang="fi-FI"/>
          </a:p>
        </p:txBody>
      </p:sp>
      <p:sp>
        <p:nvSpPr>
          <p:cNvPr id="13" name="Text Placeholder 2">
            <a:extLst>
              <a:ext uri="{FF2B5EF4-FFF2-40B4-BE49-F238E27FC236}">
                <a16:creationId xmlns:a16="http://schemas.microsoft.com/office/drawing/2014/main" id="{95081626-4AD1-402F-6B8E-E5C68184E142}"/>
              </a:ext>
            </a:extLst>
          </p:cNvPr>
          <p:cNvSpPr>
            <a:spLocks noGrp="1" noChangeAspect="1"/>
          </p:cNvSpPr>
          <p:nvPr>
            <p:ph type="body" sz="quarter" idx="22"/>
          </p:nvPr>
        </p:nvSpPr>
        <p:spPr>
          <a:xfrm>
            <a:off x="335360" y="6093296"/>
            <a:ext cx="1243542" cy="432000"/>
          </a:xfrm>
          <a:blipFill>
            <a:blip r:embed="rId2"/>
            <a:stretch>
              <a:fillRect/>
            </a:stretch>
          </a:blipFill>
        </p:spPr>
        <p:txBody>
          <a:bodyPr/>
          <a:lstStyle>
            <a:lvl1pPr>
              <a:defRPr sz="100">
                <a:noFill/>
              </a:defRPr>
            </a:lvl1pPr>
          </a:lstStyle>
          <a:p>
            <a:pPr lvl="0"/>
            <a:r>
              <a:rPr lang="en-US"/>
              <a:t>Click to edit Master text styles</a:t>
            </a:r>
          </a:p>
        </p:txBody>
      </p:sp>
      <p:sp>
        <p:nvSpPr>
          <p:cNvPr id="7" name="Text Placeholder 9">
            <a:extLst>
              <a:ext uri="{FF2B5EF4-FFF2-40B4-BE49-F238E27FC236}">
                <a16:creationId xmlns:a16="http://schemas.microsoft.com/office/drawing/2014/main" id="{6E06857C-6621-79C2-80F8-AE01D101A4A8}"/>
              </a:ext>
            </a:extLst>
          </p:cNvPr>
          <p:cNvSpPr>
            <a:spLocks noGrp="1"/>
          </p:cNvSpPr>
          <p:nvPr>
            <p:ph type="body" sz="quarter" idx="13"/>
          </p:nvPr>
        </p:nvSpPr>
        <p:spPr>
          <a:xfrm>
            <a:off x="263352" y="2668905"/>
            <a:ext cx="5168474" cy="1520189"/>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a:noFill/>
              </a:defRPr>
            </a:lvl1pPr>
          </a:lstStyle>
          <a:p>
            <a:pPr lvl="0"/>
            <a:r>
              <a:rPr lang="en-US"/>
              <a:t>Click to edit Master text styles</a:t>
            </a:r>
          </a:p>
        </p:txBody>
      </p:sp>
    </p:spTree>
    <p:extLst>
      <p:ext uri="{BB962C8B-B14F-4D97-AF65-F5344CB8AC3E}">
        <p14:creationId xmlns:p14="http://schemas.microsoft.com/office/powerpoint/2010/main" val="4159439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slide / picture, light / FIN">
    <p:bg>
      <p:bgPr>
        <a:solidFill>
          <a:schemeClr val="bg1"/>
        </a:solidFill>
        <a:effectLst/>
      </p:bgPr>
    </p:bg>
    <p:spTree>
      <p:nvGrpSpPr>
        <p:cNvPr id="1" name=""/>
        <p:cNvGrpSpPr/>
        <p:nvPr/>
      </p:nvGrpSpPr>
      <p:grpSpPr>
        <a:xfrm>
          <a:off x="0" y="0"/>
          <a:ext cx="0" cy="0"/>
          <a:chOff x="0" y="0"/>
          <a:chExt cx="0" cy="0"/>
        </a:xfrm>
      </p:grpSpPr>
      <p:sp>
        <p:nvSpPr>
          <p:cNvPr id="18" name="Picture Placeholder 5"/>
          <p:cNvSpPr>
            <a:spLocks noGrp="1"/>
          </p:cNvSpPr>
          <p:nvPr>
            <p:ph type="pic" sz="quarter" idx="17"/>
          </p:nvPr>
        </p:nvSpPr>
        <p:spPr>
          <a:xfrm>
            <a:off x="1" y="0"/>
            <a:ext cx="12191999" cy="6858000"/>
          </a:xfrm>
          <a:solidFill>
            <a:schemeClr val="bg1">
              <a:lumMod val="95000"/>
            </a:schemeClr>
          </a:solidFill>
        </p:spPr>
        <p:txBody>
          <a:bodyPr/>
          <a:lstStyle>
            <a:lvl1pPr marL="0" indent="0">
              <a:buFontTx/>
              <a:buNone/>
              <a:defRPr sz="1000"/>
            </a:lvl1pPr>
          </a:lstStyle>
          <a:p>
            <a:r>
              <a:rPr lang="en-US"/>
              <a:t>Click icon to add picture</a:t>
            </a:r>
            <a:endParaRPr lang="fi-FI"/>
          </a:p>
        </p:txBody>
      </p:sp>
      <p:sp>
        <p:nvSpPr>
          <p:cNvPr id="4" name="Date Placeholder 3"/>
          <p:cNvSpPr>
            <a:spLocks noGrp="1"/>
          </p:cNvSpPr>
          <p:nvPr>
            <p:ph type="dt" sz="half" idx="10"/>
          </p:nvPr>
        </p:nvSpPr>
        <p:spPr>
          <a:xfrm>
            <a:off x="2063552" y="260351"/>
            <a:ext cx="1224137" cy="216023"/>
          </a:xfrm>
        </p:spPr>
        <p:txBody>
          <a:bodyPr/>
          <a:lstStyle>
            <a:lvl1pPr>
              <a:defRPr>
                <a:noFill/>
              </a:defRPr>
            </a:lvl1pPr>
          </a:lstStyle>
          <a:p>
            <a:fld id="{BD3CFFDA-818F-4A73-BD76-D775C6C0AF81}" type="datetime1">
              <a:rPr lang="en-GB" smtClean="0"/>
              <a:t>22/10/2025</a:t>
            </a:fld>
            <a:endParaRPr lang="fi-FI"/>
          </a:p>
        </p:txBody>
      </p:sp>
      <p:sp>
        <p:nvSpPr>
          <p:cNvPr id="5" name="Footer Placeholder 4"/>
          <p:cNvSpPr>
            <a:spLocks noGrp="1"/>
          </p:cNvSpPr>
          <p:nvPr>
            <p:ph type="ftr" sz="quarter" idx="11"/>
          </p:nvPr>
        </p:nvSpPr>
        <p:spPr>
          <a:xfrm>
            <a:off x="3287688" y="260350"/>
            <a:ext cx="8137550" cy="216024"/>
          </a:xfrm>
        </p:spPr>
        <p:txBody>
          <a:bodyPr/>
          <a:lstStyle>
            <a:lvl1pPr>
              <a:defRPr>
                <a:noFill/>
              </a:defRPr>
            </a:lvl1pPr>
          </a:lstStyle>
          <a:p>
            <a:r>
              <a:rPr lang="fi-FI"/>
              <a:t>Presentation name / Author</a:t>
            </a:r>
          </a:p>
        </p:txBody>
      </p:sp>
      <p:sp>
        <p:nvSpPr>
          <p:cNvPr id="6" name="Slide Number Placeholder 5"/>
          <p:cNvSpPr>
            <a:spLocks noGrp="1"/>
          </p:cNvSpPr>
          <p:nvPr>
            <p:ph type="sldNum" sz="quarter" idx="12"/>
          </p:nvPr>
        </p:nvSpPr>
        <p:spPr>
          <a:xfrm>
            <a:off x="11425239" y="260351"/>
            <a:ext cx="431800" cy="216023"/>
          </a:xfrm>
        </p:spPr>
        <p:txBody>
          <a:bodyPr/>
          <a:lstStyle>
            <a:lvl1pPr>
              <a:defRPr>
                <a:noFill/>
              </a:defRPr>
            </a:lvl1pPr>
          </a:lstStyle>
          <a:p>
            <a:fld id="{49A25110-65A2-4B67-BF3F-8D6D3162EF46}" type="slidenum">
              <a:rPr lang="fi-FI" smtClean="0"/>
              <a:pPr/>
              <a:t>‹#›</a:t>
            </a:fld>
            <a:endParaRPr lang="fi-FI"/>
          </a:p>
        </p:txBody>
      </p:sp>
      <p:sp>
        <p:nvSpPr>
          <p:cNvPr id="16" name="Text Placeholder 2">
            <a:extLst>
              <a:ext uri="{FF2B5EF4-FFF2-40B4-BE49-F238E27FC236}">
                <a16:creationId xmlns:a16="http://schemas.microsoft.com/office/drawing/2014/main" id="{509379F5-C9D5-FEC1-AAC7-A9C9FAE67A71}"/>
              </a:ext>
            </a:extLst>
          </p:cNvPr>
          <p:cNvSpPr>
            <a:spLocks noGrp="1" noChangeAspect="1"/>
          </p:cNvSpPr>
          <p:nvPr>
            <p:ph type="body" sz="quarter" idx="22"/>
          </p:nvPr>
        </p:nvSpPr>
        <p:spPr>
          <a:xfrm>
            <a:off x="335360" y="6093296"/>
            <a:ext cx="1243542" cy="432000"/>
          </a:xfrm>
          <a:blipFill>
            <a:blip r:embed="rId2"/>
            <a:stretch>
              <a:fillRect/>
            </a:stretch>
          </a:blipFill>
        </p:spPr>
        <p:txBody>
          <a:bodyPr/>
          <a:lstStyle>
            <a:lvl1pPr>
              <a:defRPr sz="100">
                <a:noFill/>
              </a:defRPr>
            </a:lvl1pPr>
          </a:lstStyle>
          <a:p>
            <a:pPr lvl="0"/>
            <a:r>
              <a:rPr lang="en-US"/>
              <a:t>Click to edit Master text styles</a:t>
            </a:r>
          </a:p>
        </p:txBody>
      </p:sp>
      <p:sp>
        <p:nvSpPr>
          <p:cNvPr id="2" name="Text Placeholder 9">
            <a:extLst>
              <a:ext uri="{FF2B5EF4-FFF2-40B4-BE49-F238E27FC236}">
                <a16:creationId xmlns:a16="http://schemas.microsoft.com/office/drawing/2014/main" id="{5F63DDF5-8E6F-DA16-749D-A4601972FD55}"/>
              </a:ext>
            </a:extLst>
          </p:cNvPr>
          <p:cNvSpPr>
            <a:spLocks noGrp="1"/>
          </p:cNvSpPr>
          <p:nvPr>
            <p:ph type="body" sz="quarter" idx="13"/>
          </p:nvPr>
        </p:nvSpPr>
        <p:spPr>
          <a:xfrm>
            <a:off x="263352" y="2668905"/>
            <a:ext cx="5168474" cy="1520189"/>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a:noFill/>
              </a:defRPr>
            </a:lvl1pPr>
          </a:lstStyle>
          <a:p>
            <a:pPr lvl="0"/>
            <a:r>
              <a:rPr lang="en-US"/>
              <a:t>Click to edit Master text styles</a:t>
            </a:r>
          </a:p>
        </p:txBody>
      </p:sp>
    </p:spTree>
    <p:extLst>
      <p:ext uri="{BB962C8B-B14F-4D97-AF65-F5344CB8AC3E}">
        <p14:creationId xmlns:p14="http://schemas.microsoft.com/office/powerpoint/2010/main" val="2216952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nd slide / picture, dark / EN">
    <p:bg>
      <p:bgPr>
        <a:solidFill>
          <a:schemeClr val="bg1"/>
        </a:solidFill>
        <a:effectLst/>
      </p:bgPr>
    </p:bg>
    <p:spTree>
      <p:nvGrpSpPr>
        <p:cNvPr id="1" name=""/>
        <p:cNvGrpSpPr/>
        <p:nvPr/>
      </p:nvGrpSpPr>
      <p:grpSpPr>
        <a:xfrm>
          <a:off x="0" y="0"/>
          <a:ext cx="0" cy="0"/>
          <a:chOff x="0" y="0"/>
          <a:chExt cx="0" cy="0"/>
        </a:xfrm>
      </p:grpSpPr>
      <p:sp>
        <p:nvSpPr>
          <p:cNvPr id="17" name="Picture Placeholder 5"/>
          <p:cNvSpPr>
            <a:spLocks noGrp="1"/>
          </p:cNvSpPr>
          <p:nvPr>
            <p:ph type="pic" sz="quarter" idx="17"/>
          </p:nvPr>
        </p:nvSpPr>
        <p:spPr>
          <a:xfrm>
            <a:off x="0" y="1"/>
            <a:ext cx="12191999" cy="6858000"/>
          </a:xfrm>
          <a:solidFill>
            <a:schemeClr val="accent2">
              <a:lumMod val="60000"/>
              <a:lumOff val="40000"/>
            </a:schemeClr>
          </a:solidFill>
        </p:spPr>
        <p:txBody>
          <a:bodyPr/>
          <a:lstStyle>
            <a:lvl1pPr marL="0" indent="0">
              <a:buFontTx/>
              <a:buNone/>
              <a:defRPr sz="1000">
                <a:solidFill>
                  <a:schemeClr val="bg1"/>
                </a:solidFill>
              </a:defRPr>
            </a:lvl1pPr>
          </a:lstStyle>
          <a:p>
            <a:r>
              <a:rPr lang="en-US"/>
              <a:t>Click icon to add picture</a:t>
            </a:r>
            <a:endParaRPr lang="fi-FI"/>
          </a:p>
        </p:txBody>
      </p:sp>
      <p:sp>
        <p:nvSpPr>
          <p:cNvPr id="4" name="Date Placeholder 3"/>
          <p:cNvSpPr>
            <a:spLocks noGrp="1"/>
          </p:cNvSpPr>
          <p:nvPr>
            <p:ph type="dt" sz="half" idx="10"/>
          </p:nvPr>
        </p:nvSpPr>
        <p:spPr>
          <a:xfrm>
            <a:off x="2063552" y="260351"/>
            <a:ext cx="1224137" cy="216023"/>
          </a:xfrm>
        </p:spPr>
        <p:txBody>
          <a:bodyPr/>
          <a:lstStyle>
            <a:lvl1pPr>
              <a:defRPr>
                <a:noFill/>
              </a:defRPr>
            </a:lvl1pPr>
          </a:lstStyle>
          <a:p>
            <a:fld id="{BD3CFFDA-818F-4A73-BD76-D775C6C0AF81}" type="datetime1">
              <a:rPr lang="en-GB" smtClean="0"/>
              <a:t>22/10/2025</a:t>
            </a:fld>
            <a:endParaRPr lang="fi-FI"/>
          </a:p>
        </p:txBody>
      </p:sp>
      <p:sp>
        <p:nvSpPr>
          <p:cNvPr id="5" name="Footer Placeholder 4"/>
          <p:cNvSpPr>
            <a:spLocks noGrp="1"/>
          </p:cNvSpPr>
          <p:nvPr>
            <p:ph type="ftr" sz="quarter" idx="11"/>
          </p:nvPr>
        </p:nvSpPr>
        <p:spPr>
          <a:xfrm>
            <a:off x="3287688" y="260350"/>
            <a:ext cx="8137550" cy="216024"/>
          </a:xfrm>
        </p:spPr>
        <p:txBody>
          <a:bodyPr/>
          <a:lstStyle>
            <a:lvl1pPr>
              <a:defRPr>
                <a:noFill/>
              </a:defRPr>
            </a:lvl1pPr>
          </a:lstStyle>
          <a:p>
            <a:r>
              <a:rPr lang="fi-FI"/>
              <a:t>Presentation name / Author</a:t>
            </a:r>
          </a:p>
        </p:txBody>
      </p:sp>
      <p:sp>
        <p:nvSpPr>
          <p:cNvPr id="6" name="Slide Number Placeholder 5"/>
          <p:cNvSpPr>
            <a:spLocks noGrp="1"/>
          </p:cNvSpPr>
          <p:nvPr>
            <p:ph type="sldNum" sz="quarter" idx="12"/>
          </p:nvPr>
        </p:nvSpPr>
        <p:spPr>
          <a:xfrm>
            <a:off x="11425239" y="260351"/>
            <a:ext cx="431800" cy="216023"/>
          </a:xfrm>
        </p:spPr>
        <p:txBody>
          <a:bodyPr/>
          <a:lstStyle>
            <a:lvl1pPr>
              <a:defRPr>
                <a:noFill/>
              </a:defRPr>
            </a:lvl1pPr>
          </a:lstStyle>
          <a:p>
            <a:fld id="{49A25110-65A2-4B67-BF3F-8D6D3162EF46}" type="slidenum">
              <a:rPr lang="fi-FI" smtClean="0"/>
              <a:pPr/>
              <a:t>‹#›</a:t>
            </a:fld>
            <a:endParaRPr lang="fi-FI"/>
          </a:p>
        </p:txBody>
      </p:sp>
      <p:sp>
        <p:nvSpPr>
          <p:cNvPr id="2" name="Text Placeholder 2">
            <a:extLst>
              <a:ext uri="{FF2B5EF4-FFF2-40B4-BE49-F238E27FC236}">
                <a16:creationId xmlns:a16="http://schemas.microsoft.com/office/drawing/2014/main" id="{7ABBECD6-AF10-A5D0-9954-85EFD40665B3}"/>
              </a:ext>
            </a:extLst>
          </p:cNvPr>
          <p:cNvSpPr>
            <a:spLocks noGrp="1" noChangeAspect="1"/>
          </p:cNvSpPr>
          <p:nvPr>
            <p:ph type="body" sz="quarter" idx="21"/>
          </p:nvPr>
        </p:nvSpPr>
        <p:spPr>
          <a:xfrm>
            <a:off x="335360" y="6093296"/>
            <a:ext cx="1243543" cy="432000"/>
          </a:xfrm>
          <a:blipFill>
            <a:blip r:embed="rId2"/>
            <a:stretch>
              <a:fillRect/>
            </a:stretch>
          </a:blipFill>
        </p:spPr>
        <p:txBody>
          <a:bodyPr/>
          <a:lstStyle>
            <a:lvl1pPr>
              <a:defRPr sz="100">
                <a:noFill/>
              </a:defRPr>
            </a:lvl1pPr>
          </a:lstStyle>
          <a:p>
            <a:pPr lvl="0"/>
            <a:r>
              <a:rPr lang="en-US"/>
              <a:t>Click to edit Master text styles</a:t>
            </a:r>
          </a:p>
        </p:txBody>
      </p:sp>
      <p:sp>
        <p:nvSpPr>
          <p:cNvPr id="7" name="Text Placeholder 9">
            <a:extLst>
              <a:ext uri="{FF2B5EF4-FFF2-40B4-BE49-F238E27FC236}">
                <a16:creationId xmlns:a16="http://schemas.microsoft.com/office/drawing/2014/main" id="{15250A73-2EA9-82F8-0EF1-F37834207D29}"/>
              </a:ext>
            </a:extLst>
          </p:cNvPr>
          <p:cNvSpPr>
            <a:spLocks noGrp="1"/>
          </p:cNvSpPr>
          <p:nvPr>
            <p:ph type="body" sz="quarter" idx="13"/>
          </p:nvPr>
        </p:nvSpPr>
        <p:spPr>
          <a:xfrm>
            <a:off x="263352" y="2668905"/>
            <a:ext cx="5168474" cy="1520189"/>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a:noFill/>
              </a:defRPr>
            </a:lvl1pPr>
          </a:lstStyle>
          <a:p>
            <a:pPr lvl="0"/>
            <a:r>
              <a:rPr lang="en-US"/>
              <a:t>Click to edit Master text styles</a:t>
            </a:r>
          </a:p>
        </p:txBody>
      </p:sp>
    </p:spTree>
    <p:extLst>
      <p:ext uri="{BB962C8B-B14F-4D97-AF65-F5344CB8AC3E}">
        <p14:creationId xmlns:p14="http://schemas.microsoft.com/office/powerpoint/2010/main" val="710721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nd slide / picture, dark / FIN">
    <p:bg>
      <p:bgPr>
        <a:solidFill>
          <a:schemeClr val="bg1"/>
        </a:solidFill>
        <a:effectLst/>
      </p:bgPr>
    </p:bg>
    <p:spTree>
      <p:nvGrpSpPr>
        <p:cNvPr id="1" name=""/>
        <p:cNvGrpSpPr/>
        <p:nvPr/>
      </p:nvGrpSpPr>
      <p:grpSpPr>
        <a:xfrm>
          <a:off x="0" y="0"/>
          <a:ext cx="0" cy="0"/>
          <a:chOff x="0" y="0"/>
          <a:chExt cx="0" cy="0"/>
        </a:xfrm>
      </p:grpSpPr>
      <p:sp>
        <p:nvSpPr>
          <p:cNvPr id="17" name="Picture Placeholder 5"/>
          <p:cNvSpPr>
            <a:spLocks noGrp="1"/>
          </p:cNvSpPr>
          <p:nvPr>
            <p:ph type="pic" sz="quarter" idx="17"/>
          </p:nvPr>
        </p:nvSpPr>
        <p:spPr>
          <a:xfrm>
            <a:off x="0" y="1"/>
            <a:ext cx="12191999" cy="6858000"/>
          </a:xfrm>
          <a:solidFill>
            <a:schemeClr val="accent2">
              <a:lumMod val="60000"/>
              <a:lumOff val="40000"/>
            </a:schemeClr>
          </a:solidFill>
        </p:spPr>
        <p:txBody>
          <a:bodyPr/>
          <a:lstStyle>
            <a:lvl1pPr marL="0" indent="0">
              <a:buFontTx/>
              <a:buNone/>
              <a:defRPr sz="1000">
                <a:solidFill>
                  <a:schemeClr val="bg1"/>
                </a:solidFill>
              </a:defRPr>
            </a:lvl1pPr>
          </a:lstStyle>
          <a:p>
            <a:r>
              <a:rPr lang="en-US"/>
              <a:t>Click icon to add picture</a:t>
            </a:r>
            <a:endParaRPr lang="fi-FI"/>
          </a:p>
        </p:txBody>
      </p:sp>
      <p:sp>
        <p:nvSpPr>
          <p:cNvPr id="4" name="Date Placeholder 3"/>
          <p:cNvSpPr>
            <a:spLocks noGrp="1"/>
          </p:cNvSpPr>
          <p:nvPr>
            <p:ph type="dt" sz="half" idx="10"/>
          </p:nvPr>
        </p:nvSpPr>
        <p:spPr>
          <a:xfrm>
            <a:off x="2063552" y="260351"/>
            <a:ext cx="1224137" cy="216023"/>
          </a:xfrm>
        </p:spPr>
        <p:txBody>
          <a:bodyPr/>
          <a:lstStyle>
            <a:lvl1pPr>
              <a:defRPr>
                <a:noFill/>
              </a:defRPr>
            </a:lvl1pPr>
          </a:lstStyle>
          <a:p>
            <a:fld id="{BD3CFFDA-818F-4A73-BD76-D775C6C0AF81}" type="datetime1">
              <a:rPr lang="en-GB" smtClean="0"/>
              <a:t>22/10/2025</a:t>
            </a:fld>
            <a:endParaRPr lang="fi-FI"/>
          </a:p>
        </p:txBody>
      </p:sp>
      <p:sp>
        <p:nvSpPr>
          <p:cNvPr id="5" name="Footer Placeholder 4"/>
          <p:cNvSpPr>
            <a:spLocks noGrp="1"/>
          </p:cNvSpPr>
          <p:nvPr>
            <p:ph type="ftr" sz="quarter" idx="11"/>
          </p:nvPr>
        </p:nvSpPr>
        <p:spPr>
          <a:xfrm>
            <a:off x="3287688" y="260350"/>
            <a:ext cx="8137550" cy="216024"/>
          </a:xfrm>
        </p:spPr>
        <p:txBody>
          <a:bodyPr/>
          <a:lstStyle>
            <a:lvl1pPr>
              <a:defRPr>
                <a:noFill/>
              </a:defRPr>
            </a:lvl1pPr>
          </a:lstStyle>
          <a:p>
            <a:r>
              <a:rPr lang="fi-FI"/>
              <a:t>Presentation name / Author</a:t>
            </a:r>
          </a:p>
        </p:txBody>
      </p:sp>
      <p:sp>
        <p:nvSpPr>
          <p:cNvPr id="6" name="Slide Number Placeholder 5"/>
          <p:cNvSpPr>
            <a:spLocks noGrp="1"/>
          </p:cNvSpPr>
          <p:nvPr>
            <p:ph type="sldNum" sz="quarter" idx="12"/>
          </p:nvPr>
        </p:nvSpPr>
        <p:spPr>
          <a:xfrm>
            <a:off x="11425239" y="260351"/>
            <a:ext cx="431800" cy="216023"/>
          </a:xfrm>
        </p:spPr>
        <p:txBody>
          <a:bodyPr/>
          <a:lstStyle>
            <a:lvl1pPr>
              <a:defRPr>
                <a:noFill/>
              </a:defRPr>
            </a:lvl1pPr>
          </a:lstStyle>
          <a:p>
            <a:fld id="{49A25110-65A2-4B67-BF3F-8D6D3162EF46}" type="slidenum">
              <a:rPr lang="fi-FI" smtClean="0"/>
              <a:pPr/>
              <a:t>‹#›</a:t>
            </a:fld>
            <a:endParaRPr lang="fi-FI"/>
          </a:p>
        </p:txBody>
      </p:sp>
      <p:sp>
        <p:nvSpPr>
          <p:cNvPr id="2" name="Text Placeholder 2">
            <a:extLst>
              <a:ext uri="{FF2B5EF4-FFF2-40B4-BE49-F238E27FC236}">
                <a16:creationId xmlns:a16="http://schemas.microsoft.com/office/drawing/2014/main" id="{7ABBECD6-AF10-A5D0-9954-85EFD40665B3}"/>
              </a:ext>
            </a:extLst>
          </p:cNvPr>
          <p:cNvSpPr>
            <a:spLocks noGrp="1" noChangeAspect="1"/>
          </p:cNvSpPr>
          <p:nvPr>
            <p:ph type="body" sz="quarter" idx="21"/>
          </p:nvPr>
        </p:nvSpPr>
        <p:spPr>
          <a:xfrm>
            <a:off x="335360" y="6093296"/>
            <a:ext cx="1243543" cy="432000"/>
          </a:xfrm>
          <a:blipFill>
            <a:blip r:embed="rId2"/>
            <a:stretch>
              <a:fillRect/>
            </a:stretch>
          </a:blipFill>
        </p:spPr>
        <p:txBody>
          <a:bodyPr/>
          <a:lstStyle>
            <a:lvl1pPr>
              <a:defRPr sz="100">
                <a:noFill/>
              </a:defRPr>
            </a:lvl1pPr>
          </a:lstStyle>
          <a:p>
            <a:pPr lvl="0"/>
            <a:r>
              <a:rPr lang="en-US"/>
              <a:t>Click to edit Master text styles</a:t>
            </a:r>
          </a:p>
        </p:txBody>
      </p:sp>
      <p:sp>
        <p:nvSpPr>
          <p:cNvPr id="3" name="Text Placeholder 9">
            <a:extLst>
              <a:ext uri="{FF2B5EF4-FFF2-40B4-BE49-F238E27FC236}">
                <a16:creationId xmlns:a16="http://schemas.microsoft.com/office/drawing/2014/main" id="{C4A18DA0-6C13-0CCF-C4DD-CB1942B78AC4}"/>
              </a:ext>
            </a:extLst>
          </p:cNvPr>
          <p:cNvSpPr>
            <a:spLocks noGrp="1"/>
          </p:cNvSpPr>
          <p:nvPr>
            <p:ph type="body" sz="quarter" idx="13"/>
          </p:nvPr>
        </p:nvSpPr>
        <p:spPr>
          <a:xfrm>
            <a:off x="263352" y="2668905"/>
            <a:ext cx="5168474" cy="1520189"/>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a:noFill/>
              </a:defRPr>
            </a:lvl1pPr>
          </a:lstStyle>
          <a:p>
            <a:pPr lvl="0"/>
            <a:r>
              <a:rPr lang="en-US"/>
              <a:t>Click to edit Master text styles</a:t>
            </a:r>
          </a:p>
        </p:txBody>
      </p:sp>
    </p:spTree>
    <p:extLst>
      <p:ext uri="{BB962C8B-B14F-4D97-AF65-F5344CB8AC3E}">
        <p14:creationId xmlns:p14="http://schemas.microsoft.com/office/powerpoint/2010/main" val="2380107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tle, subtitle + bullets">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52098A16-324F-D449-B1C1-452467D6B053}"/>
              </a:ext>
            </a:extLst>
          </p:cNvPr>
          <p:cNvSpPr>
            <a:spLocks noGrp="1"/>
          </p:cNvSpPr>
          <p:nvPr>
            <p:ph type="body" sz="quarter" idx="12"/>
          </p:nvPr>
        </p:nvSpPr>
        <p:spPr>
          <a:xfrm>
            <a:off x="404007" y="1694865"/>
            <a:ext cx="10739682" cy="4068613"/>
          </a:xfrm>
          <a:prstGeom prst="rect">
            <a:avLst/>
          </a:prstGeom>
        </p:spPr>
        <p:txBody>
          <a:bodyPr/>
          <a:lstStyle>
            <a:lvl1pPr marL="114300" indent="-114300">
              <a:lnSpc>
                <a:spcPct val="100000"/>
              </a:lnSpc>
              <a:buClr>
                <a:srgbClr val="44546A"/>
              </a:buClr>
              <a:buFont typeface="Arial" panose="020B0604020202020204" pitchFamily="34" charset="0"/>
              <a:buChar char="•"/>
              <a:defRPr sz="2000" b="0" i="0">
                <a:solidFill>
                  <a:srgbClr val="44546A"/>
                </a:solidFill>
                <a:latin typeface="Calibri" panose="020F0502020204030204" pitchFamily="34" charset="0"/>
                <a:cs typeface="Calibri" panose="020F0502020204030204" pitchFamily="34" charset="0"/>
              </a:defRPr>
            </a:lvl1pPr>
            <a:lvl2pPr marL="342900" indent="-114300">
              <a:lnSpc>
                <a:spcPct val="100000"/>
              </a:lnSpc>
              <a:buClr>
                <a:srgbClr val="44546A"/>
              </a:buClr>
              <a:buFont typeface="Arial" panose="020B0604020202020204" pitchFamily="34" charset="0"/>
              <a:buChar char="•"/>
              <a:defRPr sz="2000" b="0" i="0">
                <a:solidFill>
                  <a:srgbClr val="44546A"/>
                </a:solidFill>
                <a:latin typeface="Calibri" panose="020F0502020204030204" pitchFamily="34" charset="0"/>
                <a:cs typeface="Calibri" panose="020F0502020204030204" pitchFamily="34" charset="0"/>
              </a:defRPr>
            </a:lvl2pPr>
            <a:lvl3pPr marL="571500" indent="-114300">
              <a:lnSpc>
                <a:spcPct val="100000"/>
              </a:lnSpc>
              <a:buClr>
                <a:srgbClr val="44546A"/>
              </a:buClr>
              <a:buFont typeface="Arial" panose="020B0604020202020204" pitchFamily="34" charset="0"/>
              <a:buChar char="•"/>
              <a:defRPr sz="2000" b="0" i="0">
                <a:solidFill>
                  <a:srgbClr val="44546A"/>
                </a:solidFill>
                <a:latin typeface="Calibri" panose="020F0502020204030204" pitchFamily="34" charset="0"/>
                <a:cs typeface="Calibri" panose="020F0502020204030204" pitchFamily="34" charset="0"/>
              </a:defRPr>
            </a:lvl3pPr>
            <a:lvl4pPr marL="800100" indent="-114300">
              <a:lnSpc>
                <a:spcPct val="100000"/>
              </a:lnSpc>
              <a:buClr>
                <a:srgbClr val="44546A"/>
              </a:buClr>
              <a:buFont typeface="Arial" panose="020B0604020202020204" pitchFamily="34" charset="0"/>
              <a:buChar char="•"/>
              <a:defRPr sz="2000" b="0" i="0">
                <a:solidFill>
                  <a:srgbClr val="44546A"/>
                </a:solidFill>
                <a:latin typeface="Calibri" panose="020F0502020204030204" pitchFamily="34" charset="0"/>
                <a:cs typeface="Calibri" panose="020F0502020204030204" pitchFamily="34" charset="0"/>
              </a:defRPr>
            </a:lvl4pPr>
            <a:lvl5pPr marL="1028700" indent="-114300">
              <a:buClr>
                <a:srgbClr val="44546A"/>
              </a:buClr>
              <a:buFont typeface="Arial" panose="020B0604020202020204" pitchFamily="34" charset="0"/>
              <a:buChar char="•"/>
              <a:defRPr sz="2400" b="0" i="0">
                <a:solidFill>
                  <a:srgbClr val="44546A"/>
                </a:solidFill>
                <a:latin typeface="Cabin"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Text Placeholder 2">
            <a:extLst>
              <a:ext uri="{FF2B5EF4-FFF2-40B4-BE49-F238E27FC236}">
                <a16:creationId xmlns:a16="http://schemas.microsoft.com/office/drawing/2014/main" id="{E7F2F233-1D6B-F049-AB73-21A2EBA22387}"/>
              </a:ext>
            </a:extLst>
          </p:cNvPr>
          <p:cNvSpPr>
            <a:spLocks noGrp="1"/>
          </p:cNvSpPr>
          <p:nvPr>
            <p:ph type="body" sz="quarter" idx="14" hasCustomPrompt="1"/>
          </p:nvPr>
        </p:nvSpPr>
        <p:spPr>
          <a:xfrm>
            <a:off x="404007" y="1068597"/>
            <a:ext cx="10739681" cy="626269"/>
          </a:xfrm>
          <a:prstGeom prst="rect">
            <a:avLst/>
          </a:prstGeom>
        </p:spPr>
        <p:txBody>
          <a:bodyPr/>
          <a:lstStyle>
            <a:lvl1pPr marL="0" indent="0">
              <a:buNone/>
              <a:defRPr sz="3200">
                <a:solidFill>
                  <a:srgbClr val="44546A"/>
                </a:solidFill>
              </a:defRPr>
            </a:lvl1pPr>
            <a:lvl4pPr marL="685800" indent="0">
              <a:buNone/>
              <a:defRPr/>
            </a:lvl4pPr>
          </a:lstStyle>
          <a:p>
            <a:pPr lvl="0"/>
            <a:r>
              <a:rPr lang="en-GB"/>
              <a:t>Subhead goes here</a:t>
            </a:r>
            <a:endParaRPr lang="en-FI"/>
          </a:p>
        </p:txBody>
      </p:sp>
      <p:sp>
        <p:nvSpPr>
          <p:cNvPr id="5" name="Title 1">
            <a:extLst>
              <a:ext uri="{FF2B5EF4-FFF2-40B4-BE49-F238E27FC236}">
                <a16:creationId xmlns:a16="http://schemas.microsoft.com/office/drawing/2014/main" id="{74C5A109-A0D4-B44F-A195-50DFCA9D2AFA}"/>
              </a:ext>
            </a:extLst>
          </p:cNvPr>
          <p:cNvSpPr>
            <a:spLocks noGrp="1"/>
          </p:cNvSpPr>
          <p:nvPr>
            <p:ph type="title"/>
          </p:nvPr>
        </p:nvSpPr>
        <p:spPr>
          <a:xfrm>
            <a:off x="404005" y="307312"/>
            <a:ext cx="10739681" cy="761286"/>
          </a:xfrm>
          <a:prstGeom prst="rect">
            <a:avLst/>
          </a:prstGeom>
        </p:spPr>
        <p:txBody>
          <a:bodyPr/>
          <a:lstStyle>
            <a:lvl1pPr>
              <a:defRPr sz="4800" b="1" i="0">
                <a:solidFill>
                  <a:schemeClr val="tx2"/>
                </a:solidFill>
                <a:latin typeface="Calibri" panose="020F0502020204030204" pitchFamily="34" charset="0"/>
                <a:cs typeface="Calibri" panose="020F0502020204030204" pitchFamily="34" charset="0"/>
              </a:defRPr>
            </a:lvl1pPr>
          </a:lstStyle>
          <a:p>
            <a:endParaRPr lang="en-FI"/>
          </a:p>
        </p:txBody>
      </p:sp>
    </p:spTree>
    <p:extLst>
      <p:ext uri="{BB962C8B-B14F-4D97-AF65-F5344CB8AC3E}">
        <p14:creationId xmlns:p14="http://schemas.microsoft.com/office/powerpoint/2010/main" val="33412692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ig Picture right (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9DF8278-C283-419D-9A67-A9BEBDDCB8AD}"/>
              </a:ext>
            </a:extLst>
          </p:cNvPr>
          <p:cNvSpPr>
            <a:spLocks noGrp="1"/>
          </p:cNvSpPr>
          <p:nvPr>
            <p:ph type="pic" sz="quarter" idx="17"/>
          </p:nvPr>
        </p:nvSpPr>
        <p:spPr>
          <a:xfrm>
            <a:off x="6096000" y="0"/>
            <a:ext cx="6096000" cy="6858000"/>
          </a:xfrm>
          <a:prstGeom prst="rect">
            <a:avLst/>
          </a:prstGeom>
        </p:spPr>
        <p:txBody>
          <a:bodyPr/>
          <a:lstStyle/>
          <a:p>
            <a:endParaRPr lang="en-FI"/>
          </a:p>
        </p:txBody>
      </p:sp>
      <p:sp>
        <p:nvSpPr>
          <p:cNvPr id="7" name="Slide Number Placeholder 6">
            <a:extLst>
              <a:ext uri="{FF2B5EF4-FFF2-40B4-BE49-F238E27FC236}">
                <a16:creationId xmlns:a16="http://schemas.microsoft.com/office/drawing/2014/main" id="{9849E869-CB09-B943-9C5F-24DED59FEDD8}"/>
              </a:ext>
            </a:extLst>
          </p:cNvPr>
          <p:cNvSpPr>
            <a:spLocks noGrp="1"/>
          </p:cNvSpPr>
          <p:nvPr>
            <p:ph type="sldNum" sz="quarter" idx="12"/>
          </p:nvPr>
        </p:nvSpPr>
        <p:spPr>
          <a:xfrm>
            <a:off x="8610322" y="6356350"/>
            <a:ext cx="2743836" cy="365125"/>
          </a:xfrm>
          <a:prstGeom prst="rect">
            <a:avLst/>
          </a:prstGeom>
        </p:spPr>
        <p:txBody>
          <a:bodyPr/>
          <a:lstStyle/>
          <a:p>
            <a:fld id="{31D46FE9-59C4-E840-8771-1A760DA03844}" type="slidenum">
              <a:rPr lang="en-FI" smtClean="0"/>
              <a:t>‹#›</a:t>
            </a:fld>
            <a:endParaRPr lang="en-FI"/>
          </a:p>
        </p:txBody>
      </p:sp>
      <p:sp>
        <p:nvSpPr>
          <p:cNvPr id="9" name="Text Placeholder 14">
            <a:extLst>
              <a:ext uri="{FF2B5EF4-FFF2-40B4-BE49-F238E27FC236}">
                <a16:creationId xmlns:a16="http://schemas.microsoft.com/office/drawing/2014/main" id="{4C005275-08DB-4F40-BAAB-5412757D1F9D}"/>
              </a:ext>
            </a:extLst>
          </p:cNvPr>
          <p:cNvSpPr>
            <a:spLocks noGrp="1"/>
          </p:cNvSpPr>
          <p:nvPr>
            <p:ph type="body" sz="quarter" idx="16"/>
          </p:nvPr>
        </p:nvSpPr>
        <p:spPr>
          <a:xfrm>
            <a:off x="403429" y="1129541"/>
            <a:ext cx="4802928" cy="4201150"/>
          </a:xfrm>
          <a:prstGeom prst="rect">
            <a:avLst/>
          </a:prstGeom>
        </p:spPr>
        <p:txBody>
          <a:bodyPr/>
          <a:lstStyle>
            <a:lvl1pPr marL="1143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1pPr>
            <a:lvl2pPr marL="3429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2pPr>
            <a:lvl3pPr marL="5715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3pPr>
            <a:lvl4pPr marL="8001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4pPr>
            <a:lvl5pPr marL="1028700" indent="-114300">
              <a:buClr>
                <a:srgbClr val="44546A"/>
              </a:buClr>
              <a:buFont typeface="Arial" panose="020B0604020202020204" pitchFamily="34" charset="0"/>
              <a:buChar char="•"/>
              <a:defRPr sz="2400" b="0" i="0">
                <a:solidFill>
                  <a:srgbClr val="44546A"/>
                </a:solidFill>
                <a:latin typeface="Cabin"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itle 1">
            <a:extLst>
              <a:ext uri="{FF2B5EF4-FFF2-40B4-BE49-F238E27FC236}">
                <a16:creationId xmlns:a16="http://schemas.microsoft.com/office/drawing/2014/main" id="{305F3D2A-A770-0E49-8E01-BF0994444E4D}"/>
              </a:ext>
            </a:extLst>
          </p:cNvPr>
          <p:cNvSpPr>
            <a:spLocks noGrp="1"/>
          </p:cNvSpPr>
          <p:nvPr>
            <p:ph type="title"/>
          </p:nvPr>
        </p:nvSpPr>
        <p:spPr>
          <a:xfrm>
            <a:off x="403429" y="313590"/>
            <a:ext cx="4802928" cy="761286"/>
          </a:xfrm>
          <a:prstGeom prst="rect">
            <a:avLst/>
          </a:prstGeom>
        </p:spPr>
        <p:txBody>
          <a:bodyPr/>
          <a:lstStyle>
            <a:lvl1pPr>
              <a:defRPr sz="4800" b="1" i="0">
                <a:solidFill>
                  <a:schemeClr val="tx2"/>
                </a:solidFill>
                <a:latin typeface="Calibri" panose="020F0502020204030204" pitchFamily="34" charset="0"/>
                <a:cs typeface="Calibri" panose="020F0502020204030204" pitchFamily="34" charset="0"/>
              </a:defRPr>
            </a:lvl1pPr>
          </a:lstStyle>
          <a:p>
            <a:endParaRPr lang="en-FI"/>
          </a:p>
        </p:txBody>
      </p:sp>
    </p:spTree>
    <p:extLst>
      <p:ext uri="{BB962C8B-B14F-4D97-AF65-F5344CB8AC3E}">
        <p14:creationId xmlns:p14="http://schemas.microsoft.com/office/powerpoint/2010/main" val="6957839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white">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766764" y="5949950"/>
            <a:ext cx="10658474" cy="215354"/>
          </a:xfrm>
        </p:spPr>
        <p:txBody>
          <a:bodyPr vert="horz" lIns="0" tIns="0" rIns="0" bIns="0" rtlCol="0" anchor="b" anchorCtr="0">
            <a:noAutofit/>
          </a:bodyPr>
          <a:lstStyle>
            <a:lvl1pPr marL="0" indent="0">
              <a:lnSpc>
                <a:spcPct val="95000"/>
              </a:lnSpc>
              <a:spcBef>
                <a:spcPts val="0"/>
              </a:spcBef>
              <a:buFontTx/>
              <a:buNone/>
              <a:defRPr lang="fi-FI" sz="1600" spc="40" baseline="0" dirty="0">
                <a:solidFill>
                  <a:schemeClr val="tx1"/>
                </a:solidFill>
              </a:defRPr>
            </a:lvl1pPr>
          </a:lstStyle>
          <a:p>
            <a:pPr marL="0" marR="0" lvl="0" indent="0" algn="l" defTabSz="1219170" rtl="0" eaLnBrk="1" fontAlgn="auto" latinLnBrk="0" hangingPunct="1">
              <a:lnSpc>
                <a:spcPct val="95000"/>
              </a:lnSpc>
              <a:spcBef>
                <a:spcPts val="0"/>
              </a:spcBef>
              <a:spcAft>
                <a:spcPts val="0"/>
              </a:spcAft>
              <a:buClr>
                <a:schemeClr val="tx1"/>
              </a:buClr>
              <a:buSzTx/>
              <a:buFontTx/>
              <a:buNone/>
              <a:tabLst/>
              <a:defRPr/>
            </a:pPr>
            <a:r>
              <a:rPr lang="en-US" dirty="0"/>
              <a:t>Date / Author</a:t>
            </a:r>
            <a:endParaRPr lang="fi-FI" dirty="0"/>
          </a:p>
        </p:txBody>
      </p:sp>
      <p:sp>
        <p:nvSpPr>
          <p:cNvPr id="2" name="Title 1"/>
          <p:cNvSpPr>
            <a:spLocks noGrp="1"/>
          </p:cNvSpPr>
          <p:nvPr>
            <p:ph type="ctrTitle"/>
          </p:nvPr>
        </p:nvSpPr>
        <p:spPr>
          <a:xfrm>
            <a:off x="766764" y="1773238"/>
            <a:ext cx="10658474" cy="1943794"/>
          </a:xfrm>
        </p:spPr>
        <p:txBody>
          <a:bodyPr anchor="b" anchorCtr="0"/>
          <a:lstStyle>
            <a:lvl1pPr>
              <a:lnSpc>
                <a:spcPct val="95000"/>
              </a:lnSpc>
              <a:defRPr sz="4400" b="0" spc="0" baseline="0">
                <a:solidFill>
                  <a:schemeClr val="tx1"/>
                </a:solidFill>
              </a:defRPr>
            </a:lvl1pPr>
          </a:lstStyle>
          <a:p>
            <a:r>
              <a:rPr lang="en-US"/>
              <a:t>Click to edit Master title style</a:t>
            </a:r>
            <a:endParaRPr lang="fi-FI" dirty="0"/>
          </a:p>
        </p:txBody>
      </p:sp>
      <p:sp>
        <p:nvSpPr>
          <p:cNvPr id="3" name="Subtitle 2"/>
          <p:cNvSpPr>
            <a:spLocks noGrp="1"/>
          </p:cNvSpPr>
          <p:nvPr>
            <p:ph type="subTitle" idx="1"/>
          </p:nvPr>
        </p:nvSpPr>
        <p:spPr>
          <a:xfrm>
            <a:off x="766763" y="3933055"/>
            <a:ext cx="10658475" cy="936105"/>
          </a:xfrm>
        </p:spPr>
        <p:txBody>
          <a:bodyPr/>
          <a:lstStyle>
            <a:lvl1pPr marL="0" indent="0" algn="l">
              <a:lnSpc>
                <a:spcPct val="95000"/>
              </a:lnSpc>
              <a:spcBef>
                <a:spcPts val="0"/>
              </a:spcBef>
              <a:buNone/>
              <a:defRPr b="0" spc="-40" baseline="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fi-FI" dirty="0"/>
          </a:p>
        </p:txBody>
      </p:sp>
      <p:sp>
        <p:nvSpPr>
          <p:cNvPr id="9" name="Date Placeholder 8"/>
          <p:cNvSpPr>
            <a:spLocks noGrp="1"/>
          </p:cNvSpPr>
          <p:nvPr>
            <p:ph type="dt" sz="half" idx="14"/>
          </p:nvPr>
        </p:nvSpPr>
        <p:spPr/>
        <p:txBody>
          <a:bodyPr/>
          <a:lstStyle>
            <a:lvl1pPr>
              <a:defRPr>
                <a:noFill/>
              </a:defRPr>
            </a:lvl1pPr>
          </a:lstStyle>
          <a:p>
            <a:fld id="{A06CA5E9-B2BF-4462-83F1-3DD4D6BFB3CF}" type="datetime1">
              <a:rPr lang="en-GB" smtClean="0"/>
              <a:t>22/10/2025</a:t>
            </a:fld>
            <a:endParaRPr lang="fi-FI" dirty="0"/>
          </a:p>
        </p:txBody>
      </p:sp>
      <p:sp>
        <p:nvSpPr>
          <p:cNvPr id="10" name="Footer Placeholder 9"/>
          <p:cNvSpPr>
            <a:spLocks noGrp="1"/>
          </p:cNvSpPr>
          <p:nvPr>
            <p:ph type="ftr" sz="quarter" idx="15"/>
          </p:nvPr>
        </p:nvSpPr>
        <p:spPr/>
        <p:txBody>
          <a:bodyPr/>
          <a:lstStyle>
            <a:lvl1pPr>
              <a:defRPr>
                <a:noFill/>
              </a:defRPr>
            </a:lvl1pPr>
          </a:lstStyle>
          <a:p>
            <a:r>
              <a:rPr lang="fi-FI"/>
              <a:t>Presentation name / Author</a:t>
            </a:r>
            <a:endParaRPr lang="fi-FI" dirty="0"/>
          </a:p>
        </p:txBody>
      </p:sp>
      <p:sp>
        <p:nvSpPr>
          <p:cNvPr id="11" name="Slide Number Placeholder 10"/>
          <p:cNvSpPr>
            <a:spLocks noGrp="1"/>
          </p:cNvSpPr>
          <p:nvPr>
            <p:ph type="sldNum" sz="quarter" idx="16"/>
          </p:nvPr>
        </p:nvSpPr>
        <p:spPr/>
        <p:txBody>
          <a:bodyPr/>
          <a:lstStyle>
            <a:lvl1pPr>
              <a:defRPr>
                <a:noFill/>
              </a:defRPr>
            </a:lvl1pPr>
          </a:lstStyle>
          <a:p>
            <a:fld id="{49A25110-65A2-4B67-BF3F-8D6D3162EF46}" type="slidenum">
              <a:rPr lang="fi-FI" smtClean="0"/>
              <a:pPr/>
              <a:t>‹#›</a:t>
            </a:fld>
            <a:endParaRPr lang="fi-FI" dirty="0"/>
          </a:p>
        </p:txBody>
      </p:sp>
      <p:grpSp>
        <p:nvGrpSpPr>
          <p:cNvPr id="15" name="Group 14"/>
          <p:cNvGrpSpPr>
            <a:grpSpLocks noChangeAspect="1"/>
          </p:cNvGrpSpPr>
          <p:nvPr/>
        </p:nvGrpSpPr>
        <p:grpSpPr>
          <a:xfrm>
            <a:off x="457407" y="404776"/>
            <a:ext cx="2902289" cy="1008000"/>
            <a:chOff x="3279775" y="2451101"/>
            <a:chExt cx="5640388" cy="1958974"/>
          </a:xfrm>
          <a:solidFill>
            <a:schemeClr val="accent1"/>
          </a:solidFill>
        </p:grpSpPr>
        <p:sp>
          <p:nvSpPr>
            <p:cNvPr id="16" name="Freeform 6"/>
            <p:cNvSpPr>
              <a:spLocks/>
            </p:cNvSpPr>
            <p:nvPr/>
          </p:nvSpPr>
          <p:spPr bwMode="auto">
            <a:xfrm>
              <a:off x="3279775" y="2451101"/>
              <a:ext cx="1838325" cy="1944687"/>
            </a:xfrm>
            <a:custGeom>
              <a:avLst/>
              <a:gdLst>
                <a:gd name="T0" fmla="*/ 978 w 1158"/>
                <a:gd name="T1" fmla="*/ 608 h 1225"/>
                <a:gd name="T2" fmla="*/ 974 w 1158"/>
                <a:gd name="T3" fmla="*/ 610 h 1225"/>
                <a:gd name="T4" fmla="*/ 968 w 1158"/>
                <a:gd name="T5" fmla="*/ 608 h 1225"/>
                <a:gd name="T6" fmla="*/ 966 w 1158"/>
                <a:gd name="T7" fmla="*/ 134 h 1225"/>
                <a:gd name="T8" fmla="*/ 963 w 1158"/>
                <a:gd name="T9" fmla="*/ 128 h 1225"/>
                <a:gd name="T10" fmla="*/ 956 w 1158"/>
                <a:gd name="T11" fmla="*/ 128 h 1225"/>
                <a:gd name="T12" fmla="*/ 953 w 1158"/>
                <a:gd name="T13" fmla="*/ 132 h 1225"/>
                <a:gd name="T14" fmla="*/ 784 w 1158"/>
                <a:gd name="T15" fmla="*/ 603 h 1225"/>
                <a:gd name="T16" fmla="*/ 779 w 1158"/>
                <a:gd name="T17" fmla="*/ 607 h 1225"/>
                <a:gd name="T18" fmla="*/ 773 w 1158"/>
                <a:gd name="T19" fmla="*/ 605 h 1225"/>
                <a:gd name="T20" fmla="*/ 771 w 1158"/>
                <a:gd name="T21" fmla="*/ 466 h 1225"/>
                <a:gd name="T22" fmla="*/ 769 w 1158"/>
                <a:gd name="T23" fmla="*/ 461 h 1225"/>
                <a:gd name="T24" fmla="*/ 764 w 1158"/>
                <a:gd name="T25" fmla="*/ 459 h 1225"/>
                <a:gd name="T26" fmla="*/ 584 w 1158"/>
                <a:gd name="T27" fmla="*/ 614 h 1225"/>
                <a:gd name="T28" fmla="*/ 579 w 1158"/>
                <a:gd name="T29" fmla="*/ 616 h 1225"/>
                <a:gd name="T30" fmla="*/ 396 w 1158"/>
                <a:gd name="T31" fmla="*/ 461 h 1225"/>
                <a:gd name="T32" fmla="*/ 390 w 1158"/>
                <a:gd name="T33" fmla="*/ 460 h 1225"/>
                <a:gd name="T34" fmla="*/ 386 w 1158"/>
                <a:gd name="T35" fmla="*/ 464 h 1225"/>
                <a:gd name="T36" fmla="*/ 386 w 1158"/>
                <a:gd name="T37" fmla="*/ 603 h 1225"/>
                <a:gd name="T38" fmla="*/ 381 w 1158"/>
                <a:gd name="T39" fmla="*/ 607 h 1225"/>
                <a:gd name="T40" fmla="*/ 375 w 1158"/>
                <a:gd name="T41" fmla="*/ 605 h 1225"/>
                <a:gd name="T42" fmla="*/ 292 w 1158"/>
                <a:gd name="T43" fmla="*/ 378 h 1225"/>
                <a:gd name="T44" fmla="*/ 203 w 1158"/>
                <a:gd name="T45" fmla="*/ 130 h 1225"/>
                <a:gd name="T46" fmla="*/ 197 w 1158"/>
                <a:gd name="T47" fmla="*/ 128 h 1225"/>
                <a:gd name="T48" fmla="*/ 192 w 1158"/>
                <a:gd name="T49" fmla="*/ 132 h 1225"/>
                <a:gd name="T50" fmla="*/ 191 w 1158"/>
                <a:gd name="T51" fmla="*/ 606 h 1225"/>
                <a:gd name="T52" fmla="*/ 186 w 1158"/>
                <a:gd name="T53" fmla="*/ 610 h 1225"/>
                <a:gd name="T54" fmla="*/ 181 w 1158"/>
                <a:gd name="T55" fmla="*/ 609 h 1225"/>
                <a:gd name="T56" fmla="*/ 13 w 1158"/>
                <a:gd name="T57" fmla="*/ 5 h 1225"/>
                <a:gd name="T58" fmla="*/ 10 w 1158"/>
                <a:gd name="T59" fmla="*/ 1 h 1225"/>
                <a:gd name="T60" fmla="*/ 4 w 1158"/>
                <a:gd name="T61" fmla="*/ 1 h 1225"/>
                <a:gd name="T62" fmla="*/ 0 w 1158"/>
                <a:gd name="T63" fmla="*/ 7 h 1225"/>
                <a:gd name="T64" fmla="*/ 1 w 1158"/>
                <a:gd name="T65" fmla="*/ 552 h 1225"/>
                <a:gd name="T66" fmla="*/ 147 w 1158"/>
                <a:gd name="T67" fmla="*/ 644 h 1225"/>
                <a:gd name="T68" fmla="*/ 389 w 1158"/>
                <a:gd name="T69" fmla="*/ 646 h 1225"/>
                <a:gd name="T70" fmla="*/ 397 w 1158"/>
                <a:gd name="T71" fmla="*/ 649 h 1225"/>
                <a:gd name="T72" fmla="*/ 500 w 1158"/>
                <a:gd name="T73" fmla="*/ 909 h 1225"/>
                <a:gd name="T74" fmla="*/ 501 w 1158"/>
                <a:gd name="T75" fmla="*/ 917 h 1225"/>
                <a:gd name="T76" fmla="*/ 447 w 1158"/>
                <a:gd name="T77" fmla="*/ 1030 h 1225"/>
                <a:gd name="T78" fmla="*/ 519 w 1158"/>
                <a:gd name="T79" fmla="*/ 1218 h 1225"/>
                <a:gd name="T80" fmla="*/ 526 w 1158"/>
                <a:gd name="T81" fmla="*/ 1224 h 1225"/>
                <a:gd name="T82" fmla="*/ 629 w 1158"/>
                <a:gd name="T83" fmla="*/ 1225 h 1225"/>
                <a:gd name="T84" fmla="*/ 637 w 1158"/>
                <a:gd name="T85" fmla="*/ 1221 h 1225"/>
                <a:gd name="T86" fmla="*/ 710 w 1158"/>
                <a:gd name="T87" fmla="*/ 1036 h 1225"/>
                <a:gd name="T88" fmla="*/ 710 w 1158"/>
                <a:gd name="T89" fmla="*/ 1030 h 1225"/>
                <a:gd name="T90" fmla="*/ 657 w 1158"/>
                <a:gd name="T91" fmla="*/ 917 h 1225"/>
                <a:gd name="T92" fmla="*/ 758 w 1158"/>
                <a:gd name="T93" fmla="*/ 652 h 1225"/>
                <a:gd name="T94" fmla="*/ 765 w 1158"/>
                <a:gd name="T95" fmla="*/ 646 h 1225"/>
                <a:gd name="T96" fmla="*/ 1009 w 1158"/>
                <a:gd name="T97" fmla="*/ 645 h 1225"/>
                <a:gd name="T98" fmla="*/ 1155 w 1158"/>
                <a:gd name="T99" fmla="*/ 554 h 1225"/>
                <a:gd name="T100" fmla="*/ 1158 w 1158"/>
                <a:gd name="T101" fmla="*/ 549 h 1225"/>
                <a:gd name="T102" fmla="*/ 1158 w 1158"/>
                <a:gd name="T103" fmla="*/ 4 h 1225"/>
                <a:gd name="T104" fmla="*/ 1152 w 1158"/>
                <a:gd name="T105" fmla="*/ 0 h 1225"/>
                <a:gd name="T106" fmla="*/ 1146 w 1158"/>
                <a:gd name="T107" fmla="*/ 3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8" h="1225">
                  <a:moveTo>
                    <a:pt x="1145" y="5"/>
                  </a:moveTo>
                  <a:lnTo>
                    <a:pt x="979" y="605"/>
                  </a:lnTo>
                  <a:lnTo>
                    <a:pt x="978" y="608"/>
                  </a:lnTo>
                  <a:lnTo>
                    <a:pt x="977" y="608"/>
                  </a:lnTo>
                  <a:lnTo>
                    <a:pt x="976" y="609"/>
                  </a:lnTo>
                  <a:lnTo>
                    <a:pt x="974" y="610"/>
                  </a:lnTo>
                  <a:lnTo>
                    <a:pt x="972" y="610"/>
                  </a:lnTo>
                  <a:lnTo>
                    <a:pt x="970" y="609"/>
                  </a:lnTo>
                  <a:lnTo>
                    <a:pt x="968" y="608"/>
                  </a:lnTo>
                  <a:lnTo>
                    <a:pt x="967" y="606"/>
                  </a:lnTo>
                  <a:lnTo>
                    <a:pt x="966" y="603"/>
                  </a:lnTo>
                  <a:lnTo>
                    <a:pt x="966" y="134"/>
                  </a:lnTo>
                  <a:lnTo>
                    <a:pt x="966" y="132"/>
                  </a:lnTo>
                  <a:lnTo>
                    <a:pt x="964" y="130"/>
                  </a:lnTo>
                  <a:lnTo>
                    <a:pt x="963" y="128"/>
                  </a:lnTo>
                  <a:lnTo>
                    <a:pt x="961" y="128"/>
                  </a:lnTo>
                  <a:lnTo>
                    <a:pt x="958" y="128"/>
                  </a:lnTo>
                  <a:lnTo>
                    <a:pt x="956" y="128"/>
                  </a:lnTo>
                  <a:lnTo>
                    <a:pt x="955" y="129"/>
                  </a:lnTo>
                  <a:lnTo>
                    <a:pt x="955" y="130"/>
                  </a:lnTo>
                  <a:lnTo>
                    <a:pt x="953" y="132"/>
                  </a:lnTo>
                  <a:lnTo>
                    <a:pt x="916" y="240"/>
                  </a:lnTo>
                  <a:lnTo>
                    <a:pt x="865" y="378"/>
                  </a:lnTo>
                  <a:lnTo>
                    <a:pt x="784" y="603"/>
                  </a:lnTo>
                  <a:lnTo>
                    <a:pt x="782" y="605"/>
                  </a:lnTo>
                  <a:lnTo>
                    <a:pt x="781" y="606"/>
                  </a:lnTo>
                  <a:lnTo>
                    <a:pt x="779" y="607"/>
                  </a:lnTo>
                  <a:lnTo>
                    <a:pt x="776" y="607"/>
                  </a:lnTo>
                  <a:lnTo>
                    <a:pt x="774" y="606"/>
                  </a:lnTo>
                  <a:lnTo>
                    <a:pt x="773" y="605"/>
                  </a:lnTo>
                  <a:lnTo>
                    <a:pt x="772" y="603"/>
                  </a:lnTo>
                  <a:lnTo>
                    <a:pt x="771" y="600"/>
                  </a:lnTo>
                  <a:lnTo>
                    <a:pt x="771" y="466"/>
                  </a:lnTo>
                  <a:lnTo>
                    <a:pt x="771" y="464"/>
                  </a:lnTo>
                  <a:lnTo>
                    <a:pt x="770" y="462"/>
                  </a:lnTo>
                  <a:lnTo>
                    <a:pt x="769" y="461"/>
                  </a:lnTo>
                  <a:lnTo>
                    <a:pt x="767" y="460"/>
                  </a:lnTo>
                  <a:lnTo>
                    <a:pt x="766" y="459"/>
                  </a:lnTo>
                  <a:lnTo>
                    <a:pt x="764" y="459"/>
                  </a:lnTo>
                  <a:lnTo>
                    <a:pt x="762" y="460"/>
                  </a:lnTo>
                  <a:lnTo>
                    <a:pt x="761" y="461"/>
                  </a:lnTo>
                  <a:lnTo>
                    <a:pt x="584" y="614"/>
                  </a:lnTo>
                  <a:lnTo>
                    <a:pt x="583" y="615"/>
                  </a:lnTo>
                  <a:lnTo>
                    <a:pt x="581" y="615"/>
                  </a:lnTo>
                  <a:lnTo>
                    <a:pt x="579" y="616"/>
                  </a:lnTo>
                  <a:lnTo>
                    <a:pt x="576" y="615"/>
                  </a:lnTo>
                  <a:lnTo>
                    <a:pt x="573" y="614"/>
                  </a:lnTo>
                  <a:lnTo>
                    <a:pt x="396" y="461"/>
                  </a:lnTo>
                  <a:lnTo>
                    <a:pt x="393" y="459"/>
                  </a:lnTo>
                  <a:lnTo>
                    <a:pt x="391" y="460"/>
                  </a:lnTo>
                  <a:lnTo>
                    <a:pt x="390" y="460"/>
                  </a:lnTo>
                  <a:lnTo>
                    <a:pt x="388" y="461"/>
                  </a:lnTo>
                  <a:lnTo>
                    <a:pt x="387" y="462"/>
                  </a:lnTo>
                  <a:lnTo>
                    <a:pt x="386" y="464"/>
                  </a:lnTo>
                  <a:lnTo>
                    <a:pt x="386" y="466"/>
                  </a:lnTo>
                  <a:lnTo>
                    <a:pt x="386" y="601"/>
                  </a:lnTo>
                  <a:lnTo>
                    <a:pt x="386" y="603"/>
                  </a:lnTo>
                  <a:lnTo>
                    <a:pt x="384" y="605"/>
                  </a:lnTo>
                  <a:lnTo>
                    <a:pt x="383" y="606"/>
                  </a:lnTo>
                  <a:lnTo>
                    <a:pt x="381" y="607"/>
                  </a:lnTo>
                  <a:lnTo>
                    <a:pt x="379" y="607"/>
                  </a:lnTo>
                  <a:lnTo>
                    <a:pt x="377" y="606"/>
                  </a:lnTo>
                  <a:lnTo>
                    <a:pt x="375" y="605"/>
                  </a:lnTo>
                  <a:lnTo>
                    <a:pt x="374" y="603"/>
                  </a:lnTo>
                  <a:lnTo>
                    <a:pt x="340" y="511"/>
                  </a:lnTo>
                  <a:lnTo>
                    <a:pt x="292" y="378"/>
                  </a:lnTo>
                  <a:lnTo>
                    <a:pt x="242" y="240"/>
                  </a:lnTo>
                  <a:lnTo>
                    <a:pt x="205" y="132"/>
                  </a:lnTo>
                  <a:lnTo>
                    <a:pt x="203" y="130"/>
                  </a:lnTo>
                  <a:lnTo>
                    <a:pt x="202" y="128"/>
                  </a:lnTo>
                  <a:lnTo>
                    <a:pt x="200" y="128"/>
                  </a:lnTo>
                  <a:lnTo>
                    <a:pt x="197" y="128"/>
                  </a:lnTo>
                  <a:lnTo>
                    <a:pt x="195" y="128"/>
                  </a:lnTo>
                  <a:lnTo>
                    <a:pt x="194" y="130"/>
                  </a:lnTo>
                  <a:lnTo>
                    <a:pt x="192" y="132"/>
                  </a:lnTo>
                  <a:lnTo>
                    <a:pt x="192" y="134"/>
                  </a:lnTo>
                  <a:lnTo>
                    <a:pt x="192" y="604"/>
                  </a:lnTo>
                  <a:lnTo>
                    <a:pt x="191" y="606"/>
                  </a:lnTo>
                  <a:lnTo>
                    <a:pt x="190" y="608"/>
                  </a:lnTo>
                  <a:lnTo>
                    <a:pt x="188" y="609"/>
                  </a:lnTo>
                  <a:lnTo>
                    <a:pt x="186" y="610"/>
                  </a:lnTo>
                  <a:lnTo>
                    <a:pt x="184" y="610"/>
                  </a:lnTo>
                  <a:lnTo>
                    <a:pt x="182" y="609"/>
                  </a:lnTo>
                  <a:lnTo>
                    <a:pt x="181" y="609"/>
                  </a:lnTo>
                  <a:lnTo>
                    <a:pt x="180" y="608"/>
                  </a:lnTo>
                  <a:lnTo>
                    <a:pt x="179" y="605"/>
                  </a:lnTo>
                  <a:lnTo>
                    <a:pt x="13" y="5"/>
                  </a:lnTo>
                  <a:lnTo>
                    <a:pt x="12" y="3"/>
                  </a:lnTo>
                  <a:lnTo>
                    <a:pt x="11" y="2"/>
                  </a:lnTo>
                  <a:lnTo>
                    <a:pt x="10" y="1"/>
                  </a:lnTo>
                  <a:lnTo>
                    <a:pt x="8" y="1"/>
                  </a:lnTo>
                  <a:lnTo>
                    <a:pt x="6" y="0"/>
                  </a:lnTo>
                  <a:lnTo>
                    <a:pt x="4" y="1"/>
                  </a:lnTo>
                  <a:lnTo>
                    <a:pt x="2" y="3"/>
                  </a:lnTo>
                  <a:lnTo>
                    <a:pt x="1" y="4"/>
                  </a:lnTo>
                  <a:lnTo>
                    <a:pt x="0" y="7"/>
                  </a:lnTo>
                  <a:lnTo>
                    <a:pt x="0" y="546"/>
                  </a:lnTo>
                  <a:lnTo>
                    <a:pt x="0" y="549"/>
                  </a:lnTo>
                  <a:lnTo>
                    <a:pt x="1" y="552"/>
                  </a:lnTo>
                  <a:lnTo>
                    <a:pt x="3" y="554"/>
                  </a:lnTo>
                  <a:lnTo>
                    <a:pt x="5" y="555"/>
                  </a:lnTo>
                  <a:lnTo>
                    <a:pt x="147" y="644"/>
                  </a:lnTo>
                  <a:lnTo>
                    <a:pt x="150" y="645"/>
                  </a:lnTo>
                  <a:lnTo>
                    <a:pt x="153" y="646"/>
                  </a:lnTo>
                  <a:lnTo>
                    <a:pt x="389" y="646"/>
                  </a:lnTo>
                  <a:lnTo>
                    <a:pt x="392" y="646"/>
                  </a:lnTo>
                  <a:lnTo>
                    <a:pt x="395" y="647"/>
                  </a:lnTo>
                  <a:lnTo>
                    <a:pt x="397" y="649"/>
                  </a:lnTo>
                  <a:lnTo>
                    <a:pt x="398" y="651"/>
                  </a:lnTo>
                  <a:lnTo>
                    <a:pt x="399" y="652"/>
                  </a:lnTo>
                  <a:lnTo>
                    <a:pt x="500" y="909"/>
                  </a:lnTo>
                  <a:lnTo>
                    <a:pt x="501" y="912"/>
                  </a:lnTo>
                  <a:lnTo>
                    <a:pt x="501" y="914"/>
                  </a:lnTo>
                  <a:lnTo>
                    <a:pt x="501" y="917"/>
                  </a:lnTo>
                  <a:lnTo>
                    <a:pt x="500" y="920"/>
                  </a:lnTo>
                  <a:lnTo>
                    <a:pt x="448" y="1028"/>
                  </a:lnTo>
                  <a:lnTo>
                    <a:pt x="447" y="1030"/>
                  </a:lnTo>
                  <a:lnTo>
                    <a:pt x="447" y="1032"/>
                  </a:lnTo>
                  <a:lnTo>
                    <a:pt x="447" y="1036"/>
                  </a:lnTo>
                  <a:lnTo>
                    <a:pt x="519" y="1218"/>
                  </a:lnTo>
                  <a:lnTo>
                    <a:pt x="520" y="1221"/>
                  </a:lnTo>
                  <a:lnTo>
                    <a:pt x="523" y="1223"/>
                  </a:lnTo>
                  <a:lnTo>
                    <a:pt x="526" y="1224"/>
                  </a:lnTo>
                  <a:lnTo>
                    <a:pt x="529" y="1225"/>
                  </a:lnTo>
                  <a:lnTo>
                    <a:pt x="579" y="1225"/>
                  </a:lnTo>
                  <a:lnTo>
                    <a:pt x="629" y="1225"/>
                  </a:lnTo>
                  <a:lnTo>
                    <a:pt x="632" y="1224"/>
                  </a:lnTo>
                  <a:lnTo>
                    <a:pt x="635" y="1223"/>
                  </a:lnTo>
                  <a:lnTo>
                    <a:pt x="637" y="1221"/>
                  </a:lnTo>
                  <a:lnTo>
                    <a:pt x="638" y="1219"/>
                  </a:lnTo>
                  <a:lnTo>
                    <a:pt x="638" y="1218"/>
                  </a:lnTo>
                  <a:lnTo>
                    <a:pt x="710" y="1036"/>
                  </a:lnTo>
                  <a:lnTo>
                    <a:pt x="711" y="1034"/>
                  </a:lnTo>
                  <a:lnTo>
                    <a:pt x="711" y="1032"/>
                  </a:lnTo>
                  <a:lnTo>
                    <a:pt x="710" y="1030"/>
                  </a:lnTo>
                  <a:lnTo>
                    <a:pt x="710" y="1028"/>
                  </a:lnTo>
                  <a:lnTo>
                    <a:pt x="657" y="920"/>
                  </a:lnTo>
                  <a:lnTo>
                    <a:pt x="657" y="917"/>
                  </a:lnTo>
                  <a:lnTo>
                    <a:pt x="656" y="914"/>
                  </a:lnTo>
                  <a:lnTo>
                    <a:pt x="657" y="909"/>
                  </a:lnTo>
                  <a:lnTo>
                    <a:pt x="758" y="652"/>
                  </a:lnTo>
                  <a:lnTo>
                    <a:pt x="760" y="650"/>
                  </a:lnTo>
                  <a:lnTo>
                    <a:pt x="762" y="647"/>
                  </a:lnTo>
                  <a:lnTo>
                    <a:pt x="765" y="646"/>
                  </a:lnTo>
                  <a:lnTo>
                    <a:pt x="768" y="646"/>
                  </a:lnTo>
                  <a:lnTo>
                    <a:pt x="1006" y="646"/>
                  </a:lnTo>
                  <a:lnTo>
                    <a:pt x="1009" y="645"/>
                  </a:lnTo>
                  <a:lnTo>
                    <a:pt x="1011" y="644"/>
                  </a:lnTo>
                  <a:lnTo>
                    <a:pt x="1153" y="555"/>
                  </a:lnTo>
                  <a:lnTo>
                    <a:pt x="1155" y="554"/>
                  </a:lnTo>
                  <a:lnTo>
                    <a:pt x="1156" y="553"/>
                  </a:lnTo>
                  <a:lnTo>
                    <a:pt x="1157" y="552"/>
                  </a:lnTo>
                  <a:lnTo>
                    <a:pt x="1158" y="549"/>
                  </a:lnTo>
                  <a:lnTo>
                    <a:pt x="1158" y="546"/>
                  </a:lnTo>
                  <a:lnTo>
                    <a:pt x="1158" y="7"/>
                  </a:lnTo>
                  <a:lnTo>
                    <a:pt x="1158" y="4"/>
                  </a:lnTo>
                  <a:lnTo>
                    <a:pt x="1156" y="3"/>
                  </a:lnTo>
                  <a:lnTo>
                    <a:pt x="1154" y="1"/>
                  </a:lnTo>
                  <a:lnTo>
                    <a:pt x="1152" y="0"/>
                  </a:lnTo>
                  <a:lnTo>
                    <a:pt x="1150" y="1"/>
                  </a:lnTo>
                  <a:lnTo>
                    <a:pt x="1148" y="1"/>
                  </a:lnTo>
                  <a:lnTo>
                    <a:pt x="1146" y="3"/>
                  </a:lnTo>
                  <a:lnTo>
                    <a:pt x="1145" y="4"/>
                  </a:lnTo>
                  <a:lnTo>
                    <a:pt x="1145" y="5"/>
                  </a:lnTo>
                  <a:close/>
                </a:path>
              </a:pathLst>
            </a:custGeom>
            <a:solidFill>
              <a:srgbClr val="62A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7" name="Freeform 7"/>
            <p:cNvSpPr>
              <a:spLocks noEditPoints="1"/>
            </p:cNvSpPr>
            <p:nvPr/>
          </p:nvSpPr>
          <p:spPr bwMode="auto">
            <a:xfrm>
              <a:off x="5386388" y="3476625"/>
              <a:ext cx="3533775" cy="933450"/>
            </a:xfrm>
            <a:custGeom>
              <a:avLst/>
              <a:gdLst>
                <a:gd name="T0" fmla="*/ 1976 w 2226"/>
                <a:gd name="T1" fmla="*/ 407 h 588"/>
                <a:gd name="T2" fmla="*/ 1967 w 2226"/>
                <a:gd name="T3" fmla="*/ 463 h 588"/>
                <a:gd name="T4" fmla="*/ 2059 w 2226"/>
                <a:gd name="T5" fmla="*/ 452 h 588"/>
                <a:gd name="T6" fmla="*/ 2077 w 2226"/>
                <a:gd name="T7" fmla="*/ 579 h 588"/>
                <a:gd name="T8" fmla="*/ 2048 w 2226"/>
                <a:gd name="T9" fmla="*/ 537 h 588"/>
                <a:gd name="T10" fmla="*/ 1914 w 2226"/>
                <a:gd name="T11" fmla="*/ 585 h 588"/>
                <a:gd name="T12" fmla="*/ 1811 w 2226"/>
                <a:gd name="T13" fmla="*/ 508 h 588"/>
                <a:gd name="T14" fmla="*/ 1836 w 2226"/>
                <a:gd name="T15" fmla="*/ 383 h 588"/>
                <a:gd name="T16" fmla="*/ 2013 w 2226"/>
                <a:gd name="T17" fmla="*/ 311 h 588"/>
                <a:gd name="T18" fmla="*/ 2045 w 2226"/>
                <a:gd name="T19" fmla="*/ 271 h 588"/>
                <a:gd name="T20" fmla="*/ 1907 w 2226"/>
                <a:gd name="T21" fmla="*/ 300 h 588"/>
                <a:gd name="T22" fmla="*/ 1866 w 2226"/>
                <a:gd name="T23" fmla="*/ 195 h 588"/>
                <a:gd name="T24" fmla="*/ 2086 w 2226"/>
                <a:gd name="T25" fmla="*/ 154 h 588"/>
                <a:gd name="T26" fmla="*/ 2190 w 2226"/>
                <a:gd name="T27" fmla="*/ 214 h 588"/>
                <a:gd name="T28" fmla="*/ 2217 w 2226"/>
                <a:gd name="T29" fmla="*/ 512 h 588"/>
                <a:gd name="T30" fmla="*/ 1994 w 2226"/>
                <a:gd name="T31" fmla="*/ 3 h 588"/>
                <a:gd name="T32" fmla="*/ 1869 w 2226"/>
                <a:gd name="T33" fmla="*/ 7 h 588"/>
                <a:gd name="T34" fmla="*/ 2172 w 2226"/>
                <a:gd name="T35" fmla="*/ 123 h 588"/>
                <a:gd name="T36" fmla="*/ 1190 w 2226"/>
                <a:gd name="T37" fmla="*/ 576 h 588"/>
                <a:gd name="T38" fmla="*/ 1121 w 2226"/>
                <a:gd name="T39" fmla="*/ 502 h 588"/>
                <a:gd name="T40" fmla="*/ 1059 w 2226"/>
                <a:gd name="T41" fmla="*/ 264 h 588"/>
                <a:gd name="T42" fmla="*/ 1170 w 2226"/>
                <a:gd name="T43" fmla="*/ 25 h 588"/>
                <a:gd name="T44" fmla="*/ 1274 w 2226"/>
                <a:gd name="T45" fmla="*/ 156 h 588"/>
                <a:gd name="T46" fmla="*/ 1374 w 2226"/>
                <a:gd name="T47" fmla="*/ 271 h 588"/>
                <a:gd name="T48" fmla="*/ 1291 w 2226"/>
                <a:gd name="T49" fmla="*/ 469 h 588"/>
                <a:gd name="T50" fmla="*/ 1370 w 2226"/>
                <a:gd name="T51" fmla="*/ 564 h 588"/>
                <a:gd name="T52" fmla="*/ 1 w 2226"/>
                <a:gd name="T53" fmla="*/ 3 h 588"/>
                <a:gd name="T54" fmla="*/ 312 w 2226"/>
                <a:gd name="T55" fmla="*/ 389 h 588"/>
                <a:gd name="T56" fmla="*/ 615 w 2226"/>
                <a:gd name="T57" fmla="*/ 572 h 588"/>
                <a:gd name="T58" fmla="*/ 463 w 2226"/>
                <a:gd name="T59" fmla="*/ 222 h 588"/>
                <a:gd name="T60" fmla="*/ 365 w 2226"/>
                <a:gd name="T61" fmla="*/ 579 h 588"/>
                <a:gd name="T62" fmla="*/ 146 w 2226"/>
                <a:gd name="T63" fmla="*/ 223 h 588"/>
                <a:gd name="T64" fmla="*/ 1 w 2226"/>
                <a:gd name="T65" fmla="*/ 576 h 588"/>
                <a:gd name="T66" fmla="*/ 795 w 2226"/>
                <a:gd name="T67" fmla="*/ 421 h 588"/>
                <a:gd name="T68" fmla="*/ 861 w 2226"/>
                <a:gd name="T69" fmla="*/ 482 h 588"/>
                <a:gd name="T70" fmla="*/ 999 w 2226"/>
                <a:gd name="T71" fmla="*/ 448 h 588"/>
                <a:gd name="T72" fmla="*/ 974 w 2226"/>
                <a:gd name="T73" fmla="*/ 574 h 588"/>
                <a:gd name="T74" fmla="*/ 772 w 2226"/>
                <a:gd name="T75" fmla="*/ 575 h 588"/>
                <a:gd name="T76" fmla="*/ 659 w 2226"/>
                <a:gd name="T77" fmla="*/ 476 h 588"/>
                <a:gd name="T78" fmla="*/ 649 w 2226"/>
                <a:gd name="T79" fmla="*/ 300 h 588"/>
                <a:gd name="T80" fmla="*/ 753 w 2226"/>
                <a:gd name="T81" fmla="*/ 177 h 588"/>
                <a:gd name="T82" fmla="*/ 901 w 2226"/>
                <a:gd name="T83" fmla="*/ 155 h 588"/>
                <a:gd name="T84" fmla="*/ 1027 w 2226"/>
                <a:gd name="T85" fmla="*/ 233 h 588"/>
                <a:gd name="T86" fmla="*/ 921 w 2226"/>
                <a:gd name="T87" fmla="*/ 325 h 588"/>
                <a:gd name="T88" fmla="*/ 895 w 2226"/>
                <a:gd name="T89" fmla="*/ 267 h 588"/>
                <a:gd name="T90" fmla="*/ 818 w 2226"/>
                <a:gd name="T91" fmla="*/ 277 h 588"/>
                <a:gd name="T92" fmla="*/ 1595 w 2226"/>
                <a:gd name="T93" fmla="*/ 588 h 588"/>
                <a:gd name="T94" fmla="*/ 1393 w 2226"/>
                <a:gd name="T95" fmla="*/ 532 h 588"/>
                <a:gd name="T96" fmla="*/ 1483 w 2226"/>
                <a:gd name="T97" fmla="*/ 465 h 588"/>
                <a:gd name="T98" fmla="*/ 1638 w 2226"/>
                <a:gd name="T99" fmla="*/ 480 h 588"/>
                <a:gd name="T100" fmla="*/ 1609 w 2226"/>
                <a:gd name="T101" fmla="*/ 434 h 588"/>
                <a:gd name="T102" fmla="*/ 1433 w 2226"/>
                <a:gd name="T103" fmla="*/ 371 h 588"/>
                <a:gd name="T104" fmla="*/ 1410 w 2226"/>
                <a:gd name="T105" fmla="*/ 261 h 588"/>
                <a:gd name="T106" fmla="*/ 1497 w 2226"/>
                <a:gd name="T107" fmla="*/ 166 h 588"/>
                <a:gd name="T108" fmla="*/ 1713 w 2226"/>
                <a:gd name="T109" fmla="*/ 174 h 588"/>
                <a:gd name="T110" fmla="*/ 1716 w 2226"/>
                <a:gd name="T111" fmla="*/ 292 h 588"/>
                <a:gd name="T112" fmla="*/ 1568 w 2226"/>
                <a:gd name="T113" fmla="*/ 256 h 588"/>
                <a:gd name="T114" fmla="*/ 1563 w 2226"/>
                <a:gd name="T115" fmla="*/ 299 h 588"/>
                <a:gd name="T116" fmla="*/ 1752 w 2226"/>
                <a:gd name="T117" fmla="*/ 356 h 588"/>
                <a:gd name="T118" fmla="*/ 1787 w 2226"/>
                <a:gd name="T119" fmla="*/ 458 h 588"/>
                <a:gd name="T120" fmla="*/ 1721 w 2226"/>
                <a:gd name="T121" fmla="*/ 55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26" h="588">
                  <a:moveTo>
                    <a:pt x="2065" y="439"/>
                  </a:moveTo>
                  <a:lnTo>
                    <a:pt x="2065" y="391"/>
                  </a:lnTo>
                  <a:lnTo>
                    <a:pt x="2064" y="389"/>
                  </a:lnTo>
                  <a:lnTo>
                    <a:pt x="2063" y="388"/>
                  </a:lnTo>
                  <a:lnTo>
                    <a:pt x="2061" y="387"/>
                  </a:lnTo>
                  <a:lnTo>
                    <a:pt x="2060" y="387"/>
                  </a:lnTo>
                  <a:lnTo>
                    <a:pt x="2047" y="388"/>
                  </a:lnTo>
                  <a:lnTo>
                    <a:pt x="2035" y="389"/>
                  </a:lnTo>
                  <a:lnTo>
                    <a:pt x="2024" y="390"/>
                  </a:lnTo>
                  <a:lnTo>
                    <a:pt x="2014" y="392"/>
                  </a:lnTo>
                  <a:lnTo>
                    <a:pt x="2004" y="395"/>
                  </a:lnTo>
                  <a:lnTo>
                    <a:pt x="1996" y="397"/>
                  </a:lnTo>
                  <a:lnTo>
                    <a:pt x="1988" y="400"/>
                  </a:lnTo>
                  <a:lnTo>
                    <a:pt x="1981" y="403"/>
                  </a:lnTo>
                  <a:lnTo>
                    <a:pt x="1976" y="407"/>
                  </a:lnTo>
                  <a:lnTo>
                    <a:pt x="1971" y="411"/>
                  </a:lnTo>
                  <a:lnTo>
                    <a:pt x="1966" y="415"/>
                  </a:lnTo>
                  <a:lnTo>
                    <a:pt x="1963" y="420"/>
                  </a:lnTo>
                  <a:lnTo>
                    <a:pt x="1960" y="425"/>
                  </a:lnTo>
                  <a:lnTo>
                    <a:pt x="1958" y="430"/>
                  </a:lnTo>
                  <a:lnTo>
                    <a:pt x="1957" y="435"/>
                  </a:lnTo>
                  <a:lnTo>
                    <a:pt x="1957" y="441"/>
                  </a:lnTo>
                  <a:lnTo>
                    <a:pt x="1957" y="445"/>
                  </a:lnTo>
                  <a:lnTo>
                    <a:pt x="1958" y="448"/>
                  </a:lnTo>
                  <a:lnTo>
                    <a:pt x="1958" y="451"/>
                  </a:lnTo>
                  <a:lnTo>
                    <a:pt x="1959" y="454"/>
                  </a:lnTo>
                  <a:lnTo>
                    <a:pt x="1961" y="457"/>
                  </a:lnTo>
                  <a:lnTo>
                    <a:pt x="1963" y="459"/>
                  </a:lnTo>
                  <a:lnTo>
                    <a:pt x="1965" y="461"/>
                  </a:lnTo>
                  <a:lnTo>
                    <a:pt x="1967" y="463"/>
                  </a:lnTo>
                  <a:lnTo>
                    <a:pt x="1972" y="467"/>
                  </a:lnTo>
                  <a:lnTo>
                    <a:pt x="1975" y="468"/>
                  </a:lnTo>
                  <a:lnTo>
                    <a:pt x="1978" y="469"/>
                  </a:lnTo>
                  <a:lnTo>
                    <a:pt x="1984" y="470"/>
                  </a:lnTo>
                  <a:lnTo>
                    <a:pt x="1991" y="471"/>
                  </a:lnTo>
                  <a:lnTo>
                    <a:pt x="2005" y="470"/>
                  </a:lnTo>
                  <a:lnTo>
                    <a:pt x="2011" y="470"/>
                  </a:lnTo>
                  <a:lnTo>
                    <a:pt x="2017" y="469"/>
                  </a:lnTo>
                  <a:lnTo>
                    <a:pt x="2023" y="468"/>
                  </a:lnTo>
                  <a:lnTo>
                    <a:pt x="2028" y="467"/>
                  </a:lnTo>
                  <a:lnTo>
                    <a:pt x="2037" y="464"/>
                  </a:lnTo>
                  <a:lnTo>
                    <a:pt x="2045" y="461"/>
                  </a:lnTo>
                  <a:lnTo>
                    <a:pt x="2051" y="458"/>
                  </a:lnTo>
                  <a:lnTo>
                    <a:pt x="2056" y="454"/>
                  </a:lnTo>
                  <a:lnTo>
                    <a:pt x="2059" y="452"/>
                  </a:lnTo>
                  <a:lnTo>
                    <a:pt x="2061" y="450"/>
                  </a:lnTo>
                  <a:lnTo>
                    <a:pt x="2063" y="447"/>
                  </a:lnTo>
                  <a:lnTo>
                    <a:pt x="2064" y="443"/>
                  </a:lnTo>
                  <a:lnTo>
                    <a:pt x="2065" y="440"/>
                  </a:lnTo>
                  <a:lnTo>
                    <a:pt x="2065" y="439"/>
                  </a:lnTo>
                  <a:close/>
                  <a:moveTo>
                    <a:pt x="2225" y="572"/>
                  </a:moveTo>
                  <a:lnTo>
                    <a:pt x="2226" y="575"/>
                  </a:lnTo>
                  <a:lnTo>
                    <a:pt x="2225" y="577"/>
                  </a:lnTo>
                  <a:lnTo>
                    <a:pt x="2225" y="578"/>
                  </a:lnTo>
                  <a:lnTo>
                    <a:pt x="2224" y="579"/>
                  </a:lnTo>
                  <a:lnTo>
                    <a:pt x="2221" y="579"/>
                  </a:lnTo>
                  <a:lnTo>
                    <a:pt x="2220" y="579"/>
                  </a:lnTo>
                  <a:lnTo>
                    <a:pt x="2081" y="579"/>
                  </a:lnTo>
                  <a:lnTo>
                    <a:pt x="2079" y="579"/>
                  </a:lnTo>
                  <a:lnTo>
                    <a:pt x="2077" y="579"/>
                  </a:lnTo>
                  <a:lnTo>
                    <a:pt x="2074" y="577"/>
                  </a:lnTo>
                  <a:lnTo>
                    <a:pt x="2073" y="574"/>
                  </a:lnTo>
                  <a:lnTo>
                    <a:pt x="2072" y="572"/>
                  </a:lnTo>
                  <a:lnTo>
                    <a:pt x="2069" y="560"/>
                  </a:lnTo>
                  <a:lnTo>
                    <a:pt x="2067" y="548"/>
                  </a:lnTo>
                  <a:lnTo>
                    <a:pt x="2065" y="537"/>
                  </a:lnTo>
                  <a:lnTo>
                    <a:pt x="2065" y="526"/>
                  </a:lnTo>
                  <a:lnTo>
                    <a:pt x="2064" y="524"/>
                  </a:lnTo>
                  <a:lnTo>
                    <a:pt x="2064" y="522"/>
                  </a:lnTo>
                  <a:lnTo>
                    <a:pt x="2063" y="522"/>
                  </a:lnTo>
                  <a:lnTo>
                    <a:pt x="2062" y="522"/>
                  </a:lnTo>
                  <a:lnTo>
                    <a:pt x="2061" y="523"/>
                  </a:lnTo>
                  <a:lnTo>
                    <a:pt x="2060" y="524"/>
                  </a:lnTo>
                  <a:lnTo>
                    <a:pt x="2054" y="531"/>
                  </a:lnTo>
                  <a:lnTo>
                    <a:pt x="2048" y="537"/>
                  </a:lnTo>
                  <a:lnTo>
                    <a:pt x="2042" y="544"/>
                  </a:lnTo>
                  <a:lnTo>
                    <a:pt x="2035" y="549"/>
                  </a:lnTo>
                  <a:lnTo>
                    <a:pt x="2028" y="555"/>
                  </a:lnTo>
                  <a:lnTo>
                    <a:pt x="2021" y="560"/>
                  </a:lnTo>
                  <a:lnTo>
                    <a:pt x="2013" y="564"/>
                  </a:lnTo>
                  <a:lnTo>
                    <a:pt x="2005" y="569"/>
                  </a:lnTo>
                  <a:lnTo>
                    <a:pt x="1996" y="573"/>
                  </a:lnTo>
                  <a:lnTo>
                    <a:pt x="1987" y="576"/>
                  </a:lnTo>
                  <a:lnTo>
                    <a:pt x="1978" y="579"/>
                  </a:lnTo>
                  <a:lnTo>
                    <a:pt x="1968" y="581"/>
                  </a:lnTo>
                  <a:lnTo>
                    <a:pt x="1958" y="583"/>
                  </a:lnTo>
                  <a:lnTo>
                    <a:pt x="1948" y="584"/>
                  </a:lnTo>
                  <a:lnTo>
                    <a:pt x="1937" y="585"/>
                  </a:lnTo>
                  <a:lnTo>
                    <a:pt x="1925" y="586"/>
                  </a:lnTo>
                  <a:lnTo>
                    <a:pt x="1914" y="585"/>
                  </a:lnTo>
                  <a:lnTo>
                    <a:pt x="1903" y="584"/>
                  </a:lnTo>
                  <a:lnTo>
                    <a:pt x="1892" y="582"/>
                  </a:lnTo>
                  <a:lnTo>
                    <a:pt x="1881" y="579"/>
                  </a:lnTo>
                  <a:lnTo>
                    <a:pt x="1871" y="574"/>
                  </a:lnTo>
                  <a:lnTo>
                    <a:pt x="1861" y="570"/>
                  </a:lnTo>
                  <a:lnTo>
                    <a:pt x="1856" y="567"/>
                  </a:lnTo>
                  <a:lnTo>
                    <a:pt x="1851" y="564"/>
                  </a:lnTo>
                  <a:lnTo>
                    <a:pt x="1843" y="557"/>
                  </a:lnTo>
                  <a:lnTo>
                    <a:pt x="1835" y="549"/>
                  </a:lnTo>
                  <a:lnTo>
                    <a:pt x="1827" y="540"/>
                  </a:lnTo>
                  <a:lnTo>
                    <a:pt x="1824" y="536"/>
                  </a:lnTo>
                  <a:lnTo>
                    <a:pt x="1821" y="531"/>
                  </a:lnTo>
                  <a:lnTo>
                    <a:pt x="1816" y="520"/>
                  </a:lnTo>
                  <a:lnTo>
                    <a:pt x="1813" y="514"/>
                  </a:lnTo>
                  <a:lnTo>
                    <a:pt x="1811" y="508"/>
                  </a:lnTo>
                  <a:lnTo>
                    <a:pt x="1808" y="495"/>
                  </a:lnTo>
                  <a:lnTo>
                    <a:pt x="1806" y="481"/>
                  </a:lnTo>
                  <a:lnTo>
                    <a:pt x="1806" y="474"/>
                  </a:lnTo>
                  <a:lnTo>
                    <a:pt x="1805" y="466"/>
                  </a:lnTo>
                  <a:lnTo>
                    <a:pt x="1806" y="458"/>
                  </a:lnTo>
                  <a:lnTo>
                    <a:pt x="1806" y="449"/>
                  </a:lnTo>
                  <a:lnTo>
                    <a:pt x="1808" y="441"/>
                  </a:lnTo>
                  <a:lnTo>
                    <a:pt x="1809" y="433"/>
                  </a:lnTo>
                  <a:lnTo>
                    <a:pt x="1812" y="425"/>
                  </a:lnTo>
                  <a:lnTo>
                    <a:pt x="1814" y="418"/>
                  </a:lnTo>
                  <a:lnTo>
                    <a:pt x="1818" y="410"/>
                  </a:lnTo>
                  <a:lnTo>
                    <a:pt x="1822" y="403"/>
                  </a:lnTo>
                  <a:lnTo>
                    <a:pt x="1826" y="396"/>
                  </a:lnTo>
                  <a:lnTo>
                    <a:pt x="1831" y="390"/>
                  </a:lnTo>
                  <a:lnTo>
                    <a:pt x="1836" y="383"/>
                  </a:lnTo>
                  <a:lnTo>
                    <a:pt x="1842" y="377"/>
                  </a:lnTo>
                  <a:lnTo>
                    <a:pt x="1848" y="371"/>
                  </a:lnTo>
                  <a:lnTo>
                    <a:pt x="1855" y="365"/>
                  </a:lnTo>
                  <a:lnTo>
                    <a:pt x="1862" y="360"/>
                  </a:lnTo>
                  <a:lnTo>
                    <a:pt x="1869" y="355"/>
                  </a:lnTo>
                  <a:lnTo>
                    <a:pt x="1886" y="345"/>
                  </a:lnTo>
                  <a:lnTo>
                    <a:pt x="1895" y="341"/>
                  </a:lnTo>
                  <a:lnTo>
                    <a:pt x="1905" y="337"/>
                  </a:lnTo>
                  <a:lnTo>
                    <a:pt x="1915" y="333"/>
                  </a:lnTo>
                  <a:lnTo>
                    <a:pt x="1926" y="329"/>
                  </a:lnTo>
                  <a:lnTo>
                    <a:pt x="1948" y="323"/>
                  </a:lnTo>
                  <a:lnTo>
                    <a:pt x="1960" y="320"/>
                  </a:lnTo>
                  <a:lnTo>
                    <a:pt x="1973" y="317"/>
                  </a:lnTo>
                  <a:lnTo>
                    <a:pt x="1999" y="313"/>
                  </a:lnTo>
                  <a:lnTo>
                    <a:pt x="2013" y="311"/>
                  </a:lnTo>
                  <a:lnTo>
                    <a:pt x="2027" y="310"/>
                  </a:lnTo>
                  <a:lnTo>
                    <a:pt x="2057" y="308"/>
                  </a:lnTo>
                  <a:lnTo>
                    <a:pt x="2061" y="307"/>
                  </a:lnTo>
                  <a:lnTo>
                    <a:pt x="2064" y="306"/>
                  </a:lnTo>
                  <a:lnTo>
                    <a:pt x="2065" y="305"/>
                  </a:lnTo>
                  <a:lnTo>
                    <a:pt x="2065" y="302"/>
                  </a:lnTo>
                  <a:lnTo>
                    <a:pt x="2064" y="295"/>
                  </a:lnTo>
                  <a:lnTo>
                    <a:pt x="2063" y="291"/>
                  </a:lnTo>
                  <a:lnTo>
                    <a:pt x="2063" y="288"/>
                  </a:lnTo>
                  <a:lnTo>
                    <a:pt x="2061" y="285"/>
                  </a:lnTo>
                  <a:lnTo>
                    <a:pt x="2060" y="282"/>
                  </a:lnTo>
                  <a:lnTo>
                    <a:pt x="2055" y="277"/>
                  </a:lnTo>
                  <a:lnTo>
                    <a:pt x="2052" y="275"/>
                  </a:lnTo>
                  <a:lnTo>
                    <a:pt x="2049" y="273"/>
                  </a:lnTo>
                  <a:lnTo>
                    <a:pt x="2045" y="271"/>
                  </a:lnTo>
                  <a:lnTo>
                    <a:pt x="2041" y="269"/>
                  </a:lnTo>
                  <a:lnTo>
                    <a:pt x="2031" y="267"/>
                  </a:lnTo>
                  <a:lnTo>
                    <a:pt x="2025" y="267"/>
                  </a:lnTo>
                  <a:lnTo>
                    <a:pt x="2018" y="267"/>
                  </a:lnTo>
                  <a:lnTo>
                    <a:pt x="2009" y="267"/>
                  </a:lnTo>
                  <a:lnTo>
                    <a:pt x="2000" y="268"/>
                  </a:lnTo>
                  <a:lnTo>
                    <a:pt x="1992" y="269"/>
                  </a:lnTo>
                  <a:lnTo>
                    <a:pt x="1983" y="270"/>
                  </a:lnTo>
                  <a:lnTo>
                    <a:pt x="1974" y="272"/>
                  </a:lnTo>
                  <a:lnTo>
                    <a:pt x="1966" y="274"/>
                  </a:lnTo>
                  <a:lnTo>
                    <a:pt x="1958" y="277"/>
                  </a:lnTo>
                  <a:lnTo>
                    <a:pt x="1950" y="280"/>
                  </a:lnTo>
                  <a:lnTo>
                    <a:pt x="1934" y="286"/>
                  </a:lnTo>
                  <a:lnTo>
                    <a:pt x="1920" y="293"/>
                  </a:lnTo>
                  <a:lnTo>
                    <a:pt x="1907" y="300"/>
                  </a:lnTo>
                  <a:lnTo>
                    <a:pt x="1895" y="308"/>
                  </a:lnTo>
                  <a:lnTo>
                    <a:pt x="1893" y="309"/>
                  </a:lnTo>
                  <a:lnTo>
                    <a:pt x="1891" y="309"/>
                  </a:lnTo>
                  <a:lnTo>
                    <a:pt x="1889" y="309"/>
                  </a:lnTo>
                  <a:lnTo>
                    <a:pt x="1888" y="309"/>
                  </a:lnTo>
                  <a:lnTo>
                    <a:pt x="1886" y="307"/>
                  </a:lnTo>
                  <a:lnTo>
                    <a:pt x="1885" y="306"/>
                  </a:lnTo>
                  <a:lnTo>
                    <a:pt x="1830" y="230"/>
                  </a:lnTo>
                  <a:lnTo>
                    <a:pt x="1828" y="227"/>
                  </a:lnTo>
                  <a:lnTo>
                    <a:pt x="1828" y="225"/>
                  </a:lnTo>
                  <a:lnTo>
                    <a:pt x="1829" y="224"/>
                  </a:lnTo>
                  <a:lnTo>
                    <a:pt x="1830" y="221"/>
                  </a:lnTo>
                  <a:lnTo>
                    <a:pt x="1831" y="220"/>
                  </a:lnTo>
                  <a:lnTo>
                    <a:pt x="1847" y="207"/>
                  </a:lnTo>
                  <a:lnTo>
                    <a:pt x="1866" y="195"/>
                  </a:lnTo>
                  <a:lnTo>
                    <a:pt x="1876" y="189"/>
                  </a:lnTo>
                  <a:lnTo>
                    <a:pt x="1887" y="184"/>
                  </a:lnTo>
                  <a:lnTo>
                    <a:pt x="1899" y="178"/>
                  </a:lnTo>
                  <a:lnTo>
                    <a:pt x="1912" y="173"/>
                  </a:lnTo>
                  <a:lnTo>
                    <a:pt x="1925" y="169"/>
                  </a:lnTo>
                  <a:lnTo>
                    <a:pt x="1939" y="165"/>
                  </a:lnTo>
                  <a:lnTo>
                    <a:pt x="1954" y="161"/>
                  </a:lnTo>
                  <a:lnTo>
                    <a:pt x="1970" y="158"/>
                  </a:lnTo>
                  <a:lnTo>
                    <a:pt x="1987" y="155"/>
                  </a:lnTo>
                  <a:lnTo>
                    <a:pt x="2005" y="153"/>
                  </a:lnTo>
                  <a:lnTo>
                    <a:pt x="2023" y="152"/>
                  </a:lnTo>
                  <a:lnTo>
                    <a:pt x="2043" y="152"/>
                  </a:lnTo>
                  <a:lnTo>
                    <a:pt x="2054" y="152"/>
                  </a:lnTo>
                  <a:lnTo>
                    <a:pt x="2065" y="152"/>
                  </a:lnTo>
                  <a:lnTo>
                    <a:pt x="2086" y="154"/>
                  </a:lnTo>
                  <a:lnTo>
                    <a:pt x="2096" y="156"/>
                  </a:lnTo>
                  <a:lnTo>
                    <a:pt x="2105" y="158"/>
                  </a:lnTo>
                  <a:lnTo>
                    <a:pt x="2114" y="160"/>
                  </a:lnTo>
                  <a:lnTo>
                    <a:pt x="2122" y="163"/>
                  </a:lnTo>
                  <a:lnTo>
                    <a:pt x="2130" y="166"/>
                  </a:lnTo>
                  <a:lnTo>
                    <a:pt x="2138" y="169"/>
                  </a:lnTo>
                  <a:lnTo>
                    <a:pt x="2145" y="172"/>
                  </a:lnTo>
                  <a:lnTo>
                    <a:pt x="2152" y="176"/>
                  </a:lnTo>
                  <a:lnTo>
                    <a:pt x="2159" y="181"/>
                  </a:lnTo>
                  <a:lnTo>
                    <a:pt x="2165" y="185"/>
                  </a:lnTo>
                  <a:lnTo>
                    <a:pt x="2170" y="190"/>
                  </a:lnTo>
                  <a:lnTo>
                    <a:pt x="2176" y="196"/>
                  </a:lnTo>
                  <a:lnTo>
                    <a:pt x="2181" y="201"/>
                  </a:lnTo>
                  <a:lnTo>
                    <a:pt x="2186" y="207"/>
                  </a:lnTo>
                  <a:lnTo>
                    <a:pt x="2190" y="214"/>
                  </a:lnTo>
                  <a:lnTo>
                    <a:pt x="2194" y="220"/>
                  </a:lnTo>
                  <a:lnTo>
                    <a:pt x="2197" y="227"/>
                  </a:lnTo>
                  <a:lnTo>
                    <a:pt x="2201" y="235"/>
                  </a:lnTo>
                  <a:lnTo>
                    <a:pt x="2204" y="242"/>
                  </a:lnTo>
                  <a:lnTo>
                    <a:pt x="2206" y="251"/>
                  </a:lnTo>
                  <a:lnTo>
                    <a:pt x="2209" y="259"/>
                  </a:lnTo>
                  <a:lnTo>
                    <a:pt x="2211" y="268"/>
                  </a:lnTo>
                  <a:lnTo>
                    <a:pt x="2212" y="277"/>
                  </a:lnTo>
                  <a:lnTo>
                    <a:pt x="2214" y="287"/>
                  </a:lnTo>
                  <a:lnTo>
                    <a:pt x="2215" y="296"/>
                  </a:lnTo>
                  <a:lnTo>
                    <a:pt x="2215" y="307"/>
                  </a:lnTo>
                  <a:lnTo>
                    <a:pt x="2216" y="317"/>
                  </a:lnTo>
                  <a:lnTo>
                    <a:pt x="2216" y="328"/>
                  </a:lnTo>
                  <a:lnTo>
                    <a:pt x="2216" y="478"/>
                  </a:lnTo>
                  <a:lnTo>
                    <a:pt x="2217" y="512"/>
                  </a:lnTo>
                  <a:lnTo>
                    <a:pt x="2218" y="539"/>
                  </a:lnTo>
                  <a:lnTo>
                    <a:pt x="2220" y="549"/>
                  </a:lnTo>
                  <a:lnTo>
                    <a:pt x="2221" y="559"/>
                  </a:lnTo>
                  <a:lnTo>
                    <a:pt x="2223" y="566"/>
                  </a:lnTo>
                  <a:lnTo>
                    <a:pt x="2225" y="572"/>
                  </a:lnTo>
                  <a:close/>
                  <a:moveTo>
                    <a:pt x="1869" y="7"/>
                  </a:moveTo>
                  <a:lnTo>
                    <a:pt x="1869" y="5"/>
                  </a:lnTo>
                  <a:lnTo>
                    <a:pt x="1870" y="3"/>
                  </a:lnTo>
                  <a:lnTo>
                    <a:pt x="1873" y="0"/>
                  </a:lnTo>
                  <a:lnTo>
                    <a:pt x="1875" y="0"/>
                  </a:lnTo>
                  <a:lnTo>
                    <a:pt x="1877" y="0"/>
                  </a:lnTo>
                  <a:lnTo>
                    <a:pt x="1987" y="0"/>
                  </a:lnTo>
                  <a:lnTo>
                    <a:pt x="1989" y="0"/>
                  </a:lnTo>
                  <a:lnTo>
                    <a:pt x="1991" y="1"/>
                  </a:lnTo>
                  <a:lnTo>
                    <a:pt x="1994" y="3"/>
                  </a:lnTo>
                  <a:lnTo>
                    <a:pt x="1994" y="6"/>
                  </a:lnTo>
                  <a:lnTo>
                    <a:pt x="1995" y="7"/>
                  </a:lnTo>
                  <a:lnTo>
                    <a:pt x="1995" y="121"/>
                  </a:lnTo>
                  <a:lnTo>
                    <a:pt x="1994" y="123"/>
                  </a:lnTo>
                  <a:lnTo>
                    <a:pt x="1993" y="125"/>
                  </a:lnTo>
                  <a:lnTo>
                    <a:pt x="1991" y="128"/>
                  </a:lnTo>
                  <a:lnTo>
                    <a:pt x="1988" y="128"/>
                  </a:lnTo>
                  <a:lnTo>
                    <a:pt x="1987" y="129"/>
                  </a:lnTo>
                  <a:lnTo>
                    <a:pt x="1877" y="129"/>
                  </a:lnTo>
                  <a:lnTo>
                    <a:pt x="1874" y="128"/>
                  </a:lnTo>
                  <a:lnTo>
                    <a:pt x="1872" y="127"/>
                  </a:lnTo>
                  <a:lnTo>
                    <a:pt x="1870" y="125"/>
                  </a:lnTo>
                  <a:lnTo>
                    <a:pt x="1869" y="122"/>
                  </a:lnTo>
                  <a:lnTo>
                    <a:pt x="1869" y="121"/>
                  </a:lnTo>
                  <a:lnTo>
                    <a:pt x="1869" y="7"/>
                  </a:lnTo>
                  <a:close/>
                  <a:moveTo>
                    <a:pt x="2047" y="121"/>
                  </a:moveTo>
                  <a:lnTo>
                    <a:pt x="2047" y="7"/>
                  </a:lnTo>
                  <a:lnTo>
                    <a:pt x="2047" y="5"/>
                  </a:lnTo>
                  <a:lnTo>
                    <a:pt x="2048" y="3"/>
                  </a:lnTo>
                  <a:lnTo>
                    <a:pt x="2051" y="0"/>
                  </a:lnTo>
                  <a:lnTo>
                    <a:pt x="2053" y="0"/>
                  </a:lnTo>
                  <a:lnTo>
                    <a:pt x="2054" y="0"/>
                  </a:lnTo>
                  <a:lnTo>
                    <a:pt x="2165" y="0"/>
                  </a:lnTo>
                  <a:lnTo>
                    <a:pt x="2167" y="0"/>
                  </a:lnTo>
                  <a:lnTo>
                    <a:pt x="2169" y="1"/>
                  </a:lnTo>
                  <a:lnTo>
                    <a:pt x="2171" y="3"/>
                  </a:lnTo>
                  <a:lnTo>
                    <a:pt x="2172" y="6"/>
                  </a:lnTo>
                  <a:lnTo>
                    <a:pt x="2172" y="7"/>
                  </a:lnTo>
                  <a:lnTo>
                    <a:pt x="2172" y="121"/>
                  </a:lnTo>
                  <a:lnTo>
                    <a:pt x="2172" y="123"/>
                  </a:lnTo>
                  <a:lnTo>
                    <a:pt x="2171" y="125"/>
                  </a:lnTo>
                  <a:lnTo>
                    <a:pt x="2169" y="127"/>
                  </a:lnTo>
                  <a:lnTo>
                    <a:pt x="2166" y="128"/>
                  </a:lnTo>
                  <a:lnTo>
                    <a:pt x="2165" y="128"/>
                  </a:lnTo>
                  <a:lnTo>
                    <a:pt x="2054" y="128"/>
                  </a:lnTo>
                  <a:lnTo>
                    <a:pt x="2052" y="128"/>
                  </a:lnTo>
                  <a:lnTo>
                    <a:pt x="2050" y="127"/>
                  </a:lnTo>
                  <a:lnTo>
                    <a:pt x="2048" y="125"/>
                  </a:lnTo>
                  <a:lnTo>
                    <a:pt x="2047" y="122"/>
                  </a:lnTo>
                  <a:lnTo>
                    <a:pt x="2047" y="121"/>
                  </a:lnTo>
                  <a:close/>
                  <a:moveTo>
                    <a:pt x="1274" y="585"/>
                  </a:moveTo>
                  <a:lnTo>
                    <a:pt x="1249" y="584"/>
                  </a:lnTo>
                  <a:lnTo>
                    <a:pt x="1226" y="583"/>
                  </a:lnTo>
                  <a:lnTo>
                    <a:pt x="1207" y="580"/>
                  </a:lnTo>
                  <a:lnTo>
                    <a:pt x="1190" y="576"/>
                  </a:lnTo>
                  <a:lnTo>
                    <a:pt x="1175" y="571"/>
                  </a:lnTo>
                  <a:lnTo>
                    <a:pt x="1168" y="568"/>
                  </a:lnTo>
                  <a:lnTo>
                    <a:pt x="1162" y="565"/>
                  </a:lnTo>
                  <a:lnTo>
                    <a:pt x="1156" y="561"/>
                  </a:lnTo>
                  <a:lnTo>
                    <a:pt x="1151" y="558"/>
                  </a:lnTo>
                  <a:lnTo>
                    <a:pt x="1149" y="556"/>
                  </a:lnTo>
                  <a:lnTo>
                    <a:pt x="1147" y="554"/>
                  </a:lnTo>
                  <a:lnTo>
                    <a:pt x="1143" y="550"/>
                  </a:lnTo>
                  <a:lnTo>
                    <a:pt x="1139" y="545"/>
                  </a:lnTo>
                  <a:lnTo>
                    <a:pt x="1135" y="541"/>
                  </a:lnTo>
                  <a:lnTo>
                    <a:pt x="1130" y="531"/>
                  </a:lnTo>
                  <a:lnTo>
                    <a:pt x="1127" y="525"/>
                  </a:lnTo>
                  <a:lnTo>
                    <a:pt x="1125" y="520"/>
                  </a:lnTo>
                  <a:lnTo>
                    <a:pt x="1122" y="508"/>
                  </a:lnTo>
                  <a:lnTo>
                    <a:pt x="1121" y="502"/>
                  </a:lnTo>
                  <a:lnTo>
                    <a:pt x="1120" y="496"/>
                  </a:lnTo>
                  <a:lnTo>
                    <a:pt x="1119" y="482"/>
                  </a:lnTo>
                  <a:lnTo>
                    <a:pt x="1118" y="468"/>
                  </a:lnTo>
                  <a:lnTo>
                    <a:pt x="1118" y="453"/>
                  </a:lnTo>
                  <a:lnTo>
                    <a:pt x="1118" y="278"/>
                  </a:lnTo>
                  <a:lnTo>
                    <a:pt x="1117" y="276"/>
                  </a:lnTo>
                  <a:lnTo>
                    <a:pt x="1117" y="274"/>
                  </a:lnTo>
                  <a:lnTo>
                    <a:pt x="1114" y="272"/>
                  </a:lnTo>
                  <a:lnTo>
                    <a:pt x="1111" y="271"/>
                  </a:lnTo>
                  <a:lnTo>
                    <a:pt x="1110" y="271"/>
                  </a:lnTo>
                  <a:lnTo>
                    <a:pt x="1067" y="271"/>
                  </a:lnTo>
                  <a:lnTo>
                    <a:pt x="1064" y="270"/>
                  </a:lnTo>
                  <a:lnTo>
                    <a:pt x="1062" y="269"/>
                  </a:lnTo>
                  <a:lnTo>
                    <a:pt x="1060" y="267"/>
                  </a:lnTo>
                  <a:lnTo>
                    <a:pt x="1059" y="264"/>
                  </a:lnTo>
                  <a:lnTo>
                    <a:pt x="1059" y="263"/>
                  </a:lnTo>
                  <a:lnTo>
                    <a:pt x="1059" y="167"/>
                  </a:lnTo>
                  <a:lnTo>
                    <a:pt x="1059" y="164"/>
                  </a:lnTo>
                  <a:lnTo>
                    <a:pt x="1060" y="162"/>
                  </a:lnTo>
                  <a:lnTo>
                    <a:pt x="1063" y="160"/>
                  </a:lnTo>
                  <a:lnTo>
                    <a:pt x="1065" y="159"/>
                  </a:lnTo>
                  <a:lnTo>
                    <a:pt x="1067" y="159"/>
                  </a:lnTo>
                  <a:lnTo>
                    <a:pt x="1110" y="159"/>
                  </a:lnTo>
                  <a:lnTo>
                    <a:pt x="1113" y="159"/>
                  </a:lnTo>
                  <a:lnTo>
                    <a:pt x="1115" y="158"/>
                  </a:lnTo>
                  <a:lnTo>
                    <a:pt x="1117" y="157"/>
                  </a:lnTo>
                  <a:lnTo>
                    <a:pt x="1118" y="156"/>
                  </a:lnTo>
                  <a:lnTo>
                    <a:pt x="1120" y="153"/>
                  </a:lnTo>
                  <a:lnTo>
                    <a:pt x="1121" y="152"/>
                  </a:lnTo>
                  <a:lnTo>
                    <a:pt x="1170" y="25"/>
                  </a:lnTo>
                  <a:lnTo>
                    <a:pt x="1171" y="23"/>
                  </a:lnTo>
                  <a:lnTo>
                    <a:pt x="1173" y="21"/>
                  </a:lnTo>
                  <a:lnTo>
                    <a:pt x="1175" y="20"/>
                  </a:lnTo>
                  <a:lnTo>
                    <a:pt x="1176" y="19"/>
                  </a:lnTo>
                  <a:lnTo>
                    <a:pt x="1179" y="18"/>
                  </a:lnTo>
                  <a:lnTo>
                    <a:pt x="1180" y="18"/>
                  </a:lnTo>
                  <a:lnTo>
                    <a:pt x="1265" y="18"/>
                  </a:lnTo>
                  <a:lnTo>
                    <a:pt x="1268" y="19"/>
                  </a:lnTo>
                  <a:lnTo>
                    <a:pt x="1270" y="19"/>
                  </a:lnTo>
                  <a:lnTo>
                    <a:pt x="1272" y="22"/>
                  </a:lnTo>
                  <a:lnTo>
                    <a:pt x="1273" y="25"/>
                  </a:lnTo>
                  <a:lnTo>
                    <a:pt x="1273" y="26"/>
                  </a:lnTo>
                  <a:lnTo>
                    <a:pt x="1273" y="152"/>
                  </a:lnTo>
                  <a:lnTo>
                    <a:pt x="1273" y="154"/>
                  </a:lnTo>
                  <a:lnTo>
                    <a:pt x="1274" y="156"/>
                  </a:lnTo>
                  <a:lnTo>
                    <a:pt x="1277" y="158"/>
                  </a:lnTo>
                  <a:lnTo>
                    <a:pt x="1279" y="159"/>
                  </a:lnTo>
                  <a:lnTo>
                    <a:pt x="1281" y="159"/>
                  </a:lnTo>
                  <a:lnTo>
                    <a:pt x="1374" y="159"/>
                  </a:lnTo>
                  <a:lnTo>
                    <a:pt x="1376" y="160"/>
                  </a:lnTo>
                  <a:lnTo>
                    <a:pt x="1378" y="161"/>
                  </a:lnTo>
                  <a:lnTo>
                    <a:pt x="1381" y="163"/>
                  </a:lnTo>
                  <a:lnTo>
                    <a:pt x="1381" y="166"/>
                  </a:lnTo>
                  <a:lnTo>
                    <a:pt x="1381" y="167"/>
                  </a:lnTo>
                  <a:lnTo>
                    <a:pt x="1381" y="263"/>
                  </a:lnTo>
                  <a:lnTo>
                    <a:pt x="1381" y="266"/>
                  </a:lnTo>
                  <a:lnTo>
                    <a:pt x="1380" y="268"/>
                  </a:lnTo>
                  <a:lnTo>
                    <a:pt x="1378" y="270"/>
                  </a:lnTo>
                  <a:lnTo>
                    <a:pt x="1375" y="271"/>
                  </a:lnTo>
                  <a:lnTo>
                    <a:pt x="1374" y="271"/>
                  </a:lnTo>
                  <a:lnTo>
                    <a:pt x="1281" y="271"/>
                  </a:lnTo>
                  <a:lnTo>
                    <a:pt x="1278" y="271"/>
                  </a:lnTo>
                  <a:lnTo>
                    <a:pt x="1276" y="272"/>
                  </a:lnTo>
                  <a:lnTo>
                    <a:pt x="1274" y="275"/>
                  </a:lnTo>
                  <a:lnTo>
                    <a:pt x="1273" y="277"/>
                  </a:lnTo>
                  <a:lnTo>
                    <a:pt x="1273" y="278"/>
                  </a:lnTo>
                  <a:lnTo>
                    <a:pt x="1273" y="419"/>
                  </a:lnTo>
                  <a:lnTo>
                    <a:pt x="1274" y="434"/>
                  </a:lnTo>
                  <a:lnTo>
                    <a:pt x="1275" y="446"/>
                  </a:lnTo>
                  <a:lnTo>
                    <a:pt x="1277" y="452"/>
                  </a:lnTo>
                  <a:lnTo>
                    <a:pt x="1279" y="456"/>
                  </a:lnTo>
                  <a:lnTo>
                    <a:pt x="1281" y="460"/>
                  </a:lnTo>
                  <a:lnTo>
                    <a:pt x="1284" y="463"/>
                  </a:lnTo>
                  <a:lnTo>
                    <a:pt x="1287" y="466"/>
                  </a:lnTo>
                  <a:lnTo>
                    <a:pt x="1291" y="469"/>
                  </a:lnTo>
                  <a:lnTo>
                    <a:pt x="1296" y="471"/>
                  </a:lnTo>
                  <a:lnTo>
                    <a:pt x="1301" y="472"/>
                  </a:lnTo>
                  <a:lnTo>
                    <a:pt x="1307" y="473"/>
                  </a:lnTo>
                  <a:lnTo>
                    <a:pt x="1313" y="474"/>
                  </a:lnTo>
                  <a:lnTo>
                    <a:pt x="1320" y="474"/>
                  </a:lnTo>
                  <a:lnTo>
                    <a:pt x="1328" y="475"/>
                  </a:lnTo>
                  <a:lnTo>
                    <a:pt x="1340" y="474"/>
                  </a:lnTo>
                  <a:lnTo>
                    <a:pt x="1351" y="473"/>
                  </a:lnTo>
                  <a:lnTo>
                    <a:pt x="1361" y="472"/>
                  </a:lnTo>
                  <a:lnTo>
                    <a:pt x="1366" y="471"/>
                  </a:lnTo>
                  <a:lnTo>
                    <a:pt x="1367" y="471"/>
                  </a:lnTo>
                  <a:lnTo>
                    <a:pt x="1368" y="471"/>
                  </a:lnTo>
                  <a:lnTo>
                    <a:pt x="1369" y="474"/>
                  </a:lnTo>
                  <a:lnTo>
                    <a:pt x="1370" y="477"/>
                  </a:lnTo>
                  <a:lnTo>
                    <a:pt x="1370" y="564"/>
                  </a:lnTo>
                  <a:lnTo>
                    <a:pt x="1369" y="569"/>
                  </a:lnTo>
                  <a:lnTo>
                    <a:pt x="1369" y="572"/>
                  </a:lnTo>
                  <a:lnTo>
                    <a:pt x="1368" y="575"/>
                  </a:lnTo>
                  <a:lnTo>
                    <a:pt x="1366" y="577"/>
                  </a:lnTo>
                  <a:lnTo>
                    <a:pt x="1364" y="578"/>
                  </a:lnTo>
                  <a:lnTo>
                    <a:pt x="1362" y="579"/>
                  </a:lnTo>
                  <a:lnTo>
                    <a:pt x="1358" y="580"/>
                  </a:lnTo>
                  <a:lnTo>
                    <a:pt x="1340" y="582"/>
                  </a:lnTo>
                  <a:lnTo>
                    <a:pt x="1317" y="583"/>
                  </a:lnTo>
                  <a:lnTo>
                    <a:pt x="1294" y="584"/>
                  </a:lnTo>
                  <a:lnTo>
                    <a:pt x="1274" y="585"/>
                  </a:lnTo>
                  <a:close/>
                  <a:moveTo>
                    <a:pt x="0" y="572"/>
                  </a:moveTo>
                  <a:lnTo>
                    <a:pt x="0" y="7"/>
                  </a:lnTo>
                  <a:lnTo>
                    <a:pt x="0" y="5"/>
                  </a:lnTo>
                  <a:lnTo>
                    <a:pt x="1" y="3"/>
                  </a:lnTo>
                  <a:lnTo>
                    <a:pt x="4" y="1"/>
                  </a:lnTo>
                  <a:lnTo>
                    <a:pt x="6" y="0"/>
                  </a:lnTo>
                  <a:lnTo>
                    <a:pt x="7" y="0"/>
                  </a:lnTo>
                  <a:lnTo>
                    <a:pt x="200" y="0"/>
                  </a:lnTo>
                  <a:lnTo>
                    <a:pt x="202" y="0"/>
                  </a:lnTo>
                  <a:lnTo>
                    <a:pt x="204" y="1"/>
                  </a:lnTo>
                  <a:lnTo>
                    <a:pt x="206" y="2"/>
                  </a:lnTo>
                  <a:lnTo>
                    <a:pt x="207" y="3"/>
                  </a:lnTo>
                  <a:lnTo>
                    <a:pt x="209" y="6"/>
                  </a:lnTo>
                  <a:lnTo>
                    <a:pt x="209" y="7"/>
                  </a:lnTo>
                  <a:lnTo>
                    <a:pt x="307" y="386"/>
                  </a:lnTo>
                  <a:lnTo>
                    <a:pt x="307" y="387"/>
                  </a:lnTo>
                  <a:lnTo>
                    <a:pt x="308" y="388"/>
                  </a:lnTo>
                  <a:lnTo>
                    <a:pt x="310" y="389"/>
                  </a:lnTo>
                  <a:lnTo>
                    <a:pt x="312" y="389"/>
                  </a:lnTo>
                  <a:lnTo>
                    <a:pt x="313" y="387"/>
                  </a:lnTo>
                  <a:lnTo>
                    <a:pt x="313" y="386"/>
                  </a:lnTo>
                  <a:lnTo>
                    <a:pt x="401" y="7"/>
                  </a:lnTo>
                  <a:lnTo>
                    <a:pt x="402" y="5"/>
                  </a:lnTo>
                  <a:lnTo>
                    <a:pt x="403" y="3"/>
                  </a:lnTo>
                  <a:lnTo>
                    <a:pt x="406" y="1"/>
                  </a:lnTo>
                  <a:lnTo>
                    <a:pt x="409" y="0"/>
                  </a:lnTo>
                  <a:lnTo>
                    <a:pt x="410" y="0"/>
                  </a:lnTo>
                  <a:lnTo>
                    <a:pt x="607" y="0"/>
                  </a:lnTo>
                  <a:lnTo>
                    <a:pt x="610" y="0"/>
                  </a:lnTo>
                  <a:lnTo>
                    <a:pt x="611" y="1"/>
                  </a:lnTo>
                  <a:lnTo>
                    <a:pt x="614" y="4"/>
                  </a:lnTo>
                  <a:lnTo>
                    <a:pt x="615" y="6"/>
                  </a:lnTo>
                  <a:lnTo>
                    <a:pt x="615" y="7"/>
                  </a:lnTo>
                  <a:lnTo>
                    <a:pt x="615" y="572"/>
                  </a:lnTo>
                  <a:lnTo>
                    <a:pt x="614" y="575"/>
                  </a:lnTo>
                  <a:lnTo>
                    <a:pt x="613" y="576"/>
                  </a:lnTo>
                  <a:lnTo>
                    <a:pt x="611" y="579"/>
                  </a:lnTo>
                  <a:lnTo>
                    <a:pt x="608" y="579"/>
                  </a:lnTo>
                  <a:lnTo>
                    <a:pt x="607" y="580"/>
                  </a:lnTo>
                  <a:lnTo>
                    <a:pt x="473" y="580"/>
                  </a:lnTo>
                  <a:lnTo>
                    <a:pt x="470" y="579"/>
                  </a:lnTo>
                  <a:lnTo>
                    <a:pt x="468" y="578"/>
                  </a:lnTo>
                  <a:lnTo>
                    <a:pt x="466" y="576"/>
                  </a:lnTo>
                  <a:lnTo>
                    <a:pt x="465" y="573"/>
                  </a:lnTo>
                  <a:lnTo>
                    <a:pt x="465" y="572"/>
                  </a:lnTo>
                  <a:lnTo>
                    <a:pt x="465" y="226"/>
                  </a:lnTo>
                  <a:lnTo>
                    <a:pt x="465" y="224"/>
                  </a:lnTo>
                  <a:lnTo>
                    <a:pt x="464" y="223"/>
                  </a:lnTo>
                  <a:lnTo>
                    <a:pt x="463" y="222"/>
                  </a:lnTo>
                  <a:lnTo>
                    <a:pt x="462" y="222"/>
                  </a:lnTo>
                  <a:lnTo>
                    <a:pt x="461" y="222"/>
                  </a:lnTo>
                  <a:lnTo>
                    <a:pt x="460" y="223"/>
                  </a:lnTo>
                  <a:lnTo>
                    <a:pt x="458" y="226"/>
                  </a:lnTo>
                  <a:lnTo>
                    <a:pt x="452" y="264"/>
                  </a:lnTo>
                  <a:lnTo>
                    <a:pt x="446" y="298"/>
                  </a:lnTo>
                  <a:lnTo>
                    <a:pt x="443" y="314"/>
                  </a:lnTo>
                  <a:lnTo>
                    <a:pt x="440" y="330"/>
                  </a:lnTo>
                  <a:lnTo>
                    <a:pt x="436" y="346"/>
                  </a:lnTo>
                  <a:lnTo>
                    <a:pt x="432" y="362"/>
                  </a:lnTo>
                  <a:lnTo>
                    <a:pt x="373" y="572"/>
                  </a:lnTo>
                  <a:lnTo>
                    <a:pt x="372" y="575"/>
                  </a:lnTo>
                  <a:lnTo>
                    <a:pt x="371" y="577"/>
                  </a:lnTo>
                  <a:lnTo>
                    <a:pt x="368" y="579"/>
                  </a:lnTo>
                  <a:lnTo>
                    <a:pt x="365" y="579"/>
                  </a:lnTo>
                  <a:lnTo>
                    <a:pt x="364" y="580"/>
                  </a:lnTo>
                  <a:lnTo>
                    <a:pt x="241" y="580"/>
                  </a:lnTo>
                  <a:lnTo>
                    <a:pt x="238" y="579"/>
                  </a:lnTo>
                  <a:lnTo>
                    <a:pt x="236" y="578"/>
                  </a:lnTo>
                  <a:lnTo>
                    <a:pt x="234" y="577"/>
                  </a:lnTo>
                  <a:lnTo>
                    <a:pt x="233" y="576"/>
                  </a:lnTo>
                  <a:lnTo>
                    <a:pt x="232" y="573"/>
                  </a:lnTo>
                  <a:lnTo>
                    <a:pt x="231" y="572"/>
                  </a:lnTo>
                  <a:lnTo>
                    <a:pt x="174" y="362"/>
                  </a:lnTo>
                  <a:lnTo>
                    <a:pt x="169" y="345"/>
                  </a:lnTo>
                  <a:lnTo>
                    <a:pt x="165" y="330"/>
                  </a:lnTo>
                  <a:lnTo>
                    <a:pt x="159" y="301"/>
                  </a:lnTo>
                  <a:lnTo>
                    <a:pt x="153" y="268"/>
                  </a:lnTo>
                  <a:lnTo>
                    <a:pt x="146" y="224"/>
                  </a:lnTo>
                  <a:lnTo>
                    <a:pt x="146" y="223"/>
                  </a:lnTo>
                  <a:lnTo>
                    <a:pt x="145" y="222"/>
                  </a:lnTo>
                  <a:lnTo>
                    <a:pt x="142" y="221"/>
                  </a:lnTo>
                  <a:lnTo>
                    <a:pt x="140" y="222"/>
                  </a:lnTo>
                  <a:lnTo>
                    <a:pt x="140" y="223"/>
                  </a:lnTo>
                  <a:lnTo>
                    <a:pt x="139" y="224"/>
                  </a:lnTo>
                  <a:lnTo>
                    <a:pt x="139" y="572"/>
                  </a:lnTo>
                  <a:lnTo>
                    <a:pt x="139" y="575"/>
                  </a:lnTo>
                  <a:lnTo>
                    <a:pt x="138" y="576"/>
                  </a:lnTo>
                  <a:lnTo>
                    <a:pt x="136" y="579"/>
                  </a:lnTo>
                  <a:lnTo>
                    <a:pt x="133" y="579"/>
                  </a:lnTo>
                  <a:lnTo>
                    <a:pt x="132" y="580"/>
                  </a:lnTo>
                  <a:lnTo>
                    <a:pt x="8" y="580"/>
                  </a:lnTo>
                  <a:lnTo>
                    <a:pt x="5" y="579"/>
                  </a:lnTo>
                  <a:lnTo>
                    <a:pt x="3" y="578"/>
                  </a:lnTo>
                  <a:lnTo>
                    <a:pt x="1" y="576"/>
                  </a:lnTo>
                  <a:lnTo>
                    <a:pt x="0" y="573"/>
                  </a:lnTo>
                  <a:lnTo>
                    <a:pt x="0" y="572"/>
                  </a:lnTo>
                  <a:close/>
                  <a:moveTo>
                    <a:pt x="1063" y="408"/>
                  </a:moveTo>
                  <a:lnTo>
                    <a:pt x="1062" y="410"/>
                  </a:lnTo>
                  <a:lnTo>
                    <a:pt x="1062" y="412"/>
                  </a:lnTo>
                  <a:lnTo>
                    <a:pt x="1061" y="413"/>
                  </a:lnTo>
                  <a:lnTo>
                    <a:pt x="1060" y="414"/>
                  </a:lnTo>
                  <a:lnTo>
                    <a:pt x="1058" y="414"/>
                  </a:lnTo>
                  <a:lnTo>
                    <a:pt x="1057" y="414"/>
                  </a:lnTo>
                  <a:lnTo>
                    <a:pt x="801" y="414"/>
                  </a:lnTo>
                  <a:lnTo>
                    <a:pt x="799" y="415"/>
                  </a:lnTo>
                  <a:lnTo>
                    <a:pt x="797" y="415"/>
                  </a:lnTo>
                  <a:lnTo>
                    <a:pt x="796" y="417"/>
                  </a:lnTo>
                  <a:lnTo>
                    <a:pt x="795" y="418"/>
                  </a:lnTo>
                  <a:lnTo>
                    <a:pt x="795" y="421"/>
                  </a:lnTo>
                  <a:lnTo>
                    <a:pt x="795" y="422"/>
                  </a:lnTo>
                  <a:lnTo>
                    <a:pt x="796" y="430"/>
                  </a:lnTo>
                  <a:lnTo>
                    <a:pt x="799" y="438"/>
                  </a:lnTo>
                  <a:lnTo>
                    <a:pt x="801" y="445"/>
                  </a:lnTo>
                  <a:lnTo>
                    <a:pt x="804" y="451"/>
                  </a:lnTo>
                  <a:lnTo>
                    <a:pt x="808" y="457"/>
                  </a:lnTo>
                  <a:lnTo>
                    <a:pt x="812" y="462"/>
                  </a:lnTo>
                  <a:lnTo>
                    <a:pt x="817" y="466"/>
                  </a:lnTo>
                  <a:lnTo>
                    <a:pt x="822" y="470"/>
                  </a:lnTo>
                  <a:lnTo>
                    <a:pt x="827" y="473"/>
                  </a:lnTo>
                  <a:lnTo>
                    <a:pt x="833" y="476"/>
                  </a:lnTo>
                  <a:lnTo>
                    <a:pt x="840" y="478"/>
                  </a:lnTo>
                  <a:lnTo>
                    <a:pt x="846" y="480"/>
                  </a:lnTo>
                  <a:lnTo>
                    <a:pt x="854" y="481"/>
                  </a:lnTo>
                  <a:lnTo>
                    <a:pt x="861" y="482"/>
                  </a:lnTo>
                  <a:lnTo>
                    <a:pt x="878" y="482"/>
                  </a:lnTo>
                  <a:lnTo>
                    <a:pt x="886" y="482"/>
                  </a:lnTo>
                  <a:lnTo>
                    <a:pt x="894" y="481"/>
                  </a:lnTo>
                  <a:lnTo>
                    <a:pt x="903" y="480"/>
                  </a:lnTo>
                  <a:lnTo>
                    <a:pt x="911" y="479"/>
                  </a:lnTo>
                  <a:lnTo>
                    <a:pt x="928" y="475"/>
                  </a:lnTo>
                  <a:lnTo>
                    <a:pt x="943" y="470"/>
                  </a:lnTo>
                  <a:lnTo>
                    <a:pt x="958" y="464"/>
                  </a:lnTo>
                  <a:lnTo>
                    <a:pt x="971" y="459"/>
                  </a:lnTo>
                  <a:lnTo>
                    <a:pt x="983" y="453"/>
                  </a:lnTo>
                  <a:lnTo>
                    <a:pt x="992" y="448"/>
                  </a:lnTo>
                  <a:lnTo>
                    <a:pt x="994" y="447"/>
                  </a:lnTo>
                  <a:lnTo>
                    <a:pt x="996" y="447"/>
                  </a:lnTo>
                  <a:lnTo>
                    <a:pt x="998" y="447"/>
                  </a:lnTo>
                  <a:lnTo>
                    <a:pt x="999" y="448"/>
                  </a:lnTo>
                  <a:lnTo>
                    <a:pt x="1002" y="450"/>
                  </a:lnTo>
                  <a:lnTo>
                    <a:pt x="1050" y="531"/>
                  </a:lnTo>
                  <a:lnTo>
                    <a:pt x="1052" y="535"/>
                  </a:lnTo>
                  <a:lnTo>
                    <a:pt x="1052" y="537"/>
                  </a:lnTo>
                  <a:lnTo>
                    <a:pt x="1051" y="538"/>
                  </a:lnTo>
                  <a:lnTo>
                    <a:pt x="1051" y="540"/>
                  </a:lnTo>
                  <a:lnTo>
                    <a:pt x="1050" y="540"/>
                  </a:lnTo>
                  <a:lnTo>
                    <a:pt x="1048" y="542"/>
                  </a:lnTo>
                  <a:lnTo>
                    <a:pt x="1038" y="547"/>
                  </a:lnTo>
                  <a:lnTo>
                    <a:pt x="1028" y="553"/>
                  </a:lnTo>
                  <a:lnTo>
                    <a:pt x="1018" y="558"/>
                  </a:lnTo>
                  <a:lnTo>
                    <a:pt x="1007" y="562"/>
                  </a:lnTo>
                  <a:lnTo>
                    <a:pt x="996" y="567"/>
                  </a:lnTo>
                  <a:lnTo>
                    <a:pt x="985" y="570"/>
                  </a:lnTo>
                  <a:lnTo>
                    <a:pt x="974" y="574"/>
                  </a:lnTo>
                  <a:lnTo>
                    <a:pt x="963" y="577"/>
                  </a:lnTo>
                  <a:lnTo>
                    <a:pt x="951" y="580"/>
                  </a:lnTo>
                  <a:lnTo>
                    <a:pt x="939" y="582"/>
                  </a:lnTo>
                  <a:lnTo>
                    <a:pt x="927" y="584"/>
                  </a:lnTo>
                  <a:lnTo>
                    <a:pt x="915" y="585"/>
                  </a:lnTo>
                  <a:lnTo>
                    <a:pt x="903" y="587"/>
                  </a:lnTo>
                  <a:lnTo>
                    <a:pt x="891" y="587"/>
                  </a:lnTo>
                  <a:lnTo>
                    <a:pt x="866" y="588"/>
                  </a:lnTo>
                  <a:lnTo>
                    <a:pt x="844" y="588"/>
                  </a:lnTo>
                  <a:lnTo>
                    <a:pt x="823" y="586"/>
                  </a:lnTo>
                  <a:lnTo>
                    <a:pt x="813" y="584"/>
                  </a:lnTo>
                  <a:lnTo>
                    <a:pt x="802" y="583"/>
                  </a:lnTo>
                  <a:lnTo>
                    <a:pt x="792" y="580"/>
                  </a:lnTo>
                  <a:lnTo>
                    <a:pt x="782" y="578"/>
                  </a:lnTo>
                  <a:lnTo>
                    <a:pt x="772" y="575"/>
                  </a:lnTo>
                  <a:lnTo>
                    <a:pt x="762" y="572"/>
                  </a:lnTo>
                  <a:lnTo>
                    <a:pt x="753" y="568"/>
                  </a:lnTo>
                  <a:lnTo>
                    <a:pt x="744" y="564"/>
                  </a:lnTo>
                  <a:lnTo>
                    <a:pt x="735" y="559"/>
                  </a:lnTo>
                  <a:lnTo>
                    <a:pt x="726" y="554"/>
                  </a:lnTo>
                  <a:lnTo>
                    <a:pt x="718" y="549"/>
                  </a:lnTo>
                  <a:lnTo>
                    <a:pt x="710" y="543"/>
                  </a:lnTo>
                  <a:lnTo>
                    <a:pt x="702" y="537"/>
                  </a:lnTo>
                  <a:lnTo>
                    <a:pt x="694" y="530"/>
                  </a:lnTo>
                  <a:lnTo>
                    <a:pt x="687" y="522"/>
                  </a:lnTo>
                  <a:lnTo>
                    <a:pt x="681" y="514"/>
                  </a:lnTo>
                  <a:lnTo>
                    <a:pt x="675" y="505"/>
                  </a:lnTo>
                  <a:lnTo>
                    <a:pt x="669" y="496"/>
                  </a:lnTo>
                  <a:lnTo>
                    <a:pt x="664" y="486"/>
                  </a:lnTo>
                  <a:lnTo>
                    <a:pt x="659" y="476"/>
                  </a:lnTo>
                  <a:lnTo>
                    <a:pt x="654" y="465"/>
                  </a:lnTo>
                  <a:lnTo>
                    <a:pt x="652" y="459"/>
                  </a:lnTo>
                  <a:lnTo>
                    <a:pt x="651" y="454"/>
                  </a:lnTo>
                  <a:lnTo>
                    <a:pt x="647" y="441"/>
                  </a:lnTo>
                  <a:lnTo>
                    <a:pt x="645" y="429"/>
                  </a:lnTo>
                  <a:lnTo>
                    <a:pt x="642" y="415"/>
                  </a:lnTo>
                  <a:lnTo>
                    <a:pt x="642" y="408"/>
                  </a:lnTo>
                  <a:lnTo>
                    <a:pt x="641" y="401"/>
                  </a:lnTo>
                  <a:lnTo>
                    <a:pt x="640" y="386"/>
                  </a:lnTo>
                  <a:lnTo>
                    <a:pt x="640" y="370"/>
                  </a:lnTo>
                  <a:lnTo>
                    <a:pt x="640" y="355"/>
                  </a:lnTo>
                  <a:lnTo>
                    <a:pt x="641" y="340"/>
                  </a:lnTo>
                  <a:lnTo>
                    <a:pt x="643" y="326"/>
                  </a:lnTo>
                  <a:lnTo>
                    <a:pt x="646" y="313"/>
                  </a:lnTo>
                  <a:lnTo>
                    <a:pt x="649" y="300"/>
                  </a:lnTo>
                  <a:lnTo>
                    <a:pt x="653" y="288"/>
                  </a:lnTo>
                  <a:lnTo>
                    <a:pt x="657" y="276"/>
                  </a:lnTo>
                  <a:lnTo>
                    <a:pt x="662" y="265"/>
                  </a:lnTo>
                  <a:lnTo>
                    <a:pt x="668" y="255"/>
                  </a:lnTo>
                  <a:lnTo>
                    <a:pt x="674" y="245"/>
                  </a:lnTo>
                  <a:lnTo>
                    <a:pt x="680" y="236"/>
                  </a:lnTo>
                  <a:lnTo>
                    <a:pt x="687" y="227"/>
                  </a:lnTo>
                  <a:lnTo>
                    <a:pt x="694" y="219"/>
                  </a:lnTo>
                  <a:lnTo>
                    <a:pt x="702" y="212"/>
                  </a:lnTo>
                  <a:lnTo>
                    <a:pt x="710" y="204"/>
                  </a:lnTo>
                  <a:lnTo>
                    <a:pt x="718" y="198"/>
                  </a:lnTo>
                  <a:lnTo>
                    <a:pt x="727" y="192"/>
                  </a:lnTo>
                  <a:lnTo>
                    <a:pt x="735" y="186"/>
                  </a:lnTo>
                  <a:lnTo>
                    <a:pt x="744" y="181"/>
                  </a:lnTo>
                  <a:lnTo>
                    <a:pt x="753" y="177"/>
                  </a:lnTo>
                  <a:lnTo>
                    <a:pt x="762" y="172"/>
                  </a:lnTo>
                  <a:lnTo>
                    <a:pt x="771" y="169"/>
                  </a:lnTo>
                  <a:lnTo>
                    <a:pt x="781" y="165"/>
                  </a:lnTo>
                  <a:lnTo>
                    <a:pt x="790" y="162"/>
                  </a:lnTo>
                  <a:lnTo>
                    <a:pt x="799" y="160"/>
                  </a:lnTo>
                  <a:lnTo>
                    <a:pt x="808" y="158"/>
                  </a:lnTo>
                  <a:lnTo>
                    <a:pt x="817" y="156"/>
                  </a:lnTo>
                  <a:lnTo>
                    <a:pt x="826" y="154"/>
                  </a:lnTo>
                  <a:lnTo>
                    <a:pt x="844" y="152"/>
                  </a:lnTo>
                  <a:lnTo>
                    <a:pt x="852" y="152"/>
                  </a:lnTo>
                  <a:lnTo>
                    <a:pt x="860" y="152"/>
                  </a:lnTo>
                  <a:lnTo>
                    <a:pt x="868" y="152"/>
                  </a:lnTo>
                  <a:lnTo>
                    <a:pt x="876" y="152"/>
                  </a:lnTo>
                  <a:lnTo>
                    <a:pt x="893" y="153"/>
                  </a:lnTo>
                  <a:lnTo>
                    <a:pt x="901" y="155"/>
                  </a:lnTo>
                  <a:lnTo>
                    <a:pt x="910" y="156"/>
                  </a:lnTo>
                  <a:lnTo>
                    <a:pt x="927" y="160"/>
                  </a:lnTo>
                  <a:lnTo>
                    <a:pt x="936" y="162"/>
                  </a:lnTo>
                  <a:lnTo>
                    <a:pt x="944" y="165"/>
                  </a:lnTo>
                  <a:lnTo>
                    <a:pt x="953" y="168"/>
                  </a:lnTo>
                  <a:lnTo>
                    <a:pt x="961" y="172"/>
                  </a:lnTo>
                  <a:lnTo>
                    <a:pt x="969" y="177"/>
                  </a:lnTo>
                  <a:lnTo>
                    <a:pt x="977" y="181"/>
                  </a:lnTo>
                  <a:lnTo>
                    <a:pt x="985" y="187"/>
                  </a:lnTo>
                  <a:lnTo>
                    <a:pt x="993" y="193"/>
                  </a:lnTo>
                  <a:lnTo>
                    <a:pt x="1000" y="199"/>
                  </a:lnTo>
                  <a:lnTo>
                    <a:pt x="1007" y="207"/>
                  </a:lnTo>
                  <a:lnTo>
                    <a:pt x="1014" y="215"/>
                  </a:lnTo>
                  <a:lnTo>
                    <a:pt x="1021" y="223"/>
                  </a:lnTo>
                  <a:lnTo>
                    <a:pt x="1027" y="233"/>
                  </a:lnTo>
                  <a:lnTo>
                    <a:pt x="1032" y="243"/>
                  </a:lnTo>
                  <a:lnTo>
                    <a:pt x="1035" y="248"/>
                  </a:lnTo>
                  <a:lnTo>
                    <a:pt x="1038" y="253"/>
                  </a:lnTo>
                  <a:lnTo>
                    <a:pt x="1043" y="265"/>
                  </a:lnTo>
                  <a:lnTo>
                    <a:pt x="1047" y="278"/>
                  </a:lnTo>
                  <a:lnTo>
                    <a:pt x="1051" y="291"/>
                  </a:lnTo>
                  <a:lnTo>
                    <a:pt x="1054" y="305"/>
                  </a:lnTo>
                  <a:lnTo>
                    <a:pt x="1057" y="320"/>
                  </a:lnTo>
                  <a:lnTo>
                    <a:pt x="1060" y="336"/>
                  </a:lnTo>
                  <a:lnTo>
                    <a:pt x="1061" y="354"/>
                  </a:lnTo>
                  <a:lnTo>
                    <a:pt x="1062" y="372"/>
                  </a:lnTo>
                  <a:lnTo>
                    <a:pt x="1063" y="391"/>
                  </a:lnTo>
                  <a:lnTo>
                    <a:pt x="1063" y="408"/>
                  </a:lnTo>
                  <a:close/>
                  <a:moveTo>
                    <a:pt x="918" y="326"/>
                  </a:moveTo>
                  <a:lnTo>
                    <a:pt x="921" y="325"/>
                  </a:lnTo>
                  <a:lnTo>
                    <a:pt x="922" y="325"/>
                  </a:lnTo>
                  <a:lnTo>
                    <a:pt x="923" y="323"/>
                  </a:lnTo>
                  <a:lnTo>
                    <a:pt x="924" y="322"/>
                  </a:lnTo>
                  <a:lnTo>
                    <a:pt x="925" y="319"/>
                  </a:lnTo>
                  <a:lnTo>
                    <a:pt x="924" y="318"/>
                  </a:lnTo>
                  <a:lnTo>
                    <a:pt x="923" y="311"/>
                  </a:lnTo>
                  <a:lnTo>
                    <a:pt x="922" y="304"/>
                  </a:lnTo>
                  <a:lnTo>
                    <a:pt x="920" y="297"/>
                  </a:lnTo>
                  <a:lnTo>
                    <a:pt x="917" y="291"/>
                  </a:lnTo>
                  <a:lnTo>
                    <a:pt x="915" y="286"/>
                  </a:lnTo>
                  <a:lnTo>
                    <a:pt x="911" y="281"/>
                  </a:lnTo>
                  <a:lnTo>
                    <a:pt x="908" y="277"/>
                  </a:lnTo>
                  <a:lnTo>
                    <a:pt x="904" y="273"/>
                  </a:lnTo>
                  <a:lnTo>
                    <a:pt x="900" y="270"/>
                  </a:lnTo>
                  <a:lnTo>
                    <a:pt x="895" y="267"/>
                  </a:lnTo>
                  <a:lnTo>
                    <a:pt x="890" y="265"/>
                  </a:lnTo>
                  <a:lnTo>
                    <a:pt x="885" y="263"/>
                  </a:lnTo>
                  <a:lnTo>
                    <a:pt x="879" y="262"/>
                  </a:lnTo>
                  <a:lnTo>
                    <a:pt x="873" y="261"/>
                  </a:lnTo>
                  <a:lnTo>
                    <a:pt x="866" y="260"/>
                  </a:lnTo>
                  <a:lnTo>
                    <a:pt x="860" y="260"/>
                  </a:lnTo>
                  <a:lnTo>
                    <a:pt x="854" y="260"/>
                  </a:lnTo>
                  <a:lnTo>
                    <a:pt x="849" y="261"/>
                  </a:lnTo>
                  <a:lnTo>
                    <a:pt x="844" y="262"/>
                  </a:lnTo>
                  <a:lnTo>
                    <a:pt x="839" y="263"/>
                  </a:lnTo>
                  <a:lnTo>
                    <a:pt x="834" y="265"/>
                  </a:lnTo>
                  <a:lnTo>
                    <a:pt x="830" y="267"/>
                  </a:lnTo>
                  <a:lnTo>
                    <a:pt x="826" y="270"/>
                  </a:lnTo>
                  <a:lnTo>
                    <a:pt x="821" y="273"/>
                  </a:lnTo>
                  <a:lnTo>
                    <a:pt x="818" y="277"/>
                  </a:lnTo>
                  <a:lnTo>
                    <a:pt x="814" y="281"/>
                  </a:lnTo>
                  <a:lnTo>
                    <a:pt x="810" y="286"/>
                  </a:lnTo>
                  <a:lnTo>
                    <a:pt x="807" y="291"/>
                  </a:lnTo>
                  <a:lnTo>
                    <a:pt x="804" y="297"/>
                  </a:lnTo>
                  <a:lnTo>
                    <a:pt x="802" y="304"/>
                  </a:lnTo>
                  <a:lnTo>
                    <a:pt x="799" y="311"/>
                  </a:lnTo>
                  <a:lnTo>
                    <a:pt x="797" y="318"/>
                  </a:lnTo>
                  <a:lnTo>
                    <a:pt x="797" y="321"/>
                  </a:lnTo>
                  <a:lnTo>
                    <a:pt x="797" y="323"/>
                  </a:lnTo>
                  <a:lnTo>
                    <a:pt x="798" y="324"/>
                  </a:lnTo>
                  <a:lnTo>
                    <a:pt x="799" y="325"/>
                  </a:lnTo>
                  <a:lnTo>
                    <a:pt x="800" y="326"/>
                  </a:lnTo>
                  <a:lnTo>
                    <a:pt x="802" y="326"/>
                  </a:lnTo>
                  <a:lnTo>
                    <a:pt x="918" y="326"/>
                  </a:lnTo>
                  <a:close/>
                  <a:moveTo>
                    <a:pt x="1595" y="588"/>
                  </a:moveTo>
                  <a:lnTo>
                    <a:pt x="1577" y="588"/>
                  </a:lnTo>
                  <a:lnTo>
                    <a:pt x="1560" y="587"/>
                  </a:lnTo>
                  <a:lnTo>
                    <a:pt x="1543" y="585"/>
                  </a:lnTo>
                  <a:lnTo>
                    <a:pt x="1528" y="584"/>
                  </a:lnTo>
                  <a:lnTo>
                    <a:pt x="1513" y="581"/>
                  </a:lnTo>
                  <a:lnTo>
                    <a:pt x="1499" y="578"/>
                  </a:lnTo>
                  <a:lnTo>
                    <a:pt x="1485" y="575"/>
                  </a:lnTo>
                  <a:lnTo>
                    <a:pt x="1472" y="571"/>
                  </a:lnTo>
                  <a:lnTo>
                    <a:pt x="1460" y="567"/>
                  </a:lnTo>
                  <a:lnTo>
                    <a:pt x="1449" y="563"/>
                  </a:lnTo>
                  <a:lnTo>
                    <a:pt x="1438" y="558"/>
                  </a:lnTo>
                  <a:lnTo>
                    <a:pt x="1427" y="553"/>
                  </a:lnTo>
                  <a:lnTo>
                    <a:pt x="1418" y="548"/>
                  </a:lnTo>
                  <a:lnTo>
                    <a:pt x="1409" y="543"/>
                  </a:lnTo>
                  <a:lnTo>
                    <a:pt x="1393" y="532"/>
                  </a:lnTo>
                  <a:lnTo>
                    <a:pt x="1391" y="531"/>
                  </a:lnTo>
                  <a:lnTo>
                    <a:pt x="1390" y="529"/>
                  </a:lnTo>
                  <a:lnTo>
                    <a:pt x="1389" y="527"/>
                  </a:lnTo>
                  <a:lnTo>
                    <a:pt x="1389" y="525"/>
                  </a:lnTo>
                  <a:lnTo>
                    <a:pt x="1390" y="523"/>
                  </a:lnTo>
                  <a:lnTo>
                    <a:pt x="1391" y="522"/>
                  </a:lnTo>
                  <a:lnTo>
                    <a:pt x="1440" y="446"/>
                  </a:lnTo>
                  <a:lnTo>
                    <a:pt x="1442" y="444"/>
                  </a:lnTo>
                  <a:lnTo>
                    <a:pt x="1443" y="444"/>
                  </a:lnTo>
                  <a:lnTo>
                    <a:pt x="1444" y="443"/>
                  </a:lnTo>
                  <a:lnTo>
                    <a:pt x="1446" y="443"/>
                  </a:lnTo>
                  <a:lnTo>
                    <a:pt x="1448" y="444"/>
                  </a:lnTo>
                  <a:lnTo>
                    <a:pt x="1450" y="445"/>
                  </a:lnTo>
                  <a:lnTo>
                    <a:pt x="1465" y="456"/>
                  </a:lnTo>
                  <a:lnTo>
                    <a:pt x="1483" y="465"/>
                  </a:lnTo>
                  <a:lnTo>
                    <a:pt x="1501" y="473"/>
                  </a:lnTo>
                  <a:lnTo>
                    <a:pt x="1510" y="476"/>
                  </a:lnTo>
                  <a:lnTo>
                    <a:pt x="1520" y="479"/>
                  </a:lnTo>
                  <a:lnTo>
                    <a:pt x="1529" y="482"/>
                  </a:lnTo>
                  <a:lnTo>
                    <a:pt x="1539" y="485"/>
                  </a:lnTo>
                  <a:lnTo>
                    <a:pt x="1558" y="489"/>
                  </a:lnTo>
                  <a:lnTo>
                    <a:pt x="1576" y="491"/>
                  </a:lnTo>
                  <a:lnTo>
                    <a:pt x="1594" y="492"/>
                  </a:lnTo>
                  <a:lnTo>
                    <a:pt x="1604" y="491"/>
                  </a:lnTo>
                  <a:lnTo>
                    <a:pt x="1613" y="490"/>
                  </a:lnTo>
                  <a:lnTo>
                    <a:pt x="1622" y="488"/>
                  </a:lnTo>
                  <a:lnTo>
                    <a:pt x="1629" y="486"/>
                  </a:lnTo>
                  <a:lnTo>
                    <a:pt x="1632" y="484"/>
                  </a:lnTo>
                  <a:lnTo>
                    <a:pt x="1635" y="482"/>
                  </a:lnTo>
                  <a:lnTo>
                    <a:pt x="1638" y="480"/>
                  </a:lnTo>
                  <a:lnTo>
                    <a:pt x="1640" y="477"/>
                  </a:lnTo>
                  <a:lnTo>
                    <a:pt x="1642" y="474"/>
                  </a:lnTo>
                  <a:lnTo>
                    <a:pt x="1643" y="471"/>
                  </a:lnTo>
                  <a:lnTo>
                    <a:pt x="1644" y="468"/>
                  </a:lnTo>
                  <a:lnTo>
                    <a:pt x="1644" y="464"/>
                  </a:lnTo>
                  <a:lnTo>
                    <a:pt x="1644" y="461"/>
                  </a:lnTo>
                  <a:lnTo>
                    <a:pt x="1643" y="457"/>
                  </a:lnTo>
                  <a:lnTo>
                    <a:pt x="1642" y="454"/>
                  </a:lnTo>
                  <a:lnTo>
                    <a:pt x="1641" y="451"/>
                  </a:lnTo>
                  <a:lnTo>
                    <a:pt x="1640" y="449"/>
                  </a:lnTo>
                  <a:lnTo>
                    <a:pt x="1638" y="448"/>
                  </a:lnTo>
                  <a:lnTo>
                    <a:pt x="1636" y="445"/>
                  </a:lnTo>
                  <a:lnTo>
                    <a:pt x="1629" y="441"/>
                  </a:lnTo>
                  <a:lnTo>
                    <a:pt x="1620" y="437"/>
                  </a:lnTo>
                  <a:lnTo>
                    <a:pt x="1609" y="434"/>
                  </a:lnTo>
                  <a:lnTo>
                    <a:pt x="1595" y="432"/>
                  </a:lnTo>
                  <a:lnTo>
                    <a:pt x="1579" y="429"/>
                  </a:lnTo>
                  <a:lnTo>
                    <a:pt x="1551" y="425"/>
                  </a:lnTo>
                  <a:lnTo>
                    <a:pt x="1537" y="422"/>
                  </a:lnTo>
                  <a:lnTo>
                    <a:pt x="1522" y="419"/>
                  </a:lnTo>
                  <a:lnTo>
                    <a:pt x="1508" y="415"/>
                  </a:lnTo>
                  <a:lnTo>
                    <a:pt x="1493" y="411"/>
                  </a:lnTo>
                  <a:lnTo>
                    <a:pt x="1480" y="405"/>
                  </a:lnTo>
                  <a:lnTo>
                    <a:pt x="1466" y="398"/>
                  </a:lnTo>
                  <a:lnTo>
                    <a:pt x="1460" y="395"/>
                  </a:lnTo>
                  <a:lnTo>
                    <a:pt x="1454" y="391"/>
                  </a:lnTo>
                  <a:lnTo>
                    <a:pt x="1448" y="386"/>
                  </a:lnTo>
                  <a:lnTo>
                    <a:pt x="1443" y="382"/>
                  </a:lnTo>
                  <a:lnTo>
                    <a:pt x="1438" y="377"/>
                  </a:lnTo>
                  <a:lnTo>
                    <a:pt x="1433" y="371"/>
                  </a:lnTo>
                  <a:lnTo>
                    <a:pt x="1428" y="366"/>
                  </a:lnTo>
                  <a:lnTo>
                    <a:pt x="1424" y="359"/>
                  </a:lnTo>
                  <a:lnTo>
                    <a:pt x="1420" y="353"/>
                  </a:lnTo>
                  <a:lnTo>
                    <a:pt x="1417" y="346"/>
                  </a:lnTo>
                  <a:lnTo>
                    <a:pt x="1414" y="338"/>
                  </a:lnTo>
                  <a:lnTo>
                    <a:pt x="1411" y="330"/>
                  </a:lnTo>
                  <a:lnTo>
                    <a:pt x="1410" y="322"/>
                  </a:lnTo>
                  <a:lnTo>
                    <a:pt x="1408" y="313"/>
                  </a:lnTo>
                  <a:lnTo>
                    <a:pt x="1408" y="308"/>
                  </a:lnTo>
                  <a:lnTo>
                    <a:pt x="1407" y="304"/>
                  </a:lnTo>
                  <a:lnTo>
                    <a:pt x="1407" y="294"/>
                  </a:lnTo>
                  <a:lnTo>
                    <a:pt x="1407" y="285"/>
                  </a:lnTo>
                  <a:lnTo>
                    <a:pt x="1408" y="277"/>
                  </a:lnTo>
                  <a:lnTo>
                    <a:pt x="1409" y="268"/>
                  </a:lnTo>
                  <a:lnTo>
                    <a:pt x="1410" y="261"/>
                  </a:lnTo>
                  <a:lnTo>
                    <a:pt x="1412" y="253"/>
                  </a:lnTo>
                  <a:lnTo>
                    <a:pt x="1415" y="246"/>
                  </a:lnTo>
                  <a:lnTo>
                    <a:pt x="1417" y="239"/>
                  </a:lnTo>
                  <a:lnTo>
                    <a:pt x="1420" y="232"/>
                  </a:lnTo>
                  <a:lnTo>
                    <a:pt x="1424" y="225"/>
                  </a:lnTo>
                  <a:lnTo>
                    <a:pt x="1428" y="219"/>
                  </a:lnTo>
                  <a:lnTo>
                    <a:pt x="1436" y="208"/>
                  </a:lnTo>
                  <a:lnTo>
                    <a:pt x="1441" y="202"/>
                  </a:lnTo>
                  <a:lnTo>
                    <a:pt x="1446" y="197"/>
                  </a:lnTo>
                  <a:lnTo>
                    <a:pt x="1457" y="188"/>
                  </a:lnTo>
                  <a:lnTo>
                    <a:pt x="1463" y="183"/>
                  </a:lnTo>
                  <a:lnTo>
                    <a:pt x="1469" y="179"/>
                  </a:lnTo>
                  <a:lnTo>
                    <a:pt x="1483" y="172"/>
                  </a:lnTo>
                  <a:lnTo>
                    <a:pt x="1490" y="169"/>
                  </a:lnTo>
                  <a:lnTo>
                    <a:pt x="1497" y="166"/>
                  </a:lnTo>
                  <a:lnTo>
                    <a:pt x="1512" y="161"/>
                  </a:lnTo>
                  <a:lnTo>
                    <a:pt x="1528" y="157"/>
                  </a:lnTo>
                  <a:lnTo>
                    <a:pt x="1544" y="154"/>
                  </a:lnTo>
                  <a:lnTo>
                    <a:pt x="1561" y="152"/>
                  </a:lnTo>
                  <a:lnTo>
                    <a:pt x="1579" y="152"/>
                  </a:lnTo>
                  <a:lnTo>
                    <a:pt x="1595" y="152"/>
                  </a:lnTo>
                  <a:lnTo>
                    <a:pt x="1611" y="153"/>
                  </a:lnTo>
                  <a:lnTo>
                    <a:pt x="1626" y="154"/>
                  </a:lnTo>
                  <a:lnTo>
                    <a:pt x="1641" y="156"/>
                  </a:lnTo>
                  <a:lnTo>
                    <a:pt x="1654" y="158"/>
                  </a:lnTo>
                  <a:lnTo>
                    <a:pt x="1667" y="160"/>
                  </a:lnTo>
                  <a:lnTo>
                    <a:pt x="1679" y="163"/>
                  </a:lnTo>
                  <a:lnTo>
                    <a:pt x="1691" y="167"/>
                  </a:lnTo>
                  <a:lnTo>
                    <a:pt x="1702" y="170"/>
                  </a:lnTo>
                  <a:lnTo>
                    <a:pt x="1713" y="174"/>
                  </a:lnTo>
                  <a:lnTo>
                    <a:pt x="1723" y="179"/>
                  </a:lnTo>
                  <a:lnTo>
                    <a:pt x="1733" y="183"/>
                  </a:lnTo>
                  <a:lnTo>
                    <a:pt x="1742" y="188"/>
                  </a:lnTo>
                  <a:lnTo>
                    <a:pt x="1751" y="194"/>
                  </a:lnTo>
                  <a:lnTo>
                    <a:pt x="1768" y="205"/>
                  </a:lnTo>
                  <a:lnTo>
                    <a:pt x="1770" y="207"/>
                  </a:lnTo>
                  <a:lnTo>
                    <a:pt x="1771" y="209"/>
                  </a:lnTo>
                  <a:lnTo>
                    <a:pt x="1772" y="211"/>
                  </a:lnTo>
                  <a:lnTo>
                    <a:pt x="1772" y="212"/>
                  </a:lnTo>
                  <a:lnTo>
                    <a:pt x="1771" y="215"/>
                  </a:lnTo>
                  <a:lnTo>
                    <a:pt x="1770" y="216"/>
                  </a:lnTo>
                  <a:lnTo>
                    <a:pt x="1722" y="288"/>
                  </a:lnTo>
                  <a:lnTo>
                    <a:pt x="1720" y="290"/>
                  </a:lnTo>
                  <a:lnTo>
                    <a:pt x="1718" y="292"/>
                  </a:lnTo>
                  <a:lnTo>
                    <a:pt x="1716" y="292"/>
                  </a:lnTo>
                  <a:lnTo>
                    <a:pt x="1715" y="292"/>
                  </a:lnTo>
                  <a:lnTo>
                    <a:pt x="1711" y="292"/>
                  </a:lnTo>
                  <a:lnTo>
                    <a:pt x="1708" y="290"/>
                  </a:lnTo>
                  <a:lnTo>
                    <a:pt x="1693" y="282"/>
                  </a:lnTo>
                  <a:lnTo>
                    <a:pt x="1677" y="274"/>
                  </a:lnTo>
                  <a:lnTo>
                    <a:pt x="1662" y="268"/>
                  </a:lnTo>
                  <a:lnTo>
                    <a:pt x="1647" y="263"/>
                  </a:lnTo>
                  <a:lnTo>
                    <a:pt x="1633" y="258"/>
                  </a:lnTo>
                  <a:lnTo>
                    <a:pt x="1619" y="255"/>
                  </a:lnTo>
                  <a:lnTo>
                    <a:pt x="1612" y="254"/>
                  </a:lnTo>
                  <a:lnTo>
                    <a:pt x="1606" y="254"/>
                  </a:lnTo>
                  <a:lnTo>
                    <a:pt x="1593" y="253"/>
                  </a:lnTo>
                  <a:lnTo>
                    <a:pt x="1584" y="253"/>
                  </a:lnTo>
                  <a:lnTo>
                    <a:pt x="1576" y="254"/>
                  </a:lnTo>
                  <a:lnTo>
                    <a:pt x="1568" y="256"/>
                  </a:lnTo>
                  <a:lnTo>
                    <a:pt x="1562" y="259"/>
                  </a:lnTo>
                  <a:lnTo>
                    <a:pt x="1560" y="261"/>
                  </a:lnTo>
                  <a:lnTo>
                    <a:pt x="1557" y="263"/>
                  </a:lnTo>
                  <a:lnTo>
                    <a:pt x="1554" y="267"/>
                  </a:lnTo>
                  <a:lnTo>
                    <a:pt x="1552" y="270"/>
                  </a:lnTo>
                  <a:lnTo>
                    <a:pt x="1551" y="273"/>
                  </a:lnTo>
                  <a:lnTo>
                    <a:pt x="1551" y="276"/>
                  </a:lnTo>
                  <a:lnTo>
                    <a:pt x="1550" y="280"/>
                  </a:lnTo>
                  <a:lnTo>
                    <a:pt x="1551" y="283"/>
                  </a:lnTo>
                  <a:lnTo>
                    <a:pt x="1551" y="286"/>
                  </a:lnTo>
                  <a:lnTo>
                    <a:pt x="1553" y="289"/>
                  </a:lnTo>
                  <a:lnTo>
                    <a:pt x="1555" y="292"/>
                  </a:lnTo>
                  <a:lnTo>
                    <a:pt x="1557" y="295"/>
                  </a:lnTo>
                  <a:lnTo>
                    <a:pt x="1560" y="297"/>
                  </a:lnTo>
                  <a:lnTo>
                    <a:pt x="1563" y="299"/>
                  </a:lnTo>
                  <a:lnTo>
                    <a:pt x="1567" y="301"/>
                  </a:lnTo>
                  <a:lnTo>
                    <a:pt x="1576" y="304"/>
                  </a:lnTo>
                  <a:lnTo>
                    <a:pt x="1587" y="307"/>
                  </a:lnTo>
                  <a:lnTo>
                    <a:pt x="1600" y="309"/>
                  </a:lnTo>
                  <a:lnTo>
                    <a:pt x="1615" y="312"/>
                  </a:lnTo>
                  <a:lnTo>
                    <a:pt x="1642" y="316"/>
                  </a:lnTo>
                  <a:lnTo>
                    <a:pt x="1657" y="318"/>
                  </a:lnTo>
                  <a:lnTo>
                    <a:pt x="1672" y="321"/>
                  </a:lnTo>
                  <a:lnTo>
                    <a:pt x="1686" y="325"/>
                  </a:lnTo>
                  <a:lnTo>
                    <a:pt x="1701" y="329"/>
                  </a:lnTo>
                  <a:lnTo>
                    <a:pt x="1715" y="334"/>
                  </a:lnTo>
                  <a:lnTo>
                    <a:pt x="1728" y="340"/>
                  </a:lnTo>
                  <a:lnTo>
                    <a:pt x="1740" y="348"/>
                  </a:lnTo>
                  <a:lnTo>
                    <a:pt x="1746" y="352"/>
                  </a:lnTo>
                  <a:lnTo>
                    <a:pt x="1752" y="356"/>
                  </a:lnTo>
                  <a:lnTo>
                    <a:pt x="1757" y="361"/>
                  </a:lnTo>
                  <a:lnTo>
                    <a:pt x="1762" y="366"/>
                  </a:lnTo>
                  <a:lnTo>
                    <a:pt x="1766" y="371"/>
                  </a:lnTo>
                  <a:lnTo>
                    <a:pt x="1771" y="377"/>
                  </a:lnTo>
                  <a:lnTo>
                    <a:pt x="1774" y="383"/>
                  </a:lnTo>
                  <a:lnTo>
                    <a:pt x="1778" y="390"/>
                  </a:lnTo>
                  <a:lnTo>
                    <a:pt x="1781" y="397"/>
                  </a:lnTo>
                  <a:lnTo>
                    <a:pt x="1783" y="404"/>
                  </a:lnTo>
                  <a:lnTo>
                    <a:pt x="1785" y="412"/>
                  </a:lnTo>
                  <a:lnTo>
                    <a:pt x="1787" y="420"/>
                  </a:lnTo>
                  <a:lnTo>
                    <a:pt x="1787" y="425"/>
                  </a:lnTo>
                  <a:lnTo>
                    <a:pt x="1787" y="429"/>
                  </a:lnTo>
                  <a:lnTo>
                    <a:pt x="1788" y="438"/>
                  </a:lnTo>
                  <a:lnTo>
                    <a:pt x="1787" y="449"/>
                  </a:lnTo>
                  <a:lnTo>
                    <a:pt x="1787" y="458"/>
                  </a:lnTo>
                  <a:lnTo>
                    <a:pt x="1785" y="468"/>
                  </a:lnTo>
                  <a:lnTo>
                    <a:pt x="1783" y="477"/>
                  </a:lnTo>
                  <a:lnTo>
                    <a:pt x="1781" y="485"/>
                  </a:lnTo>
                  <a:lnTo>
                    <a:pt x="1778" y="494"/>
                  </a:lnTo>
                  <a:lnTo>
                    <a:pt x="1775" y="501"/>
                  </a:lnTo>
                  <a:lnTo>
                    <a:pt x="1771" y="509"/>
                  </a:lnTo>
                  <a:lnTo>
                    <a:pt x="1767" y="516"/>
                  </a:lnTo>
                  <a:lnTo>
                    <a:pt x="1763" y="523"/>
                  </a:lnTo>
                  <a:lnTo>
                    <a:pt x="1758" y="529"/>
                  </a:lnTo>
                  <a:lnTo>
                    <a:pt x="1752" y="535"/>
                  </a:lnTo>
                  <a:lnTo>
                    <a:pt x="1747" y="540"/>
                  </a:lnTo>
                  <a:lnTo>
                    <a:pt x="1741" y="546"/>
                  </a:lnTo>
                  <a:lnTo>
                    <a:pt x="1734" y="550"/>
                  </a:lnTo>
                  <a:lnTo>
                    <a:pt x="1728" y="555"/>
                  </a:lnTo>
                  <a:lnTo>
                    <a:pt x="1721" y="559"/>
                  </a:lnTo>
                  <a:lnTo>
                    <a:pt x="1714" y="563"/>
                  </a:lnTo>
                  <a:lnTo>
                    <a:pt x="1699" y="570"/>
                  </a:lnTo>
                  <a:lnTo>
                    <a:pt x="1683" y="576"/>
                  </a:lnTo>
                  <a:lnTo>
                    <a:pt x="1675" y="578"/>
                  </a:lnTo>
                  <a:lnTo>
                    <a:pt x="1666" y="580"/>
                  </a:lnTo>
                  <a:lnTo>
                    <a:pt x="1649" y="584"/>
                  </a:lnTo>
                  <a:lnTo>
                    <a:pt x="1631" y="586"/>
                  </a:lnTo>
                  <a:lnTo>
                    <a:pt x="1613" y="588"/>
                  </a:lnTo>
                  <a:lnTo>
                    <a:pt x="1595" y="58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Tree>
    <p:extLst>
      <p:ext uri="{BB962C8B-B14F-4D97-AF65-F5344CB8AC3E}">
        <p14:creationId xmlns:p14="http://schemas.microsoft.com/office/powerpoint/2010/main" val="3770794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ig Picture right (Logs)">
    <p:spTree>
      <p:nvGrpSpPr>
        <p:cNvPr id="1" name=""/>
        <p:cNvGrpSpPr/>
        <p:nvPr/>
      </p:nvGrpSpPr>
      <p:grpSpPr>
        <a:xfrm>
          <a:off x="0" y="0"/>
          <a:ext cx="0" cy="0"/>
          <a:chOff x="0" y="0"/>
          <a:chExt cx="0" cy="0"/>
        </a:xfrm>
      </p:grpSpPr>
      <p:pic>
        <p:nvPicPr>
          <p:cNvPr id="2" name="Picture Placeholder 3" descr="A picture containing indoor, grill, cooking, food&#10;&#10;Description automatically generated">
            <a:extLst>
              <a:ext uri="{FF2B5EF4-FFF2-40B4-BE49-F238E27FC236}">
                <a16:creationId xmlns:a16="http://schemas.microsoft.com/office/drawing/2014/main" id="{C0979CF0-6B04-47D6-900A-5726668F18B1}"/>
              </a:ext>
            </a:extLst>
          </p:cNvPr>
          <p:cNvPicPr>
            <a:picLocks noChangeAspect="1"/>
          </p:cNvPicPr>
          <p:nvPr/>
        </p:nvPicPr>
        <p:blipFill rotWithShape="1">
          <a:blip r:embed="rId2">
            <a:extLst>
              <a:ext uri="{28A0092B-C50C-407E-A947-70E740481C1C}">
                <a14:useLocalDpi xmlns:a14="http://schemas.microsoft.com/office/drawing/2010/main" val="0"/>
              </a:ext>
            </a:extLst>
          </a:blip>
          <a:srcRect l="16492" r="16492"/>
          <a:stretch/>
        </p:blipFill>
        <p:spPr>
          <a:xfrm>
            <a:off x="6096001" y="0"/>
            <a:ext cx="6095999" cy="6858000"/>
          </a:xfrm>
          <a:prstGeom prst="rect">
            <a:avLst/>
          </a:prstGeom>
        </p:spPr>
      </p:pic>
      <p:sp>
        <p:nvSpPr>
          <p:cNvPr id="7" name="Slide Number Placeholder 6">
            <a:extLst>
              <a:ext uri="{FF2B5EF4-FFF2-40B4-BE49-F238E27FC236}">
                <a16:creationId xmlns:a16="http://schemas.microsoft.com/office/drawing/2014/main" id="{9849E869-CB09-B943-9C5F-24DED59FEDD8}"/>
              </a:ext>
            </a:extLst>
          </p:cNvPr>
          <p:cNvSpPr>
            <a:spLocks noGrp="1"/>
          </p:cNvSpPr>
          <p:nvPr>
            <p:ph type="sldNum" sz="quarter" idx="12"/>
          </p:nvPr>
        </p:nvSpPr>
        <p:spPr>
          <a:xfrm>
            <a:off x="8610322" y="6356350"/>
            <a:ext cx="2743836" cy="365125"/>
          </a:xfrm>
          <a:prstGeom prst="rect">
            <a:avLst/>
          </a:prstGeom>
        </p:spPr>
        <p:txBody>
          <a:bodyPr/>
          <a:lstStyle/>
          <a:p>
            <a:fld id="{31D46FE9-59C4-E840-8771-1A760DA03844}" type="slidenum">
              <a:rPr lang="en-FI" smtClean="0"/>
              <a:t>‹#›</a:t>
            </a:fld>
            <a:endParaRPr lang="en-FI"/>
          </a:p>
        </p:txBody>
      </p:sp>
      <p:sp>
        <p:nvSpPr>
          <p:cNvPr id="9" name="Text Placeholder 14">
            <a:extLst>
              <a:ext uri="{FF2B5EF4-FFF2-40B4-BE49-F238E27FC236}">
                <a16:creationId xmlns:a16="http://schemas.microsoft.com/office/drawing/2014/main" id="{4C005275-08DB-4F40-BAAB-5412757D1F9D}"/>
              </a:ext>
            </a:extLst>
          </p:cNvPr>
          <p:cNvSpPr>
            <a:spLocks noGrp="1"/>
          </p:cNvSpPr>
          <p:nvPr>
            <p:ph type="body" sz="quarter" idx="16"/>
          </p:nvPr>
        </p:nvSpPr>
        <p:spPr>
          <a:xfrm>
            <a:off x="449149" y="1220981"/>
            <a:ext cx="4802928" cy="4201150"/>
          </a:xfrm>
          <a:prstGeom prst="rect">
            <a:avLst/>
          </a:prstGeom>
        </p:spPr>
        <p:txBody>
          <a:bodyPr/>
          <a:lstStyle>
            <a:lvl1pPr marL="1143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1pPr>
            <a:lvl2pPr marL="3429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2pPr>
            <a:lvl3pPr marL="5715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3pPr>
            <a:lvl4pPr marL="8001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4pPr>
            <a:lvl5pPr marL="1028700" indent="-114300">
              <a:buClr>
                <a:srgbClr val="44546A"/>
              </a:buClr>
              <a:buFont typeface="Arial" panose="020B0604020202020204" pitchFamily="34" charset="0"/>
              <a:buChar char="•"/>
              <a:defRPr sz="2400" b="0" i="0">
                <a:solidFill>
                  <a:srgbClr val="44546A"/>
                </a:solidFill>
                <a:latin typeface="Cabin"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itle 1">
            <a:extLst>
              <a:ext uri="{FF2B5EF4-FFF2-40B4-BE49-F238E27FC236}">
                <a16:creationId xmlns:a16="http://schemas.microsoft.com/office/drawing/2014/main" id="{1902216B-A786-014F-895B-0CDE820A830E}"/>
              </a:ext>
            </a:extLst>
          </p:cNvPr>
          <p:cNvSpPr>
            <a:spLocks noGrp="1"/>
          </p:cNvSpPr>
          <p:nvPr>
            <p:ph type="title"/>
          </p:nvPr>
        </p:nvSpPr>
        <p:spPr>
          <a:xfrm>
            <a:off x="449149" y="405030"/>
            <a:ext cx="4802928" cy="761286"/>
          </a:xfrm>
          <a:prstGeom prst="rect">
            <a:avLst/>
          </a:prstGeom>
        </p:spPr>
        <p:txBody>
          <a:bodyPr/>
          <a:lstStyle>
            <a:lvl1pPr>
              <a:defRPr sz="4800" b="1" i="0">
                <a:solidFill>
                  <a:schemeClr val="tx2"/>
                </a:solidFill>
                <a:latin typeface="Calibri" panose="020F0502020204030204" pitchFamily="34" charset="0"/>
                <a:cs typeface="Calibri" panose="020F0502020204030204" pitchFamily="34" charset="0"/>
              </a:defRPr>
            </a:lvl1pPr>
          </a:lstStyle>
          <a:p>
            <a:endParaRPr lang="en-FI"/>
          </a:p>
        </p:txBody>
      </p:sp>
    </p:spTree>
    <p:extLst>
      <p:ext uri="{BB962C8B-B14F-4D97-AF65-F5344CB8AC3E}">
        <p14:creationId xmlns:p14="http://schemas.microsoft.com/office/powerpoint/2010/main" val="24394660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ig Picture right (Straws)">
    <p:spTree>
      <p:nvGrpSpPr>
        <p:cNvPr id="1" name=""/>
        <p:cNvGrpSpPr/>
        <p:nvPr/>
      </p:nvGrpSpPr>
      <p:grpSpPr>
        <a:xfrm>
          <a:off x="0" y="0"/>
          <a:ext cx="0" cy="0"/>
          <a:chOff x="0" y="0"/>
          <a:chExt cx="0" cy="0"/>
        </a:xfrm>
      </p:grpSpPr>
      <p:pic>
        <p:nvPicPr>
          <p:cNvPr id="5" name="Picture Placeholder 3" descr="A close up of a dry grass field&#10;&#10;Description automatically generated">
            <a:extLst>
              <a:ext uri="{FF2B5EF4-FFF2-40B4-BE49-F238E27FC236}">
                <a16:creationId xmlns:a16="http://schemas.microsoft.com/office/drawing/2014/main" id="{89B71D95-4B3A-4839-BE0B-C8B3B7D35B57}"/>
              </a:ext>
            </a:extLst>
          </p:cNvPr>
          <p:cNvPicPr>
            <a:picLocks noChangeAspect="1"/>
          </p:cNvPicPr>
          <p:nvPr/>
        </p:nvPicPr>
        <p:blipFill>
          <a:blip r:embed="rId2">
            <a:extLst>
              <a:ext uri="{28A0092B-C50C-407E-A947-70E740481C1C}">
                <a14:useLocalDpi xmlns:a14="http://schemas.microsoft.com/office/drawing/2010/main" val="0"/>
              </a:ext>
            </a:extLst>
          </a:blip>
          <a:srcRect l="16492" r="16492"/>
          <a:stretch>
            <a:fillRect/>
          </a:stretch>
        </p:blipFill>
        <p:spPr>
          <a:xfrm>
            <a:off x="6096001" y="0"/>
            <a:ext cx="6095999" cy="6858000"/>
          </a:xfrm>
          <a:prstGeom prst="rect">
            <a:avLst/>
          </a:prstGeom>
        </p:spPr>
      </p:pic>
      <p:sp>
        <p:nvSpPr>
          <p:cNvPr id="7" name="Slide Number Placeholder 6">
            <a:extLst>
              <a:ext uri="{FF2B5EF4-FFF2-40B4-BE49-F238E27FC236}">
                <a16:creationId xmlns:a16="http://schemas.microsoft.com/office/drawing/2014/main" id="{9849E869-CB09-B943-9C5F-24DED59FEDD8}"/>
              </a:ext>
            </a:extLst>
          </p:cNvPr>
          <p:cNvSpPr>
            <a:spLocks noGrp="1"/>
          </p:cNvSpPr>
          <p:nvPr>
            <p:ph type="sldNum" sz="quarter" idx="12"/>
          </p:nvPr>
        </p:nvSpPr>
        <p:spPr>
          <a:xfrm>
            <a:off x="8610322" y="6356350"/>
            <a:ext cx="2743836" cy="365125"/>
          </a:xfrm>
          <a:prstGeom prst="rect">
            <a:avLst/>
          </a:prstGeom>
        </p:spPr>
        <p:txBody>
          <a:bodyPr/>
          <a:lstStyle/>
          <a:p>
            <a:fld id="{31D46FE9-59C4-E840-8771-1A760DA03844}" type="slidenum">
              <a:rPr lang="en-FI" smtClean="0"/>
              <a:t>‹#›</a:t>
            </a:fld>
            <a:endParaRPr lang="en-FI"/>
          </a:p>
        </p:txBody>
      </p:sp>
      <p:sp>
        <p:nvSpPr>
          <p:cNvPr id="9" name="Text Placeholder 14">
            <a:extLst>
              <a:ext uri="{FF2B5EF4-FFF2-40B4-BE49-F238E27FC236}">
                <a16:creationId xmlns:a16="http://schemas.microsoft.com/office/drawing/2014/main" id="{4C005275-08DB-4F40-BAAB-5412757D1F9D}"/>
              </a:ext>
            </a:extLst>
          </p:cNvPr>
          <p:cNvSpPr>
            <a:spLocks noGrp="1"/>
          </p:cNvSpPr>
          <p:nvPr>
            <p:ph type="body" sz="quarter" idx="16"/>
          </p:nvPr>
        </p:nvSpPr>
        <p:spPr>
          <a:xfrm>
            <a:off x="449149" y="1220981"/>
            <a:ext cx="4802928" cy="4201150"/>
          </a:xfrm>
          <a:prstGeom prst="rect">
            <a:avLst/>
          </a:prstGeom>
        </p:spPr>
        <p:txBody>
          <a:bodyPr/>
          <a:lstStyle>
            <a:lvl1pPr marL="1143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1pPr>
            <a:lvl2pPr marL="3429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2pPr>
            <a:lvl3pPr marL="5715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3pPr>
            <a:lvl4pPr marL="8001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4pPr>
            <a:lvl5pPr marL="1028700" indent="-114300">
              <a:buClr>
                <a:srgbClr val="44546A"/>
              </a:buClr>
              <a:buFont typeface="Arial" panose="020B0604020202020204" pitchFamily="34" charset="0"/>
              <a:buChar char="•"/>
              <a:defRPr sz="2400" b="0" i="0">
                <a:solidFill>
                  <a:srgbClr val="44546A"/>
                </a:solidFill>
                <a:latin typeface="Cabin"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itle 1">
            <a:extLst>
              <a:ext uri="{FF2B5EF4-FFF2-40B4-BE49-F238E27FC236}">
                <a16:creationId xmlns:a16="http://schemas.microsoft.com/office/drawing/2014/main" id="{40D2AAB8-BB48-4041-A666-CD323E2C812D}"/>
              </a:ext>
            </a:extLst>
          </p:cNvPr>
          <p:cNvSpPr>
            <a:spLocks noGrp="1"/>
          </p:cNvSpPr>
          <p:nvPr>
            <p:ph type="title"/>
          </p:nvPr>
        </p:nvSpPr>
        <p:spPr>
          <a:xfrm>
            <a:off x="449149" y="405030"/>
            <a:ext cx="4802928" cy="761286"/>
          </a:xfrm>
          <a:prstGeom prst="rect">
            <a:avLst/>
          </a:prstGeom>
        </p:spPr>
        <p:txBody>
          <a:bodyPr/>
          <a:lstStyle>
            <a:lvl1pPr>
              <a:defRPr sz="4800" b="1" i="0">
                <a:solidFill>
                  <a:schemeClr val="tx2"/>
                </a:solidFill>
                <a:latin typeface="Calibri" panose="020F0502020204030204" pitchFamily="34" charset="0"/>
                <a:cs typeface="Calibri" panose="020F0502020204030204" pitchFamily="34" charset="0"/>
              </a:defRPr>
            </a:lvl1pPr>
          </a:lstStyle>
          <a:p>
            <a:endParaRPr lang="en-FI"/>
          </a:p>
        </p:txBody>
      </p:sp>
    </p:spTree>
    <p:extLst>
      <p:ext uri="{BB962C8B-B14F-4D97-AF65-F5344CB8AC3E}">
        <p14:creationId xmlns:p14="http://schemas.microsoft.com/office/powerpoint/2010/main" val="27803766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rip Picture right (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52DB6F3-A045-4ABC-B17C-11C8362F4365}"/>
              </a:ext>
            </a:extLst>
          </p:cNvPr>
          <p:cNvSpPr>
            <a:spLocks noGrp="1"/>
          </p:cNvSpPr>
          <p:nvPr>
            <p:ph type="pic" sz="quarter" idx="17"/>
          </p:nvPr>
        </p:nvSpPr>
        <p:spPr>
          <a:xfrm>
            <a:off x="9140825" y="0"/>
            <a:ext cx="3051175" cy="6858000"/>
          </a:xfrm>
          <a:prstGeom prst="rect">
            <a:avLst/>
          </a:prstGeom>
        </p:spPr>
        <p:txBody>
          <a:bodyPr/>
          <a:lstStyle/>
          <a:p>
            <a:endParaRPr lang="en-FI"/>
          </a:p>
        </p:txBody>
      </p:sp>
      <p:sp>
        <p:nvSpPr>
          <p:cNvPr id="7" name="Slide Number Placeholder 6">
            <a:extLst>
              <a:ext uri="{FF2B5EF4-FFF2-40B4-BE49-F238E27FC236}">
                <a16:creationId xmlns:a16="http://schemas.microsoft.com/office/drawing/2014/main" id="{9849E869-CB09-B943-9C5F-24DED59FEDD8}"/>
              </a:ext>
            </a:extLst>
          </p:cNvPr>
          <p:cNvSpPr>
            <a:spLocks noGrp="1"/>
          </p:cNvSpPr>
          <p:nvPr>
            <p:ph type="sldNum" sz="quarter" idx="12"/>
          </p:nvPr>
        </p:nvSpPr>
        <p:spPr>
          <a:xfrm>
            <a:off x="8610322" y="6356350"/>
            <a:ext cx="2743836" cy="365125"/>
          </a:xfrm>
          <a:prstGeom prst="rect">
            <a:avLst/>
          </a:prstGeom>
        </p:spPr>
        <p:txBody>
          <a:bodyPr/>
          <a:lstStyle/>
          <a:p>
            <a:fld id="{31D46FE9-59C4-E840-8771-1A760DA03844}" type="slidenum">
              <a:rPr lang="en-FI" smtClean="0"/>
              <a:t>‹#›</a:t>
            </a:fld>
            <a:endParaRPr lang="en-FI"/>
          </a:p>
        </p:txBody>
      </p:sp>
      <p:sp>
        <p:nvSpPr>
          <p:cNvPr id="8" name="Text Placeholder 14">
            <a:extLst>
              <a:ext uri="{FF2B5EF4-FFF2-40B4-BE49-F238E27FC236}">
                <a16:creationId xmlns:a16="http://schemas.microsoft.com/office/drawing/2014/main" id="{83A07BCC-8204-F545-A4C6-166FC248BCBA}"/>
              </a:ext>
            </a:extLst>
          </p:cNvPr>
          <p:cNvSpPr>
            <a:spLocks noGrp="1"/>
          </p:cNvSpPr>
          <p:nvPr>
            <p:ph type="body" sz="quarter" idx="16"/>
          </p:nvPr>
        </p:nvSpPr>
        <p:spPr>
          <a:xfrm>
            <a:off x="444657" y="1220980"/>
            <a:ext cx="7856505" cy="4201150"/>
          </a:xfrm>
          <a:prstGeom prst="rect">
            <a:avLst/>
          </a:prstGeom>
        </p:spPr>
        <p:txBody>
          <a:bodyPr/>
          <a:lstStyle>
            <a:lvl1pPr marL="1143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1pPr>
            <a:lvl2pPr marL="3429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2pPr>
            <a:lvl3pPr marL="5715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3pPr>
            <a:lvl4pPr marL="8001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4pPr>
            <a:lvl5pPr marL="1028700" indent="-114300">
              <a:buClr>
                <a:srgbClr val="44546A"/>
              </a:buClr>
              <a:buFont typeface="Arial" panose="020B0604020202020204" pitchFamily="34" charset="0"/>
              <a:buChar char="•"/>
              <a:defRPr sz="2400" b="0" i="0">
                <a:solidFill>
                  <a:srgbClr val="44546A"/>
                </a:solidFill>
                <a:latin typeface="Cabin"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itle 1">
            <a:extLst>
              <a:ext uri="{FF2B5EF4-FFF2-40B4-BE49-F238E27FC236}">
                <a16:creationId xmlns:a16="http://schemas.microsoft.com/office/drawing/2014/main" id="{02EB17C4-89BE-134B-B647-39939E11C608}"/>
              </a:ext>
            </a:extLst>
          </p:cNvPr>
          <p:cNvSpPr>
            <a:spLocks noGrp="1"/>
          </p:cNvSpPr>
          <p:nvPr>
            <p:ph type="title"/>
          </p:nvPr>
        </p:nvSpPr>
        <p:spPr>
          <a:xfrm>
            <a:off x="449149" y="405030"/>
            <a:ext cx="7856506" cy="761286"/>
          </a:xfrm>
          <a:prstGeom prst="rect">
            <a:avLst/>
          </a:prstGeom>
        </p:spPr>
        <p:txBody>
          <a:bodyPr/>
          <a:lstStyle>
            <a:lvl1pPr>
              <a:defRPr sz="4400" b="1" i="0">
                <a:solidFill>
                  <a:schemeClr val="tx2"/>
                </a:solidFill>
                <a:latin typeface="Calibri" panose="020F0502020204030204" pitchFamily="34" charset="0"/>
                <a:cs typeface="Calibri" panose="020F0502020204030204" pitchFamily="34" charset="0"/>
              </a:defRPr>
            </a:lvl1pPr>
          </a:lstStyle>
          <a:p>
            <a:endParaRPr lang="en-FI"/>
          </a:p>
        </p:txBody>
      </p:sp>
    </p:spTree>
    <p:extLst>
      <p:ext uri="{BB962C8B-B14F-4D97-AF65-F5344CB8AC3E}">
        <p14:creationId xmlns:p14="http://schemas.microsoft.com/office/powerpoint/2010/main" val="42695017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trip Picture right (logs)">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9849E869-CB09-B943-9C5F-24DED59FEDD8}"/>
              </a:ext>
            </a:extLst>
          </p:cNvPr>
          <p:cNvSpPr>
            <a:spLocks noGrp="1"/>
          </p:cNvSpPr>
          <p:nvPr>
            <p:ph type="sldNum" sz="quarter" idx="12"/>
          </p:nvPr>
        </p:nvSpPr>
        <p:spPr>
          <a:xfrm>
            <a:off x="8610322" y="6356350"/>
            <a:ext cx="2743836" cy="365125"/>
          </a:xfrm>
          <a:prstGeom prst="rect">
            <a:avLst/>
          </a:prstGeom>
        </p:spPr>
        <p:txBody>
          <a:bodyPr/>
          <a:lstStyle/>
          <a:p>
            <a:fld id="{31D46FE9-59C4-E840-8771-1A760DA03844}" type="slidenum">
              <a:rPr lang="en-FI" smtClean="0"/>
              <a:t>‹#›</a:t>
            </a:fld>
            <a:endParaRPr lang="en-FI"/>
          </a:p>
        </p:txBody>
      </p:sp>
      <p:sp>
        <p:nvSpPr>
          <p:cNvPr id="8" name="Text Placeholder 14">
            <a:extLst>
              <a:ext uri="{FF2B5EF4-FFF2-40B4-BE49-F238E27FC236}">
                <a16:creationId xmlns:a16="http://schemas.microsoft.com/office/drawing/2014/main" id="{83A07BCC-8204-F545-A4C6-166FC248BCBA}"/>
              </a:ext>
            </a:extLst>
          </p:cNvPr>
          <p:cNvSpPr>
            <a:spLocks noGrp="1"/>
          </p:cNvSpPr>
          <p:nvPr>
            <p:ph type="body" sz="quarter" idx="16"/>
          </p:nvPr>
        </p:nvSpPr>
        <p:spPr>
          <a:xfrm>
            <a:off x="444658" y="1220980"/>
            <a:ext cx="7859958" cy="4201150"/>
          </a:xfrm>
          <a:prstGeom prst="rect">
            <a:avLst/>
          </a:prstGeom>
        </p:spPr>
        <p:txBody>
          <a:bodyPr/>
          <a:lstStyle>
            <a:lvl1pPr marL="1143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1pPr>
            <a:lvl2pPr marL="3429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2pPr>
            <a:lvl3pPr marL="5715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3pPr>
            <a:lvl4pPr marL="8001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4pPr>
            <a:lvl5pPr marL="1028700" indent="-114300">
              <a:buClr>
                <a:srgbClr val="44546A"/>
              </a:buClr>
              <a:buFont typeface="Arial" panose="020B0604020202020204" pitchFamily="34" charset="0"/>
              <a:buChar char="•"/>
              <a:defRPr sz="2400" b="0" i="0">
                <a:solidFill>
                  <a:srgbClr val="44546A"/>
                </a:solidFill>
                <a:latin typeface="Cabin"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11" name="Picture Placeholder 3" descr="A picture containing indoor, grill, cooking, food&#10;&#10;Description automatically generated">
            <a:extLst>
              <a:ext uri="{FF2B5EF4-FFF2-40B4-BE49-F238E27FC236}">
                <a16:creationId xmlns:a16="http://schemas.microsoft.com/office/drawing/2014/main" id="{57C248CE-C321-FC4A-918D-18ECEB689D07}"/>
              </a:ext>
            </a:extLst>
          </p:cNvPr>
          <p:cNvPicPr>
            <a:picLocks noChangeAspect="1"/>
          </p:cNvPicPr>
          <p:nvPr/>
        </p:nvPicPr>
        <p:blipFill rotWithShape="1">
          <a:blip r:embed="rId2">
            <a:extLst>
              <a:ext uri="{28A0092B-C50C-407E-A947-70E740481C1C}">
                <a14:useLocalDpi xmlns:a14="http://schemas.microsoft.com/office/drawing/2010/main" val="0"/>
              </a:ext>
            </a:extLst>
          </a:blip>
          <a:srcRect l="16492" r="50063"/>
          <a:stretch/>
        </p:blipFill>
        <p:spPr>
          <a:xfrm>
            <a:off x="9149670" y="0"/>
            <a:ext cx="3042330" cy="6858000"/>
          </a:xfrm>
          <a:prstGeom prst="rect">
            <a:avLst/>
          </a:prstGeom>
        </p:spPr>
      </p:pic>
      <p:sp>
        <p:nvSpPr>
          <p:cNvPr id="12" name="Title 1">
            <a:extLst>
              <a:ext uri="{FF2B5EF4-FFF2-40B4-BE49-F238E27FC236}">
                <a16:creationId xmlns:a16="http://schemas.microsoft.com/office/drawing/2014/main" id="{8B242728-8984-BD47-B0C5-516025A85948}"/>
              </a:ext>
            </a:extLst>
          </p:cNvPr>
          <p:cNvSpPr>
            <a:spLocks noGrp="1"/>
          </p:cNvSpPr>
          <p:nvPr>
            <p:ph type="title"/>
          </p:nvPr>
        </p:nvSpPr>
        <p:spPr>
          <a:xfrm>
            <a:off x="449148" y="405030"/>
            <a:ext cx="7859959" cy="761286"/>
          </a:xfrm>
          <a:prstGeom prst="rect">
            <a:avLst/>
          </a:prstGeom>
        </p:spPr>
        <p:txBody>
          <a:bodyPr/>
          <a:lstStyle>
            <a:lvl1pPr>
              <a:defRPr sz="4800" b="1" i="0">
                <a:solidFill>
                  <a:schemeClr val="tx2"/>
                </a:solidFill>
                <a:latin typeface="Calibri" panose="020F0502020204030204" pitchFamily="34" charset="0"/>
                <a:cs typeface="Calibri" panose="020F0502020204030204" pitchFamily="34" charset="0"/>
              </a:defRPr>
            </a:lvl1pPr>
          </a:lstStyle>
          <a:p>
            <a:endParaRPr lang="en-FI"/>
          </a:p>
        </p:txBody>
      </p:sp>
    </p:spTree>
    <p:extLst>
      <p:ext uri="{BB962C8B-B14F-4D97-AF65-F5344CB8AC3E}">
        <p14:creationId xmlns:p14="http://schemas.microsoft.com/office/powerpoint/2010/main" val="18555757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trip Picture right (straw)">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9849E869-CB09-B943-9C5F-24DED59FEDD8}"/>
              </a:ext>
            </a:extLst>
          </p:cNvPr>
          <p:cNvSpPr>
            <a:spLocks noGrp="1"/>
          </p:cNvSpPr>
          <p:nvPr>
            <p:ph type="sldNum" sz="quarter" idx="12"/>
          </p:nvPr>
        </p:nvSpPr>
        <p:spPr>
          <a:xfrm>
            <a:off x="8610322" y="6356350"/>
            <a:ext cx="2743836" cy="365125"/>
          </a:xfrm>
          <a:prstGeom prst="rect">
            <a:avLst/>
          </a:prstGeom>
        </p:spPr>
        <p:txBody>
          <a:bodyPr/>
          <a:lstStyle/>
          <a:p>
            <a:fld id="{31D46FE9-59C4-E840-8771-1A760DA03844}" type="slidenum">
              <a:rPr lang="en-FI" smtClean="0"/>
              <a:t>‹#›</a:t>
            </a:fld>
            <a:endParaRPr lang="en-FI"/>
          </a:p>
        </p:txBody>
      </p:sp>
      <p:sp>
        <p:nvSpPr>
          <p:cNvPr id="8" name="Text Placeholder 14">
            <a:extLst>
              <a:ext uri="{FF2B5EF4-FFF2-40B4-BE49-F238E27FC236}">
                <a16:creationId xmlns:a16="http://schemas.microsoft.com/office/drawing/2014/main" id="{83A07BCC-8204-F545-A4C6-166FC248BCBA}"/>
              </a:ext>
            </a:extLst>
          </p:cNvPr>
          <p:cNvSpPr>
            <a:spLocks noGrp="1"/>
          </p:cNvSpPr>
          <p:nvPr>
            <p:ph type="body" sz="quarter" idx="16"/>
          </p:nvPr>
        </p:nvSpPr>
        <p:spPr>
          <a:xfrm>
            <a:off x="444658" y="1220980"/>
            <a:ext cx="7859958" cy="4201150"/>
          </a:xfrm>
          <a:prstGeom prst="rect">
            <a:avLst/>
          </a:prstGeom>
        </p:spPr>
        <p:txBody>
          <a:bodyPr/>
          <a:lstStyle>
            <a:lvl1pPr marL="1143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1pPr>
            <a:lvl2pPr marL="3429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2pPr>
            <a:lvl3pPr marL="5715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3pPr>
            <a:lvl4pPr marL="800100" indent="-114300">
              <a:lnSpc>
                <a:spcPct val="100000"/>
              </a:lnSpc>
              <a:buClr>
                <a:srgbClr val="44546A"/>
              </a:buClr>
              <a:buFont typeface="Arial" panose="020B0604020202020204" pitchFamily="34" charset="0"/>
              <a:buChar char="•"/>
              <a:defRPr sz="1500" b="0" i="0">
                <a:solidFill>
                  <a:srgbClr val="44546A"/>
                </a:solidFill>
                <a:latin typeface="Calibri" panose="020F0502020204030204" pitchFamily="34" charset="0"/>
                <a:cs typeface="Calibri" panose="020F0502020204030204" pitchFamily="34" charset="0"/>
              </a:defRPr>
            </a:lvl4pPr>
            <a:lvl5pPr marL="1028700" indent="-114300">
              <a:buClr>
                <a:srgbClr val="44546A"/>
              </a:buClr>
              <a:buFont typeface="Arial" panose="020B0604020202020204" pitchFamily="34" charset="0"/>
              <a:buChar char="•"/>
              <a:defRPr sz="2400" b="0" i="0">
                <a:solidFill>
                  <a:srgbClr val="44546A"/>
                </a:solidFill>
                <a:latin typeface="Cabin"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10" name="Picture Placeholder 3" descr="A close up of a dry grass field&#10;&#10;Description automatically generated">
            <a:extLst>
              <a:ext uri="{FF2B5EF4-FFF2-40B4-BE49-F238E27FC236}">
                <a16:creationId xmlns:a16="http://schemas.microsoft.com/office/drawing/2014/main" id="{13603936-E99F-6141-A74C-369BDA22D335}"/>
              </a:ext>
            </a:extLst>
          </p:cNvPr>
          <p:cNvPicPr>
            <a:picLocks noChangeAspect="1"/>
          </p:cNvPicPr>
          <p:nvPr/>
        </p:nvPicPr>
        <p:blipFill rotWithShape="1">
          <a:blip r:embed="rId2">
            <a:extLst>
              <a:ext uri="{28A0092B-C50C-407E-A947-70E740481C1C}">
                <a14:useLocalDpi xmlns:a14="http://schemas.microsoft.com/office/drawing/2010/main" val="0"/>
              </a:ext>
            </a:extLst>
          </a:blip>
          <a:srcRect l="23702" r="42736"/>
          <a:stretch/>
        </p:blipFill>
        <p:spPr>
          <a:xfrm>
            <a:off x="9139097" y="0"/>
            <a:ext cx="3052903" cy="6858000"/>
          </a:xfrm>
          <a:prstGeom prst="rect">
            <a:avLst/>
          </a:prstGeom>
        </p:spPr>
      </p:pic>
      <p:sp>
        <p:nvSpPr>
          <p:cNvPr id="11" name="Title 1">
            <a:extLst>
              <a:ext uri="{FF2B5EF4-FFF2-40B4-BE49-F238E27FC236}">
                <a16:creationId xmlns:a16="http://schemas.microsoft.com/office/drawing/2014/main" id="{06CE6F32-B4D6-C44E-B65F-DCD01E9C1596}"/>
              </a:ext>
            </a:extLst>
          </p:cNvPr>
          <p:cNvSpPr>
            <a:spLocks noGrp="1"/>
          </p:cNvSpPr>
          <p:nvPr>
            <p:ph type="title"/>
          </p:nvPr>
        </p:nvSpPr>
        <p:spPr>
          <a:xfrm>
            <a:off x="449148" y="405030"/>
            <a:ext cx="7859957" cy="761286"/>
          </a:xfrm>
          <a:prstGeom prst="rect">
            <a:avLst/>
          </a:prstGeom>
        </p:spPr>
        <p:txBody>
          <a:bodyPr/>
          <a:lstStyle>
            <a:lvl1pPr>
              <a:defRPr sz="4800" b="1" i="0">
                <a:solidFill>
                  <a:schemeClr val="tx2"/>
                </a:solidFill>
                <a:latin typeface="Calibri" panose="020F0502020204030204" pitchFamily="34" charset="0"/>
                <a:cs typeface="Calibri" panose="020F0502020204030204" pitchFamily="34" charset="0"/>
              </a:defRPr>
            </a:lvl1pPr>
          </a:lstStyle>
          <a:p>
            <a:endParaRPr lang="en-FI"/>
          </a:p>
        </p:txBody>
      </p:sp>
    </p:spTree>
    <p:extLst>
      <p:ext uri="{BB962C8B-B14F-4D97-AF65-F5344CB8AC3E}">
        <p14:creationId xmlns:p14="http://schemas.microsoft.com/office/powerpoint/2010/main" val="3195711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le_slide_pictur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0E78E3C-D4DC-7934-38E4-39DC60DDC450}"/>
              </a:ext>
            </a:extLst>
          </p:cNvPr>
          <p:cNvSpPr>
            <a:spLocks noGrp="1"/>
          </p:cNvSpPr>
          <p:nvPr>
            <p:ph type="pic" sz="quarter" idx="16"/>
          </p:nvPr>
        </p:nvSpPr>
        <p:spPr>
          <a:xfrm>
            <a:off x="0" y="0"/>
            <a:ext cx="12192000" cy="6858000"/>
          </a:xfrm>
          <a:prstGeom prst="rect">
            <a:avLst/>
          </a:prstGeom>
          <a:solidFill>
            <a:schemeClr val="bg1">
              <a:lumMod val="85000"/>
            </a:schemeClr>
          </a:solidFill>
        </p:spPr>
        <p:txBody>
          <a:bodyPr wrap="square">
            <a:noAutofit/>
          </a:bodyPr>
          <a:lstStyle>
            <a:lvl1pPr marL="0" indent="0" algn="r">
              <a:buFontTx/>
              <a:buNone/>
              <a:defRPr sz="1200" b="0"/>
            </a:lvl1pPr>
          </a:lstStyle>
          <a:p>
            <a:r>
              <a:rPr lang="en-US"/>
              <a:t>Click icon to add picture</a:t>
            </a:r>
            <a:endParaRPr lang="en-GB"/>
          </a:p>
        </p:txBody>
      </p:sp>
      <p:sp>
        <p:nvSpPr>
          <p:cNvPr id="4" name="Date Placeholder 3"/>
          <p:cNvSpPr>
            <a:spLocks noGrp="1"/>
          </p:cNvSpPr>
          <p:nvPr>
            <p:ph type="dt" sz="half" idx="10"/>
          </p:nvPr>
        </p:nvSpPr>
        <p:spPr>
          <a:noFill/>
        </p:spPr>
        <p:txBody>
          <a:bodyPr/>
          <a:lstStyle>
            <a:lvl1pPr>
              <a:defRPr>
                <a:noFill/>
              </a:defRPr>
            </a:lvl1pPr>
          </a:lstStyle>
          <a:p>
            <a:fld id="{6F83D7BE-8A27-496E-894E-81654F87A7CC}" type="datetime1">
              <a:rPr lang="en-GB" noProof="0" smtClean="0"/>
              <a:t>22/10/2025</a:t>
            </a:fld>
            <a:endParaRPr lang="en-GB" noProof="0"/>
          </a:p>
        </p:txBody>
      </p:sp>
      <p:sp>
        <p:nvSpPr>
          <p:cNvPr id="5" name="Footer Placeholder 4"/>
          <p:cNvSpPr>
            <a:spLocks noGrp="1"/>
          </p:cNvSpPr>
          <p:nvPr>
            <p:ph type="ftr" sz="quarter" idx="11"/>
          </p:nvPr>
        </p:nvSpPr>
        <p:spPr>
          <a:noFill/>
        </p:spPr>
        <p:txBody>
          <a:bodyPr/>
          <a:lstStyle>
            <a:lvl1pPr>
              <a:defRPr>
                <a:noFill/>
              </a:defRPr>
            </a:lvl1pPr>
          </a:lstStyle>
          <a:p>
            <a:r>
              <a:rPr lang="en-GB" noProof="0"/>
              <a:t>Katariina Kemppainen</a:t>
            </a:r>
          </a:p>
        </p:txBody>
      </p:sp>
      <p:sp>
        <p:nvSpPr>
          <p:cNvPr id="6" name="Slide Number Placeholder 5"/>
          <p:cNvSpPr>
            <a:spLocks noGrp="1"/>
          </p:cNvSpPr>
          <p:nvPr>
            <p:ph type="sldNum" sz="quarter" idx="12"/>
          </p:nvPr>
        </p:nvSpPr>
        <p:spPr>
          <a:noFill/>
        </p:spPr>
        <p:txBody>
          <a:bodyPr/>
          <a:lstStyle>
            <a:lvl1pPr>
              <a:defRPr>
                <a:noFill/>
              </a:defRPr>
            </a:lvl1pPr>
          </a:lstStyle>
          <a:p>
            <a:fld id="{F90E5A77-D385-4CDE-8FE8-D3E3CBE93E71}" type="slidenum">
              <a:rPr lang="en-GB" noProof="0" smtClean="0"/>
              <a:pPr/>
              <a:t>‹#›</a:t>
            </a:fld>
            <a:endParaRPr lang="en-GB" noProof="0"/>
          </a:p>
        </p:txBody>
      </p:sp>
      <p:sp>
        <p:nvSpPr>
          <p:cNvPr id="14" name="Text Placeholder 7"/>
          <p:cNvSpPr>
            <a:spLocks noGrp="1"/>
          </p:cNvSpPr>
          <p:nvPr>
            <p:ph type="body" sz="quarter" idx="14" hasCustomPrompt="1"/>
          </p:nvPr>
        </p:nvSpPr>
        <p:spPr>
          <a:xfrm>
            <a:off x="5195887" y="0"/>
            <a:ext cx="1800225" cy="260648"/>
          </a:xfrm>
          <a:noFill/>
        </p:spPr>
        <p:txBody>
          <a:bodyPr vert="horz" wrap="square" lIns="0" tIns="0" rIns="0" bIns="0" rtlCol="0" anchor="ctr" anchorCtr="1">
            <a:noAutofit/>
          </a:bodyPr>
          <a:lstStyle>
            <a:lvl1pPr marL="0" indent="0">
              <a:buFontTx/>
              <a:buNone/>
              <a:defRPr lang="en-US" sz="1000" baseline="0" dirty="0" smtClean="0">
                <a:solidFill>
                  <a:schemeClr val="bg1"/>
                </a:solidFill>
                <a:latin typeface="Fortum Sans TT Regular" panose="02010504010101010104" pitchFamily="2" charset="0"/>
              </a:defRPr>
            </a:lvl1pPr>
          </a:lstStyle>
          <a:p>
            <a:pPr marL="0" lvl="0" algn="ctr">
              <a:spcBef>
                <a:spcPts val="0"/>
              </a:spcBef>
              <a:spcAft>
                <a:spcPts val="0"/>
              </a:spcAft>
            </a:pPr>
            <a:r>
              <a:rPr lang="en-GB" noProof="0"/>
              <a:t>Click to add classification</a:t>
            </a:r>
          </a:p>
        </p:txBody>
      </p:sp>
      <p:sp>
        <p:nvSpPr>
          <p:cNvPr id="10" name="Text Placeholder 11">
            <a:extLst>
              <a:ext uri="{FF2B5EF4-FFF2-40B4-BE49-F238E27FC236}">
                <a16:creationId xmlns:a16="http://schemas.microsoft.com/office/drawing/2014/main" id="{5AB11EC5-CE64-F6E1-FA09-B491DDFDF95F}"/>
              </a:ext>
            </a:extLst>
          </p:cNvPr>
          <p:cNvSpPr>
            <a:spLocks noGrp="1"/>
          </p:cNvSpPr>
          <p:nvPr>
            <p:ph type="body" sz="quarter" idx="13" hasCustomPrompt="1"/>
          </p:nvPr>
        </p:nvSpPr>
        <p:spPr>
          <a:xfrm>
            <a:off x="695329" y="5013175"/>
            <a:ext cx="9072562" cy="1079649"/>
          </a:xfrm>
        </p:spPr>
        <p:txBody>
          <a:bodyPr>
            <a:normAutofit/>
          </a:bodyPr>
          <a:lstStyle>
            <a:lvl1pPr marL="0" indent="0">
              <a:buFontTx/>
              <a:buNone/>
              <a:defRPr sz="1600" b="0" baseline="0">
                <a:solidFill>
                  <a:schemeClr val="bg1"/>
                </a:solidFill>
                <a:effectLst/>
              </a:defRPr>
            </a:lvl1pPr>
          </a:lstStyle>
          <a:p>
            <a:pPr lvl="0"/>
            <a:r>
              <a:rPr lang="en-GB" noProof="0"/>
              <a:t>Name / Title / Date</a:t>
            </a:r>
          </a:p>
        </p:txBody>
      </p:sp>
      <p:sp>
        <p:nvSpPr>
          <p:cNvPr id="8" name="Subtitle 2">
            <a:extLst>
              <a:ext uri="{FF2B5EF4-FFF2-40B4-BE49-F238E27FC236}">
                <a16:creationId xmlns:a16="http://schemas.microsoft.com/office/drawing/2014/main" id="{334795B8-DAC0-DD69-21CA-43862FBA0938}"/>
              </a:ext>
            </a:extLst>
          </p:cNvPr>
          <p:cNvSpPr>
            <a:spLocks noGrp="1"/>
          </p:cNvSpPr>
          <p:nvPr>
            <p:ph type="subTitle" idx="1"/>
          </p:nvPr>
        </p:nvSpPr>
        <p:spPr>
          <a:xfrm>
            <a:off x="695333" y="4156367"/>
            <a:ext cx="9073074" cy="720080"/>
          </a:xfrm>
        </p:spPr>
        <p:txBody>
          <a:bodyPr anchor="t" anchorCtr="0">
            <a:noAutofit/>
          </a:bodyPr>
          <a:lstStyle>
            <a:lvl1pPr marL="0" indent="0" algn="l">
              <a:buNone/>
              <a:defRPr sz="2000">
                <a:solidFill>
                  <a:schemeClr val="bg1"/>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GB" noProof="0"/>
          </a:p>
        </p:txBody>
      </p:sp>
      <p:sp>
        <p:nvSpPr>
          <p:cNvPr id="9" name="Title 1">
            <a:extLst>
              <a:ext uri="{FF2B5EF4-FFF2-40B4-BE49-F238E27FC236}">
                <a16:creationId xmlns:a16="http://schemas.microsoft.com/office/drawing/2014/main" id="{009E2867-F349-707F-C9E6-C85954F5338C}"/>
              </a:ext>
            </a:extLst>
          </p:cNvPr>
          <p:cNvSpPr>
            <a:spLocks noGrp="1"/>
          </p:cNvSpPr>
          <p:nvPr>
            <p:ph type="ctrTitle" hasCustomPrompt="1"/>
          </p:nvPr>
        </p:nvSpPr>
        <p:spPr>
          <a:xfrm>
            <a:off x="695325" y="2159267"/>
            <a:ext cx="9073083" cy="984885"/>
          </a:xfrm>
        </p:spPr>
        <p:txBody>
          <a:bodyPr wrap="square" anchor="t" anchorCtr="0">
            <a:spAutoFit/>
          </a:bodyPr>
          <a:lstStyle>
            <a:lvl1pPr algn="l">
              <a:lnSpc>
                <a:spcPct val="80000"/>
              </a:lnSpc>
              <a:defRPr sz="8000" b="1">
                <a:solidFill>
                  <a:schemeClr val="bg1"/>
                </a:solidFill>
                <a:effectLst/>
              </a:defRPr>
            </a:lvl1pPr>
          </a:lstStyle>
          <a:p>
            <a:r>
              <a:rPr lang="en-US" noProof="0"/>
              <a:t>Title</a:t>
            </a:r>
            <a:endParaRPr lang="en-GB" noProof="0"/>
          </a:p>
        </p:txBody>
      </p:sp>
      <p:sp>
        <p:nvSpPr>
          <p:cNvPr id="24" name="logo"/>
          <p:cNvSpPr>
            <a:spLocks noGrp="1" noRot="1" noMove="1" noResize="1" noEditPoints="1" noAdjustHandles="1" noChangeArrowheads="1" noChangeShapeType="1"/>
          </p:cNvSpPr>
          <p:nvPr>
            <p:ph type="body" sz="quarter" idx="17" hasCustomPrompt="1"/>
          </p:nvPr>
        </p:nvSpPr>
        <p:spPr>
          <a:xfrm>
            <a:off x="10749600" y="6165304"/>
            <a:ext cx="1180800" cy="432000"/>
          </a:xfrm>
          <a:blipFill>
            <a:blip r:embed="rId2"/>
            <a:stretch>
              <a:fillRect/>
            </a:stretch>
          </a:blipFill>
          <a:effectLst/>
        </p:spPr>
        <p:txBody>
          <a:bodyPr>
            <a:normAutofit/>
          </a:bodyPr>
          <a:lstStyle>
            <a:lvl1pPr marL="0" indent="0">
              <a:buFontTx/>
              <a:buNone/>
              <a:defRPr sz="200">
                <a:noFill/>
              </a:defRPr>
            </a:lvl1pPr>
          </a:lstStyle>
          <a:p>
            <a:pPr lvl="0"/>
            <a:r>
              <a:rPr lang="fi-FI"/>
              <a:t> </a:t>
            </a:r>
          </a:p>
        </p:txBody>
      </p:sp>
      <p:sp>
        <p:nvSpPr>
          <p:cNvPr id="11" name="blue 70%">
            <a:extLst>
              <a:ext uri="{FF2B5EF4-FFF2-40B4-BE49-F238E27FC236}">
                <a16:creationId xmlns:a16="http://schemas.microsoft.com/office/drawing/2014/main" id="{01735142-1C40-ABD8-FBAC-DBBA602C757D}"/>
              </a:ext>
            </a:extLst>
          </p:cNvPr>
          <p:cNvSpPr>
            <a:spLocks noGrp="1" noRot="1" noMove="1" noResize="1" noEditPoints="1" noAdjustHandles="1" noChangeArrowheads="1" noChangeShapeType="1"/>
          </p:cNvSpPr>
          <p:nvPr>
            <p:ph type="body" sz="quarter" idx="18" hasCustomPrompt="1"/>
          </p:nvPr>
        </p:nvSpPr>
        <p:spPr>
          <a:xfrm>
            <a:off x="0" y="0"/>
            <a:ext cx="334963" cy="2205038"/>
          </a:xfrm>
          <a:solidFill>
            <a:srgbClr val="23375B">
              <a:alpha val="70000"/>
            </a:srgbClr>
          </a:solidFill>
          <a:effectLst/>
        </p:spPr>
        <p:txBody>
          <a:bodyPr>
            <a:normAutofit/>
          </a:bodyPr>
          <a:lstStyle>
            <a:lvl1pPr marL="0" indent="0">
              <a:buFontTx/>
              <a:buNone/>
              <a:defRPr sz="200">
                <a:noFill/>
              </a:defRPr>
            </a:lvl1pPr>
          </a:lstStyle>
          <a:p>
            <a:pPr lvl="0"/>
            <a:r>
              <a:rPr lang="fi-FI"/>
              <a:t> </a:t>
            </a:r>
          </a:p>
        </p:txBody>
      </p:sp>
      <p:sp>
        <p:nvSpPr>
          <p:cNvPr id="2" name="green 70%">
            <a:extLst>
              <a:ext uri="{FF2B5EF4-FFF2-40B4-BE49-F238E27FC236}">
                <a16:creationId xmlns:a16="http://schemas.microsoft.com/office/drawing/2014/main" id="{0070125D-D01B-3859-A776-56798DD3132A}"/>
              </a:ext>
            </a:extLst>
          </p:cNvPr>
          <p:cNvSpPr>
            <a:spLocks noGrp="1" noRot="1" noMove="1" noResize="1" noEditPoints="1" noAdjustHandles="1" noChangeArrowheads="1" noChangeShapeType="1"/>
          </p:cNvSpPr>
          <p:nvPr>
            <p:ph type="body" sz="quarter" idx="19" hasCustomPrompt="1"/>
          </p:nvPr>
        </p:nvSpPr>
        <p:spPr>
          <a:xfrm>
            <a:off x="0" y="2204864"/>
            <a:ext cx="334963" cy="4653136"/>
          </a:xfrm>
          <a:solidFill>
            <a:schemeClr val="tx2">
              <a:alpha val="70000"/>
            </a:schemeClr>
          </a:solidFill>
          <a:effectLst/>
        </p:spPr>
        <p:txBody>
          <a:bodyPr>
            <a:normAutofit/>
          </a:bodyPr>
          <a:lstStyle>
            <a:lvl1pPr marL="0" indent="0">
              <a:buFontTx/>
              <a:buNone/>
              <a:defRPr sz="200">
                <a:noFill/>
              </a:defRPr>
            </a:lvl1pPr>
          </a:lstStyle>
          <a:p>
            <a:pPr lvl="0"/>
            <a:r>
              <a:rPr lang="fi-FI"/>
              <a:t> </a:t>
            </a:r>
          </a:p>
        </p:txBody>
      </p:sp>
    </p:spTree>
    <p:extLst>
      <p:ext uri="{BB962C8B-B14F-4D97-AF65-F5344CB8AC3E}">
        <p14:creationId xmlns:p14="http://schemas.microsoft.com/office/powerpoint/2010/main" val="20163722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003_Title Only 1">
  <p:cSld name="003_Title Only 1">
    <p:spTree>
      <p:nvGrpSpPr>
        <p:cNvPr id="1" name="Shape 332"/>
        <p:cNvGrpSpPr/>
        <p:nvPr/>
      </p:nvGrpSpPr>
      <p:grpSpPr>
        <a:xfrm>
          <a:off x="0" y="0"/>
          <a:ext cx="0" cy="0"/>
          <a:chOff x="0" y="0"/>
          <a:chExt cx="0" cy="0"/>
        </a:xfrm>
      </p:grpSpPr>
      <p:sp>
        <p:nvSpPr>
          <p:cNvPr id="333" name="Google Shape;333;p35"/>
          <p:cNvSpPr txBox="1">
            <a:spLocks noGrp="1"/>
          </p:cNvSpPr>
          <p:nvPr>
            <p:ph type="title"/>
          </p:nvPr>
        </p:nvSpPr>
        <p:spPr>
          <a:xfrm>
            <a:off x="310868" y="1041900"/>
            <a:ext cx="11570400" cy="114240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SzPts val="1800"/>
              <a:buNone/>
              <a:defRPr/>
            </a:lvl1pPr>
            <a:lvl2pPr lvl="1" algn="l" rtl="0">
              <a:lnSpc>
                <a:spcPct val="100000"/>
              </a:lnSpc>
              <a:spcBef>
                <a:spcPts val="0"/>
              </a:spcBef>
              <a:spcAft>
                <a:spcPts val="0"/>
              </a:spcAft>
              <a:buClr>
                <a:schemeClr val="dk1"/>
              </a:buClr>
              <a:buSzPts val="1400"/>
              <a:buNone/>
              <a:defRPr>
                <a:solidFill>
                  <a:schemeClr val="dk1"/>
                </a:solidFill>
              </a:defRPr>
            </a:lvl2pPr>
            <a:lvl3pPr lvl="2" algn="l" rtl="0">
              <a:lnSpc>
                <a:spcPct val="100000"/>
              </a:lnSpc>
              <a:spcBef>
                <a:spcPts val="0"/>
              </a:spcBef>
              <a:spcAft>
                <a:spcPts val="0"/>
              </a:spcAft>
              <a:buClr>
                <a:schemeClr val="dk1"/>
              </a:buClr>
              <a:buSzPts val="1400"/>
              <a:buNone/>
              <a:defRPr>
                <a:solidFill>
                  <a:schemeClr val="dk1"/>
                </a:solidFill>
              </a:defRPr>
            </a:lvl3pPr>
            <a:lvl4pPr lvl="3" algn="l" rtl="0">
              <a:lnSpc>
                <a:spcPct val="100000"/>
              </a:lnSpc>
              <a:spcBef>
                <a:spcPts val="0"/>
              </a:spcBef>
              <a:spcAft>
                <a:spcPts val="0"/>
              </a:spcAft>
              <a:buClr>
                <a:schemeClr val="dk1"/>
              </a:buClr>
              <a:buSzPts val="1400"/>
              <a:buNone/>
              <a:defRPr>
                <a:solidFill>
                  <a:schemeClr val="dk1"/>
                </a:solidFill>
              </a:defRPr>
            </a:lvl4pPr>
            <a:lvl5pPr lvl="4" algn="l" rtl="0">
              <a:lnSpc>
                <a:spcPct val="100000"/>
              </a:lnSpc>
              <a:spcBef>
                <a:spcPts val="0"/>
              </a:spcBef>
              <a:spcAft>
                <a:spcPts val="0"/>
              </a:spcAft>
              <a:buClr>
                <a:schemeClr val="dk1"/>
              </a:buClr>
              <a:buSzPts val="1400"/>
              <a:buNone/>
              <a:defRPr>
                <a:solidFill>
                  <a:schemeClr val="dk1"/>
                </a:solidFill>
              </a:defRPr>
            </a:lvl5pPr>
            <a:lvl6pPr lvl="5" algn="l" rtl="0">
              <a:lnSpc>
                <a:spcPct val="100000"/>
              </a:lnSpc>
              <a:spcBef>
                <a:spcPts val="0"/>
              </a:spcBef>
              <a:spcAft>
                <a:spcPts val="0"/>
              </a:spcAft>
              <a:buClr>
                <a:schemeClr val="dk1"/>
              </a:buClr>
              <a:buSzPts val="1400"/>
              <a:buNone/>
              <a:defRPr>
                <a:solidFill>
                  <a:schemeClr val="dk1"/>
                </a:solidFill>
              </a:defRPr>
            </a:lvl6pPr>
            <a:lvl7pPr lvl="6" algn="l" rtl="0">
              <a:lnSpc>
                <a:spcPct val="100000"/>
              </a:lnSpc>
              <a:spcBef>
                <a:spcPts val="0"/>
              </a:spcBef>
              <a:spcAft>
                <a:spcPts val="0"/>
              </a:spcAft>
              <a:buClr>
                <a:schemeClr val="dk1"/>
              </a:buClr>
              <a:buSzPts val="1400"/>
              <a:buNone/>
              <a:defRPr>
                <a:solidFill>
                  <a:schemeClr val="dk1"/>
                </a:solidFill>
              </a:defRPr>
            </a:lvl7pPr>
            <a:lvl8pPr lvl="7" algn="l" rtl="0">
              <a:lnSpc>
                <a:spcPct val="100000"/>
              </a:lnSpc>
              <a:spcBef>
                <a:spcPts val="0"/>
              </a:spcBef>
              <a:spcAft>
                <a:spcPts val="0"/>
              </a:spcAft>
              <a:buClr>
                <a:schemeClr val="dk1"/>
              </a:buClr>
              <a:buSzPts val="1400"/>
              <a:buNone/>
              <a:defRPr>
                <a:solidFill>
                  <a:schemeClr val="dk1"/>
                </a:solidFill>
              </a:defRPr>
            </a:lvl8pPr>
            <a:lvl9pPr lvl="8" algn="l" rtl="0">
              <a:lnSpc>
                <a:spcPct val="100000"/>
              </a:lnSpc>
              <a:spcBef>
                <a:spcPts val="0"/>
              </a:spcBef>
              <a:spcAft>
                <a:spcPts val="0"/>
              </a:spcAft>
              <a:buClr>
                <a:schemeClr val="dk1"/>
              </a:buClr>
              <a:buSzPts val="1400"/>
              <a:buNone/>
              <a:defRPr>
                <a:solidFill>
                  <a:schemeClr val="dk1"/>
                </a:solidFill>
              </a:defRPr>
            </a:lvl9pPr>
          </a:lstStyle>
          <a:p>
            <a:endParaRPr/>
          </a:p>
        </p:txBody>
      </p:sp>
      <p:sp>
        <p:nvSpPr>
          <p:cNvPr id="334" name="Google Shape;334;p35"/>
          <p:cNvSpPr txBox="1">
            <a:spLocks noGrp="1"/>
          </p:cNvSpPr>
          <p:nvPr>
            <p:ph type="sldNum" idx="12"/>
          </p:nvPr>
        </p:nvSpPr>
        <p:spPr>
          <a:xfrm>
            <a:off x="10307912" y="33839"/>
            <a:ext cx="1602400" cy="354000"/>
          </a:xfrm>
          <a:prstGeom prst="rect">
            <a:avLst/>
          </a:prstGeom>
          <a:noFill/>
          <a:ln>
            <a:noFill/>
          </a:ln>
        </p:spPr>
        <p:txBody>
          <a:bodyPr spcFirstLastPara="1" wrap="square" lIns="0" tIns="0" rIns="0" bIns="0" anchor="ctr" anchorCtr="0">
            <a:noAutofit/>
          </a:bodyPr>
          <a:lstStyle>
            <a:lvl1pPr marL="0" marR="0" lvl="0" indent="0" algn="r" rtl="0">
              <a:lnSpc>
                <a:spcPct val="100000"/>
              </a:lnSpc>
              <a:spcBef>
                <a:spcPts val="0"/>
              </a:spcBef>
              <a:spcAft>
                <a:spcPts val="0"/>
              </a:spcAft>
              <a:buClr>
                <a:srgbClr val="000000"/>
              </a:buClr>
              <a:buSzPts val="700"/>
              <a:buFont typeface="Arial"/>
              <a:buNone/>
              <a:defRPr sz="933" b="0" i="0" u="none" strike="noStrike" cap="none">
                <a:solidFill>
                  <a:schemeClr val="dk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700"/>
              <a:buFont typeface="Arial"/>
              <a:buNone/>
              <a:defRPr sz="933" b="0" i="0" u="none" strike="noStrike" cap="none">
                <a:solidFill>
                  <a:schemeClr val="dk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700"/>
              <a:buFont typeface="Arial"/>
              <a:buNone/>
              <a:defRPr sz="933" b="0" i="0" u="none" strike="noStrike" cap="none">
                <a:solidFill>
                  <a:schemeClr val="dk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700"/>
              <a:buFont typeface="Arial"/>
              <a:buNone/>
              <a:defRPr sz="933" b="0" i="0" u="none" strike="noStrike" cap="none">
                <a:solidFill>
                  <a:schemeClr val="dk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700"/>
              <a:buFont typeface="Arial"/>
              <a:buNone/>
              <a:defRPr sz="933" b="0" i="0" u="none" strike="noStrike" cap="none">
                <a:solidFill>
                  <a:schemeClr val="dk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700"/>
              <a:buFont typeface="Arial"/>
              <a:buNone/>
              <a:defRPr sz="933" b="0" i="0" u="none" strike="noStrike" cap="none">
                <a:solidFill>
                  <a:schemeClr val="dk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700"/>
              <a:buFont typeface="Arial"/>
              <a:buNone/>
              <a:defRPr sz="933" b="0" i="0" u="none" strike="noStrike" cap="none">
                <a:solidFill>
                  <a:schemeClr val="dk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700"/>
              <a:buFont typeface="Arial"/>
              <a:buNone/>
              <a:defRPr sz="933" b="0" i="0" u="none" strike="noStrike" cap="none">
                <a:solidFill>
                  <a:schemeClr val="dk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700"/>
              <a:buFont typeface="Arial"/>
              <a:buNone/>
              <a:defRPr sz="933" b="0" i="0" u="none" strike="noStrike" cap="none">
                <a:solidFill>
                  <a:schemeClr val="dk1"/>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805121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ntent_and_full_picture_2nd">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0"/>
            <a:ext cx="12192000" cy="6858000"/>
          </a:xfrm>
          <a:solidFill>
            <a:srgbClr val="EAEAEA"/>
          </a:solidFill>
        </p:spPr>
        <p:txBody>
          <a:bodyPr>
            <a:normAutofit/>
          </a:bodyPr>
          <a:lstStyle>
            <a:lvl1pPr marL="0" marR="0" indent="0" algn="l" defTabSz="914400" rtl="0" eaLnBrk="1" fontAlgn="auto" latinLnBrk="0" hangingPunct="1">
              <a:lnSpc>
                <a:spcPct val="100000"/>
              </a:lnSpc>
              <a:spcBef>
                <a:spcPts val="800"/>
              </a:spcBef>
              <a:spcAft>
                <a:spcPts val="0"/>
              </a:spcAft>
              <a:buClr>
                <a:schemeClr val="accent2"/>
              </a:buClr>
              <a:buSzTx/>
              <a:buFontTx/>
              <a:buNone/>
              <a:tabLst/>
              <a:defRPr sz="1200"/>
            </a:lvl1pPr>
          </a:lstStyle>
          <a:p>
            <a:r>
              <a:rPr lang="en-GB" noProof="0"/>
              <a:t>Select shape and insert picture</a:t>
            </a:r>
          </a:p>
        </p:txBody>
      </p:sp>
      <p:sp>
        <p:nvSpPr>
          <p:cNvPr id="2" name="Title 1"/>
          <p:cNvSpPr>
            <a:spLocks noGrp="1"/>
          </p:cNvSpPr>
          <p:nvPr>
            <p:ph type="title"/>
          </p:nvPr>
        </p:nvSpPr>
        <p:spPr>
          <a:xfrm>
            <a:off x="550864" y="476250"/>
            <a:ext cx="11090274" cy="792163"/>
          </a:xfrm>
        </p:spPr>
        <p:txBody>
          <a:bodyPr/>
          <a:lstStyle/>
          <a:p>
            <a:r>
              <a:rPr lang="en-GB" noProof="0"/>
              <a:t>Click to edit Master title style</a:t>
            </a:r>
          </a:p>
        </p:txBody>
      </p:sp>
      <p:sp>
        <p:nvSpPr>
          <p:cNvPr id="3" name="Content Placeholder 2"/>
          <p:cNvSpPr>
            <a:spLocks noGrp="1"/>
          </p:cNvSpPr>
          <p:nvPr>
            <p:ph idx="1"/>
          </p:nvPr>
        </p:nvSpPr>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laceholder 3"/>
          <p:cNvSpPr>
            <a:spLocks noGrp="1"/>
          </p:cNvSpPr>
          <p:nvPr>
            <p:ph type="dt" sz="half" idx="10"/>
          </p:nvPr>
        </p:nvSpPr>
        <p:spPr/>
        <p:txBody>
          <a:bodyPr/>
          <a:lstStyle/>
          <a:p>
            <a:fld id="{4B81093D-E860-4CE7-A0CB-35672442202A}" type="datetime1">
              <a:rPr lang="en-GB" noProof="0" smtClean="0"/>
              <a:t>22/10/2025</a:t>
            </a:fld>
            <a:endParaRPr lang="en-GB" noProof="0"/>
          </a:p>
        </p:txBody>
      </p:sp>
      <p:sp>
        <p:nvSpPr>
          <p:cNvPr id="5" name="Footer Placeholder 4"/>
          <p:cNvSpPr>
            <a:spLocks noGrp="1"/>
          </p:cNvSpPr>
          <p:nvPr>
            <p:ph type="ftr" sz="quarter" idx="11"/>
          </p:nvPr>
        </p:nvSpPr>
        <p:spPr/>
        <p:txBody>
          <a:bodyPr/>
          <a:lstStyle/>
          <a:p>
            <a:r>
              <a:rPr lang="en-GB" noProof="0"/>
              <a:t>Katariina Kemppainen</a:t>
            </a:r>
          </a:p>
        </p:txBody>
      </p:sp>
      <p:sp>
        <p:nvSpPr>
          <p:cNvPr id="6" name="Slide Number Placeholder 5"/>
          <p:cNvSpPr>
            <a:spLocks noGrp="1"/>
          </p:cNvSpPr>
          <p:nvPr>
            <p:ph type="sldNum" sz="quarter" idx="12"/>
          </p:nvPr>
        </p:nvSpPr>
        <p:spPr/>
        <p:txBody>
          <a:bodyPr/>
          <a:lstStyle/>
          <a:p>
            <a:fld id="{F90E5A77-D385-4CDE-8FE8-D3E3CBE93E71}" type="slidenum">
              <a:rPr lang="en-GB" noProof="0" smtClean="0"/>
              <a:t>‹#›</a:t>
            </a:fld>
            <a:endParaRPr lang="en-GB" noProof="0"/>
          </a:p>
        </p:txBody>
      </p:sp>
      <p:sp>
        <p:nvSpPr>
          <p:cNvPr id="10" name="Text Placeholder 21">
            <a:extLst>
              <a:ext uri="{FF2B5EF4-FFF2-40B4-BE49-F238E27FC236}">
                <a16:creationId xmlns:a16="http://schemas.microsoft.com/office/drawing/2014/main" id="{6FD62F03-78E5-458D-8640-EA931595DD6D}"/>
              </a:ext>
            </a:extLst>
          </p:cNvPr>
          <p:cNvSpPr>
            <a:spLocks noGrp="1"/>
          </p:cNvSpPr>
          <p:nvPr>
            <p:ph type="body" sz="quarter" idx="17" hasCustomPrompt="1"/>
          </p:nvPr>
        </p:nvSpPr>
        <p:spPr>
          <a:xfrm>
            <a:off x="10425600" y="6159600"/>
            <a:ext cx="1216800" cy="439200"/>
          </a:xfrm>
          <a:blipFill>
            <a:blip r:embed="rId2"/>
            <a:stretch>
              <a:fillRect/>
            </a:stretch>
          </a:blipFill>
          <a:effectLst>
            <a:outerShdw blurRad="190500" algn="ctr" rotWithShape="0">
              <a:prstClr val="black">
                <a:alpha val="20000"/>
              </a:prstClr>
            </a:outerShdw>
          </a:effectLst>
        </p:spPr>
        <p:txBody>
          <a:bodyPr>
            <a:normAutofit/>
          </a:bodyPr>
          <a:lstStyle>
            <a:lvl1pPr marL="0" indent="0">
              <a:buFontTx/>
              <a:buNone/>
              <a:defRPr sz="200">
                <a:noFill/>
              </a:defRPr>
            </a:lvl1pPr>
          </a:lstStyle>
          <a:p>
            <a:pPr lvl="0"/>
            <a:r>
              <a:rPr lang="fi-FI"/>
              <a:t> </a:t>
            </a:r>
          </a:p>
        </p:txBody>
      </p:sp>
    </p:spTree>
    <p:extLst>
      <p:ext uri="{BB962C8B-B14F-4D97-AF65-F5344CB8AC3E}">
        <p14:creationId xmlns:p14="http://schemas.microsoft.com/office/powerpoint/2010/main" val="22191413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logan ">
    <p:spTree>
      <p:nvGrpSpPr>
        <p:cNvPr id="1" name=""/>
        <p:cNvGrpSpPr/>
        <p:nvPr/>
      </p:nvGrpSpPr>
      <p:grpSpPr>
        <a:xfrm>
          <a:off x="0" y="0"/>
          <a:ext cx="0" cy="0"/>
          <a:chOff x="0" y="0"/>
          <a:chExt cx="0" cy="0"/>
        </a:xfrm>
      </p:grpSpPr>
      <p:sp>
        <p:nvSpPr>
          <p:cNvPr id="14" name="Date Placeholder 13"/>
          <p:cNvSpPr>
            <a:spLocks noGrp="1"/>
          </p:cNvSpPr>
          <p:nvPr>
            <p:ph type="dt" sz="half" idx="10"/>
          </p:nvPr>
        </p:nvSpPr>
        <p:spPr>
          <a:noFill/>
        </p:spPr>
        <p:txBody>
          <a:bodyPr/>
          <a:lstStyle>
            <a:lvl1pPr>
              <a:defRPr>
                <a:noFill/>
              </a:defRPr>
            </a:lvl1pPr>
          </a:lstStyle>
          <a:p>
            <a:fld id="{9B8A0387-AB28-45F2-9F98-5C19AC45EA95}" type="datetime1">
              <a:rPr lang="en-GB" noProof="0" smtClean="0"/>
              <a:t>22/10/2025</a:t>
            </a:fld>
            <a:endParaRPr lang="en-GB" noProof="0"/>
          </a:p>
        </p:txBody>
      </p:sp>
      <p:sp>
        <p:nvSpPr>
          <p:cNvPr id="15" name="Footer Placeholder 14"/>
          <p:cNvSpPr>
            <a:spLocks noGrp="1"/>
          </p:cNvSpPr>
          <p:nvPr>
            <p:ph type="ftr" sz="quarter" idx="11"/>
          </p:nvPr>
        </p:nvSpPr>
        <p:spPr>
          <a:noFill/>
        </p:spPr>
        <p:txBody>
          <a:bodyPr/>
          <a:lstStyle>
            <a:lvl1pPr>
              <a:defRPr>
                <a:noFill/>
              </a:defRPr>
            </a:lvl1pPr>
          </a:lstStyle>
          <a:p>
            <a:r>
              <a:rPr lang="en-GB" noProof="0"/>
              <a:t>Katariina Kemppainen</a:t>
            </a:r>
          </a:p>
        </p:txBody>
      </p:sp>
      <p:sp>
        <p:nvSpPr>
          <p:cNvPr id="16" name="Slide Number Placeholder 15"/>
          <p:cNvSpPr>
            <a:spLocks noGrp="1"/>
          </p:cNvSpPr>
          <p:nvPr>
            <p:ph type="sldNum" sz="quarter" idx="12"/>
          </p:nvPr>
        </p:nvSpPr>
        <p:spPr>
          <a:noFill/>
        </p:spPr>
        <p:txBody>
          <a:bodyPr/>
          <a:lstStyle>
            <a:lvl1pPr>
              <a:defRPr>
                <a:noFill/>
              </a:defRPr>
            </a:lvl1pPr>
          </a:lstStyle>
          <a:p>
            <a:fld id="{F90E5A77-D385-4CDE-8FE8-D3E3CBE93E71}" type="slidenum">
              <a:rPr lang="en-GB" noProof="0" smtClean="0"/>
              <a:pPr/>
              <a:t>‹#›</a:t>
            </a:fld>
            <a:endParaRPr lang="en-GB" noProof="0"/>
          </a:p>
        </p:txBody>
      </p:sp>
      <p:sp>
        <p:nvSpPr>
          <p:cNvPr id="9" name="Title 1"/>
          <p:cNvSpPr>
            <a:spLocks noGrp="1"/>
          </p:cNvSpPr>
          <p:nvPr>
            <p:ph type="title" hasCustomPrompt="1"/>
          </p:nvPr>
        </p:nvSpPr>
        <p:spPr>
          <a:xfrm>
            <a:off x="550864" y="2564908"/>
            <a:ext cx="11090272" cy="1656457"/>
          </a:xfrm>
        </p:spPr>
        <p:txBody>
          <a:bodyPr anchor="ctr" anchorCtr="0"/>
          <a:lstStyle>
            <a:lvl1pPr algn="ctr">
              <a:defRPr sz="5000">
                <a:solidFill>
                  <a:schemeClr val="accent2"/>
                </a:solidFill>
              </a:defRPr>
            </a:lvl1pPr>
          </a:lstStyle>
          <a:p>
            <a:r>
              <a:rPr lang="en-GB" noProof="0"/>
              <a:t>Click to add Thank you Text</a:t>
            </a:r>
          </a:p>
        </p:txBody>
      </p:sp>
    </p:spTree>
    <p:extLst>
      <p:ext uri="{BB962C8B-B14F-4D97-AF65-F5344CB8AC3E}">
        <p14:creationId xmlns:p14="http://schemas.microsoft.com/office/powerpoint/2010/main" val="4691156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3AA6FE7-A553-4007-9465-248DF4C6238C}" type="datetime1">
              <a:rPr lang="en-GB" smtClean="0"/>
              <a:t>22/10/2025</a:t>
            </a:fld>
            <a:endParaRPr lang="fi-FI"/>
          </a:p>
        </p:txBody>
      </p:sp>
      <p:sp>
        <p:nvSpPr>
          <p:cNvPr id="4" name="Footer Placeholder 3"/>
          <p:cNvSpPr>
            <a:spLocks noGrp="1"/>
          </p:cNvSpPr>
          <p:nvPr>
            <p:ph type="ftr" sz="quarter" idx="11"/>
          </p:nvPr>
        </p:nvSpPr>
        <p:spPr/>
        <p:txBody>
          <a:bodyPr/>
          <a:lstStyle/>
          <a:p>
            <a:endParaRPr lang="fi-FI"/>
          </a:p>
        </p:txBody>
      </p:sp>
      <p:sp>
        <p:nvSpPr>
          <p:cNvPr id="5" name="Slide Number Placeholder 4"/>
          <p:cNvSpPr>
            <a:spLocks noGrp="1"/>
          </p:cNvSpPr>
          <p:nvPr>
            <p:ph type="sldNum" sz="quarter" idx="12"/>
          </p:nvPr>
        </p:nvSpPr>
        <p:spPr/>
        <p:txBody>
          <a:bodyPr/>
          <a:lstStyle/>
          <a:p>
            <a:fld id="{49A25110-65A2-4B67-BF3F-8D6D3162EF46}" type="slidenum">
              <a:rPr lang="fi-FI" smtClean="0"/>
              <a:t>‹#›</a:t>
            </a:fld>
            <a:endParaRPr lang="fi-FI"/>
          </a:p>
        </p:txBody>
      </p:sp>
      <p:sp>
        <p:nvSpPr>
          <p:cNvPr id="2" name="Title 1"/>
          <p:cNvSpPr>
            <a:spLocks noGrp="1"/>
          </p:cNvSpPr>
          <p:nvPr>
            <p:ph type="title"/>
          </p:nvPr>
        </p:nvSpPr>
        <p:spPr/>
        <p:txBody>
          <a:bodyPr/>
          <a:lstStyle/>
          <a:p>
            <a:r>
              <a:rPr lang="en-US"/>
              <a:t>Click to edit Master title style</a:t>
            </a:r>
            <a:endParaRPr lang="fi-FI"/>
          </a:p>
        </p:txBody>
      </p:sp>
      <p:sp>
        <p:nvSpPr>
          <p:cNvPr id="6" name="Text Placeholder 7"/>
          <p:cNvSpPr>
            <a:spLocks noGrp="1"/>
          </p:cNvSpPr>
          <p:nvPr>
            <p:ph type="body" sz="quarter" idx="13"/>
          </p:nvPr>
        </p:nvSpPr>
        <p:spPr>
          <a:xfrm>
            <a:off x="334963" y="260350"/>
            <a:ext cx="11090275" cy="184666"/>
          </a:xfrm>
        </p:spPr>
        <p:txBody>
          <a:bodyPr wrap="square">
            <a:spAutoFit/>
          </a:bodyPr>
          <a:lstStyle>
            <a:lvl1pPr marL="0" indent="0">
              <a:buFontTx/>
              <a:buNone/>
              <a:defRPr sz="1200">
                <a:solidFill>
                  <a:srgbClr val="686768"/>
                </a:solidFill>
              </a:defRPr>
            </a:lvl1pPr>
            <a:lvl2pPr marL="0" indent="0">
              <a:buFontTx/>
              <a:buNone/>
              <a:defRPr sz="1200"/>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a:t>Click to edit Master text styles</a:t>
            </a:r>
          </a:p>
        </p:txBody>
      </p:sp>
    </p:spTree>
    <p:extLst>
      <p:ext uri="{BB962C8B-B14F-4D97-AF65-F5344CB8AC3E}">
        <p14:creationId xmlns:p14="http://schemas.microsoft.com/office/powerpoint/2010/main" val="2257042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 fores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766764" y="5949950"/>
            <a:ext cx="10658474" cy="215354"/>
          </a:xfrm>
        </p:spPr>
        <p:txBody>
          <a:bodyPr vert="horz" lIns="0" tIns="0" rIns="0" bIns="0" rtlCol="0" anchor="b" anchorCtr="0">
            <a:noAutofit/>
          </a:bodyPr>
          <a:lstStyle>
            <a:lvl1pPr marL="0" indent="0">
              <a:lnSpc>
                <a:spcPct val="95000"/>
              </a:lnSpc>
              <a:spcBef>
                <a:spcPts val="0"/>
              </a:spcBef>
              <a:buFontTx/>
              <a:buNone/>
              <a:defRPr lang="fi-FI" sz="1600" spc="40" baseline="0" dirty="0">
                <a:solidFill>
                  <a:schemeClr val="bg1"/>
                </a:solidFill>
              </a:defRPr>
            </a:lvl1pPr>
          </a:lstStyle>
          <a:p>
            <a:pPr marL="0" marR="0" lvl="0" indent="0" algn="l" defTabSz="1219170" rtl="0" eaLnBrk="1" fontAlgn="auto" latinLnBrk="0" hangingPunct="1">
              <a:lnSpc>
                <a:spcPct val="95000"/>
              </a:lnSpc>
              <a:spcBef>
                <a:spcPts val="0"/>
              </a:spcBef>
              <a:spcAft>
                <a:spcPts val="0"/>
              </a:spcAft>
              <a:buClr>
                <a:schemeClr val="tx1"/>
              </a:buClr>
              <a:buSzTx/>
              <a:buFontTx/>
              <a:buNone/>
              <a:tabLst/>
              <a:defRPr/>
            </a:pPr>
            <a:r>
              <a:rPr lang="en-US" dirty="0"/>
              <a:t>Date / Author</a:t>
            </a:r>
            <a:endParaRPr lang="fi-FI" dirty="0"/>
          </a:p>
        </p:txBody>
      </p:sp>
      <p:sp>
        <p:nvSpPr>
          <p:cNvPr id="2" name="Title 1"/>
          <p:cNvSpPr>
            <a:spLocks noGrp="1"/>
          </p:cNvSpPr>
          <p:nvPr>
            <p:ph type="ctrTitle"/>
          </p:nvPr>
        </p:nvSpPr>
        <p:spPr>
          <a:xfrm>
            <a:off x="766764" y="1773238"/>
            <a:ext cx="10658474" cy="1943794"/>
          </a:xfrm>
        </p:spPr>
        <p:txBody>
          <a:bodyPr anchor="b" anchorCtr="0"/>
          <a:lstStyle>
            <a:lvl1pPr>
              <a:lnSpc>
                <a:spcPct val="95000"/>
              </a:lnSpc>
              <a:defRPr sz="4400" b="0" spc="0" baseline="0">
                <a:solidFill>
                  <a:schemeClr val="bg1"/>
                </a:solidFill>
              </a:defRPr>
            </a:lvl1pPr>
          </a:lstStyle>
          <a:p>
            <a:r>
              <a:rPr lang="en-US"/>
              <a:t>Click to edit Master title style</a:t>
            </a:r>
            <a:endParaRPr lang="fi-FI" dirty="0"/>
          </a:p>
        </p:txBody>
      </p:sp>
      <p:sp>
        <p:nvSpPr>
          <p:cNvPr id="3" name="Subtitle 2"/>
          <p:cNvSpPr>
            <a:spLocks noGrp="1"/>
          </p:cNvSpPr>
          <p:nvPr>
            <p:ph type="subTitle" idx="1"/>
          </p:nvPr>
        </p:nvSpPr>
        <p:spPr>
          <a:xfrm>
            <a:off x="766763" y="3933055"/>
            <a:ext cx="10658475" cy="936105"/>
          </a:xfrm>
        </p:spPr>
        <p:txBody>
          <a:bodyPr/>
          <a:lstStyle>
            <a:lvl1pPr marL="0" indent="0" algn="l">
              <a:lnSpc>
                <a:spcPct val="95000"/>
              </a:lnSpc>
              <a:spcBef>
                <a:spcPts val="0"/>
              </a:spcBef>
              <a:buNone/>
              <a:defRPr b="0" spc="-40"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fi-FI" dirty="0"/>
          </a:p>
        </p:txBody>
      </p:sp>
      <p:sp>
        <p:nvSpPr>
          <p:cNvPr id="9" name="Date Placeholder 8"/>
          <p:cNvSpPr>
            <a:spLocks noGrp="1"/>
          </p:cNvSpPr>
          <p:nvPr>
            <p:ph type="dt" sz="half" idx="14"/>
          </p:nvPr>
        </p:nvSpPr>
        <p:spPr/>
        <p:txBody>
          <a:bodyPr/>
          <a:lstStyle>
            <a:lvl1pPr>
              <a:defRPr>
                <a:noFill/>
              </a:defRPr>
            </a:lvl1pPr>
          </a:lstStyle>
          <a:p>
            <a:fld id="{A06CA5E9-B2BF-4462-83F1-3DD4D6BFB3CF}" type="datetime1">
              <a:rPr lang="en-GB" smtClean="0"/>
              <a:t>22/10/2025</a:t>
            </a:fld>
            <a:endParaRPr lang="fi-FI" dirty="0"/>
          </a:p>
        </p:txBody>
      </p:sp>
      <p:sp>
        <p:nvSpPr>
          <p:cNvPr id="10" name="Footer Placeholder 9"/>
          <p:cNvSpPr>
            <a:spLocks noGrp="1"/>
          </p:cNvSpPr>
          <p:nvPr>
            <p:ph type="ftr" sz="quarter" idx="15"/>
          </p:nvPr>
        </p:nvSpPr>
        <p:spPr/>
        <p:txBody>
          <a:bodyPr/>
          <a:lstStyle>
            <a:lvl1pPr>
              <a:defRPr>
                <a:noFill/>
              </a:defRPr>
            </a:lvl1pPr>
          </a:lstStyle>
          <a:p>
            <a:r>
              <a:rPr lang="fi-FI"/>
              <a:t>Presentation name / Author</a:t>
            </a:r>
            <a:endParaRPr lang="fi-FI" dirty="0"/>
          </a:p>
        </p:txBody>
      </p:sp>
      <p:sp>
        <p:nvSpPr>
          <p:cNvPr id="11" name="Slide Number Placeholder 10"/>
          <p:cNvSpPr>
            <a:spLocks noGrp="1"/>
          </p:cNvSpPr>
          <p:nvPr>
            <p:ph type="sldNum" sz="quarter" idx="16"/>
          </p:nvPr>
        </p:nvSpPr>
        <p:spPr/>
        <p:txBody>
          <a:bodyPr/>
          <a:lstStyle>
            <a:lvl1pPr>
              <a:defRPr>
                <a:noFill/>
              </a:defRPr>
            </a:lvl1pPr>
          </a:lstStyle>
          <a:p>
            <a:fld id="{49A25110-65A2-4B67-BF3F-8D6D3162EF46}" type="slidenum">
              <a:rPr lang="fi-FI" smtClean="0"/>
              <a:pPr/>
              <a:t>‹#›</a:t>
            </a:fld>
            <a:endParaRPr lang="fi-FI" dirty="0"/>
          </a:p>
        </p:txBody>
      </p:sp>
      <p:grpSp>
        <p:nvGrpSpPr>
          <p:cNvPr id="12" name="Group 11"/>
          <p:cNvGrpSpPr>
            <a:grpSpLocks noChangeAspect="1"/>
          </p:cNvGrpSpPr>
          <p:nvPr/>
        </p:nvGrpSpPr>
        <p:grpSpPr>
          <a:xfrm>
            <a:off x="457407" y="404776"/>
            <a:ext cx="2902289" cy="1008000"/>
            <a:chOff x="3279775" y="2451101"/>
            <a:chExt cx="5640388" cy="1958974"/>
          </a:xfrm>
          <a:solidFill>
            <a:schemeClr val="bg1"/>
          </a:solidFill>
        </p:grpSpPr>
        <p:sp>
          <p:nvSpPr>
            <p:cNvPr id="13" name="Freeform 6"/>
            <p:cNvSpPr>
              <a:spLocks/>
            </p:cNvSpPr>
            <p:nvPr/>
          </p:nvSpPr>
          <p:spPr bwMode="auto">
            <a:xfrm>
              <a:off x="3279775" y="2451101"/>
              <a:ext cx="1838325" cy="1944687"/>
            </a:xfrm>
            <a:custGeom>
              <a:avLst/>
              <a:gdLst>
                <a:gd name="T0" fmla="*/ 978 w 1158"/>
                <a:gd name="T1" fmla="*/ 608 h 1225"/>
                <a:gd name="T2" fmla="*/ 974 w 1158"/>
                <a:gd name="T3" fmla="*/ 610 h 1225"/>
                <a:gd name="T4" fmla="*/ 968 w 1158"/>
                <a:gd name="T5" fmla="*/ 608 h 1225"/>
                <a:gd name="T6" fmla="*/ 966 w 1158"/>
                <a:gd name="T7" fmla="*/ 134 h 1225"/>
                <a:gd name="T8" fmla="*/ 963 w 1158"/>
                <a:gd name="T9" fmla="*/ 128 h 1225"/>
                <a:gd name="T10" fmla="*/ 956 w 1158"/>
                <a:gd name="T11" fmla="*/ 128 h 1225"/>
                <a:gd name="T12" fmla="*/ 953 w 1158"/>
                <a:gd name="T13" fmla="*/ 132 h 1225"/>
                <a:gd name="T14" fmla="*/ 784 w 1158"/>
                <a:gd name="T15" fmla="*/ 603 h 1225"/>
                <a:gd name="T16" fmla="*/ 779 w 1158"/>
                <a:gd name="T17" fmla="*/ 607 h 1225"/>
                <a:gd name="T18" fmla="*/ 773 w 1158"/>
                <a:gd name="T19" fmla="*/ 605 h 1225"/>
                <a:gd name="T20" fmla="*/ 771 w 1158"/>
                <a:gd name="T21" fmla="*/ 466 h 1225"/>
                <a:gd name="T22" fmla="*/ 769 w 1158"/>
                <a:gd name="T23" fmla="*/ 461 h 1225"/>
                <a:gd name="T24" fmla="*/ 764 w 1158"/>
                <a:gd name="T25" fmla="*/ 459 h 1225"/>
                <a:gd name="T26" fmla="*/ 584 w 1158"/>
                <a:gd name="T27" fmla="*/ 614 h 1225"/>
                <a:gd name="T28" fmla="*/ 579 w 1158"/>
                <a:gd name="T29" fmla="*/ 616 h 1225"/>
                <a:gd name="T30" fmla="*/ 396 w 1158"/>
                <a:gd name="T31" fmla="*/ 461 h 1225"/>
                <a:gd name="T32" fmla="*/ 390 w 1158"/>
                <a:gd name="T33" fmla="*/ 460 h 1225"/>
                <a:gd name="T34" fmla="*/ 386 w 1158"/>
                <a:gd name="T35" fmla="*/ 464 h 1225"/>
                <a:gd name="T36" fmla="*/ 386 w 1158"/>
                <a:gd name="T37" fmla="*/ 603 h 1225"/>
                <a:gd name="T38" fmla="*/ 381 w 1158"/>
                <a:gd name="T39" fmla="*/ 607 h 1225"/>
                <a:gd name="T40" fmla="*/ 375 w 1158"/>
                <a:gd name="T41" fmla="*/ 605 h 1225"/>
                <a:gd name="T42" fmla="*/ 292 w 1158"/>
                <a:gd name="T43" fmla="*/ 378 h 1225"/>
                <a:gd name="T44" fmla="*/ 203 w 1158"/>
                <a:gd name="T45" fmla="*/ 130 h 1225"/>
                <a:gd name="T46" fmla="*/ 197 w 1158"/>
                <a:gd name="T47" fmla="*/ 128 h 1225"/>
                <a:gd name="T48" fmla="*/ 192 w 1158"/>
                <a:gd name="T49" fmla="*/ 132 h 1225"/>
                <a:gd name="T50" fmla="*/ 191 w 1158"/>
                <a:gd name="T51" fmla="*/ 606 h 1225"/>
                <a:gd name="T52" fmla="*/ 186 w 1158"/>
                <a:gd name="T53" fmla="*/ 610 h 1225"/>
                <a:gd name="T54" fmla="*/ 181 w 1158"/>
                <a:gd name="T55" fmla="*/ 609 h 1225"/>
                <a:gd name="T56" fmla="*/ 13 w 1158"/>
                <a:gd name="T57" fmla="*/ 5 h 1225"/>
                <a:gd name="T58" fmla="*/ 10 w 1158"/>
                <a:gd name="T59" fmla="*/ 1 h 1225"/>
                <a:gd name="T60" fmla="*/ 4 w 1158"/>
                <a:gd name="T61" fmla="*/ 1 h 1225"/>
                <a:gd name="T62" fmla="*/ 0 w 1158"/>
                <a:gd name="T63" fmla="*/ 7 h 1225"/>
                <a:gd name="T64" fmla="*/ 1 w 1158"/>
                <a:gd name="T65" fmla="*/ 552 h 1225"/>
                <a:gd name="T66" fmla="*/ 147 w 1158"/>
                <a:gd name="T67" fmla="*/ 644 h 1225"/>
                <a:gd name="T68" fmla="*/ 389 w 1158"/>
                <a:gd name="T69" fmla="*/ 646 h 1225"/>
                <a:gd name="T70" fmla="*/ 397 w 1158"/>
                <a:gd name="T71" fmla="*/ 649 h 1225"/>
                <a:gd name="T72" fmla="*/ 500 w 1158"/>
                <a:gd name="T73" fmla="*/ 909 h 1225"/>
                <a:gd name="T74" fmla="*/ 501 w 1158"/>
                <a:gd name="T75" fmla="*/ 917 h 1225"/>
                <a:gd name="T76" fmla="*/ 447 w 1158"/>
                <a:gd name="T77" fmla="*/ 1030 h 1225"/>
                <a:gd name="T78" fmla="*/ 519 w 1158"/>
                <a:gd name="T79" fmla="*/ 1218 h 1225"/>
                <a:gd name="T80" fmla="*/ 526 w 1158"/>
                <a:gd name="T81" fmla="*/ 1224 h 1225"/>
                <a:gd name="T82" fmla="*/ 629 w 1158"/>
                <a:gd name="T83" fmla="*/ 1225 h 1225"/>
                <a:gd name="T84" fmla="*/ 637 w 1158"/>
                <a:gd name="T85" fmla="*/ 1221 h 1225"/>
                <a:gd name="T86" fmla="*/ 710 w 1158"/>
                <a:gd name="T87" fmla="*/ 1036 h 1225"/>
                <a:gd name="T88" fmla="*/ 710 w 1158"/>
                <a:gd name="T89" fmla="*/ 1030 h 1225"/>
                <a:gd name="T90" fmla="*/ 657 w 1158"/>
                <a:gd name="T91" fmla="*/ 917 h 1225"/>
                <a:gd name="T92" fmla="*/ 758 w 1158"/>
                <a:gd name="T93" fmla="*/ 652 h 1225"/>
                <a:gd name="T94" fmla="*/ 765 w 1158"/>
                <a:gd name="T95" fmla="*/ 646 h 1225"/>
                <a:gd name="T96" fmla="*/ 1009 w 1158"/>
                <a:gd name="T97" fmla="*/ 645 h 1225"/>
                <a:gd name="T98" fmla="*/ 1155 w 1158"/>
                <a:gd name="T99" fmla="*/ 554 h 1225"/>
                <a:gd name="T100" fmla="*/ 1158 w 1158"/>
                <a:gd name="T101" fmla="*/ 549 h 1225"/>
                <a:gd name="T102" fmla="*/ 1158 w 1158"/>
                <a:gd name="T103" fmla="*/ 4 h 1225"/>
                <a:gd name="T104" fmla="*/ 1152 w 1158"/>
                <a:gd name="T105" fmla="*/ 0 h 1225"/>
                <a:gd name="T106" fmla="*/ 1146 w 1158"/>
                <a:gd name="T107" fmla="*/ 3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8" h="1225">
                  <a:moveTo>
                    <a:pt x="1145" y="5"/>
                  </a:moveTo>
                  <a:lnTo>
                    <a:pt x="979" y="605"/>
                  </a:lnTo>
                  <a:lnTo>
                    <a:pt x="978" y="608"/>
                  </a:lnTo>
                  <a:lnTo>
                    <a:pt x="977" y="608"/>
                  </a:lnTo>
                  <a:lnTo>
                    <a:pt x="976" y="609"/>
                  </a:lnTo>
                  <a:lnTo>
                    <a:pt x="974" y="610"/>
                  </a:lnTo>
                  <a:lnTo>
                    <a:pt x="972" y="610"/>
                  </a:lnTo>
                  <a:lnTo>
                    <a:pt x="970" y="609"/>
                  </a:lnTo>
                  <a:lnTo>
                    <a:pt x="968" y="608"/>
                  </a:lnTo>
                  <a:lnTo>
                    <a:pt x="967" y="606"/>
                  </a:lnTo>
                  <a:lnTo>
                    <a:pt x="966" y="603"/>
                  </a:lnTo>
                  <a:lnTo>
                    <a:pt x="966" y="134"/>
                  </a:lnTo>
                  <a:lnTo>
                    <a:pt x="966" y="132"/>
                  </a:lnTo>
                  <a:lnTo>
                    <a:pt x="964" y="130"/>
                  </a:lnTo>
                  <a:lnTo>
                    <a:pt x="963" y="128"/>
                  </a:lnTo>
                  <a:lnTo>
                    <a:pt x="961" y="128"/>
                  </a:lnTo>
                  <a:lnTo>
                    <a:pt x="958" y="128"/>
                  </a:lnTo>
                  <a:lnTo>
                    <a:pt x="956" y="128"/>
                  </a:lnTo>
                  <a:lnTo>
                    <a:pt x="955" y="129"/>
                  </a:lnTo>
                  <a:lnTo>
                    <a:pt x="955" y="130"/>
                  </a:lnTo>
                  <a:lnTo>
                    <a:pt x="953" y="132"/>
                  </a:lnTo>
                  <a:lnTo>
                    <a:pt x="916" y="240"/>
                  </a:lnTo>
                  <a:lnTo>
                    <a:pt x="865" y="378"/>
                  </a:lnTo>
                  <a:lnTo>
                    <a:pt x="784" y="603"/>
                  </a:lnTo>
                  <a:lnTo>
                    <a:pt x="782" y="605"/>
                  </a:lnTo>
                  <a:lnTo>
                    <a:pt x="781" y="606"/>
                  </a:lnTo>
                  <a:lnTo>
                    <a:pt x="779" y="607"/>
                  </a:lnTo>
                  <a:lnTo>
                    <a:pt x="776" y="607"/>
                  </a:lnTo>
                  <a:lnTo>
                    <a:pt x="774" y="606"/>
                  </a:lnTo>
                  <a:lnTo>
                    <a:pt x="773" y="605"/>
                  </a:lnTo>
                  <a:lnTo>
                    <a:pt x="772" y="603"/>
                  </a:lnTo>
                  <a:lnTo>
                    <a:pt x="771" y="600"/>
                  </a:lnTo>
                  <a:lnTo>
                    <a:pt x="771" y="466"/>
                  </a:lnTo>
                  <a:lnTo>
                    <a:pt x="771" y="464"/>
                  </a:lnTo>
                  <a:lnTo>
                    <a:pt x="770" y="462"/>
                  </a:lnTo>
                  <a:lnTo>
                    <a:pt x="769" y="461"/>
                  </a:lnTo>
                  <a:lnTo>
                    <a:pt x="767" y="460"/>
                  </a:lnTo>
                  <a:lnTo>
                    <a:pt x="766" y="459"/>
                  </a:lnTo>
                  <a:lnTo>
                    <a:pt x="764" y="459"/>
                  </a:lnTo>
                  <a:lnTo>
                    <a:pt x="762" y="460"/>
                  </a:lnTo>
                  <a:lnTo>
                    <a:pt x="761" y="461"/>
                  </a:lnTo>
                  <a:lnTo>
                    <a:pt x="584" y="614"/>
                  </a:lnTo>
                  <a:lnTo>
                    <a:pt x="583" y="615"/>
                  </a:lnTo>
                  <a:lnTo>
                    <a:pt x="581" y="615"/>
                  </a:lnTo>
                  <a:lnTo>
                    <a:pt x="579" y="616"/>
                  </a:lnTo>
                  <a:lnTo>
                    <a:pt x="576" y="615"/>
                  </a:lnTo>
                  <a:lnTo>
                    <a:pt x="573" y="614"/>
                  </a:lnTo>
                  <a:lnTo>
                    <a:pt x="396" y="461"/>
                  </a:lnTo>
                  <a:lnTo>
                    <a:pt x="393" y="459"/>
                  </a:lnTo>
                  <a:lnTo>
                    <a:pt x="391" y="460"/>
                  </a:lnTo>
                  <a:lnTo>
                    <a:pt x="390" y="460"/>
                  </a:lnTo>
                  <a:lnTo>
                    <a:pt x="388" y="461"/>
                  </a:lnTo>
                  <a:lnTo>
                    <a:pt x="387" y="462"/>
                  </a:lnTo>
                  <a:lnTo>
                    <a:pt x="386" y="464"/>
                  </a:lnTo>
                  <a:lnTo>
                    <a:pt x="386" y="466"/>
                  </a:lnTo>
                  <a:lnTo>
                    <a:pt x="386" y="601"/>
                  </a:lnTo>
                  <a:lnTo>
                    <a:pt x="386" y="603"/>
                  </a:lnTo>
                  <a:lnTo>
                    <a:pt x="384" y="605"/>
                  </a:lnTo>
                  <a:lnTo>
                    <a:pt x="383" y="606"/>
                  </a:lnTo>
                  <a:lnTo>
                    <a:pt x="381" y="607"/>
                  </a:lnTo>
                  <a:lnTo>
                    <a:pt x="379" y="607"/>
                  </a:lnTo>
                  <a:lnTo>
                    <a:pt x="377" y="606"/>
                  </a:lnTo>
                  <a:lnTo>
                    <a:pt x="375" y="605"/>
                  </a:lnTo>
                  <a:lnTo>
                    <a:pt x="374" y="603"/>
                  </a:lnTo>
                  <a:lnTo>
                    <a:pt x="340" y="511"/>
                  </a:lnTo>
                  <a:lnTo>
                    <a:pt x="292" y="378"/>
                  </a:lnTo>
                  <a:lnTo>
                    <a:pt x="242" y="240"/>
                  </a:lnTo>
                  <a:lnTo>
                    <a:pt x="205" y="132"/>
                  </a:lnTo>
                  <a:lnTo>
                    <a:pt x="203" y="130"/>
                  </a:lnTo>
                  <a:lnTo>
                    <a:pt x="202" y="128"/>
                  </a:lnTo>
                  <a:lnTo>
                    <a:pt x="200" y="128"/>
                  </a:lnTo>
                  <a:lnTo>
                    <a:pt x="197" y="128"/>
                  </a:lnTo>
                  <a:lnTo>
                    <a:pt x="195" y="128"/>
                  </a:lnTo>
                  <a:lnTo>
                    <a:pt x="194" y="130"/>
                  </a:lnTo>
                  <a:lnTo>
                    <a:pt x="192" y="132"/>
                  </a:lnTo>
                  <a:lnTo>
                    <a:pt x="192" y="134"/>
                  </a:lnTo>
                  <a:lnTo>
                    <a:pt x="192" y="604"/>
                  </a:lnTo>
                  <a:lnTo>
                    <a:pt x="191" y="606"/>
                  </a:lnTo>
                  <a:lnTo>
                    <a:pt x="190" y="608"/>
                  </a:lnTo>
                  <a:lnTo>
                    <a:pt x="188" y="609"/>
                  </a:lnTo>
                  <a:lnTo>
                    <a:pt x="186" y="610"/>
                  </a:lnTo>
                  <a:lnTo>
                    <a:pt x="184" y="610"/>
                  </a:lnTo>
                  <a:lnTo>
                    <a:pt x="182" y="609"/>
                  </a:lnTo>
                  <a:lnTo>
                    <a:pt x="181" y="609"/>
                  </a:lnTo>
                  <a:lnTo>
                    <a:pt x="180" y="608"/>
                  </a:lnTo>
                  <a:lnTo>
                    <a:pt x="179" y="605"/>
                  </a:lnTo>
                  <a:lnTo>
                    <a:pt x="13" y="5"/>
                  </a:lnTo>
                  <a:lnTo>
                    <a:pt x="12" y="3"/>
                  </a:lnTo>
                  <a:lnTo>
                    <a:pt x="11" y="2"/>
                  </a:lnTo>
                  <a:lnTo>
                    <a:pt x="10" y="1"/>
                  </a:lnTo>
                  <a:lnTo>
                    <a:pt x="8" y="1"/>
                  </a:lnTo>
                  <a:lnTo>
                    <a:pt x="6" y="0"/>
                  </a:lnTo>
                  <a:lnTo>
                    <a:pt x="4" y="1"/>
                  </a:lnTo>
                  <a:lnTo>
                    <a:pt x="2" y="3"/>
                  </a:lnTo>
                  <a:lnTo>
                    <a:pt x="1" y="4"/>
                  </a:lnTo>
                  <a:lnTo>
                    <a:pt x="0" y="7"/>
                  </a:lnTo>
                  <a:lnTo>
                    <a:pt x="0" y="546"/>
                  </a:lnTo>
                  <a:lnTo>
                    <a:pt x="0" y="549"/>
                  </a:lnTo>
                  <a:lnTo>
                    <a:pt x="1" y="552"/>
                  </a:lnTo>
                  <a:lnTo>
                    <a:pt x="3" y="554"/>
                  </a:lnTo>
                  <a:lnTo>
                    <a:pt x="5" y="555"/>
                  </a:lnTo>
                  <a:lnTo>
                    <a:pt x="147" y="644"/>
                  </a:lnTo>
                  <a:lnTo>
                    <a:pt x="150" y="645"/>
                  </a:lnTo>
                  <a:lnTo>
                    <a:pt x="153" y="646"/>
                  </a:lnTo>
                  <a:lnTo>
                    <a:pt x="389" y="646"/>
                  </a:lnTo>
                  <a:lnTo>
                    <a:pt x="392" y="646"/>
                  </a:lnTo>
                  <a:lnTo>
                    <a:pt x="395" y="647"/>
                  </a:lnTo>
                  <a:lnTo>
                    <a:pt x="397" y="649"/>
                  </a:lnTo>
                  <a:lnTo>
                    <a:pt x="398" y="651"/>
                  </a:lnTo>
                  <a:lnTo>
                    <a:pt x="399" y="652"/>
                  </a:lnTo>
                  <a:lnTo>
                    <a:pt x="500" y="909"/>
                  </a:lnTo>
                  <a:lnTo>
                    <a:pt x="501" y="912"/>
                  </a:lnTo>
                  <a:lnTo>
                    <a:pt x="501" y="914"/>
                  </a:lnTo>
                  <a:lnTo>
                    <a:pt x="501" y="917"/>
                  </a:lnTo>
                  <a:lnTo>
                    <a:pt x="500" y="920"/>
                  </a:lnTo>
                  <a:lnTo>
                    <a:pt x="448" y="1028"/>
                  </a:lnTo>
                  <a:lnTo>
                    <a:pt x="447" y="1030"/>
                  </a:lnTo>
                  <a:lnTo>
                    <a:pt x="447" y="1032"/>
                  </a:lnTo>
                  <a:lnTo>
                    <a:pt x="447" y="1036"/>
                  </a:lnTo>
                  <a:lnTo>
                    <a:pt x="519" y="1218"/>
                  </a:lnTo>
                  <a:lnTo>
                    <a:pt x="520" y="1221"/>
                  </a:lnTo>
                  <a:lnTo>
                    <a:pt x="523" y="1223"/>
                  </a:lnTo>
                  <a:lnTo>
                    <a:pt x="526" y="1224"/>
                  </a:lnTo>
                  <a:lnTo>
                    <a:pt x="529" y="1225"/>
                  </a:lnTo>
                  <a:lnTo>
                    <a:pt x="579" y="1225"/>
                  </a:lnTo>
                  <a:lnTo>
                    <a:pt x="629" y="1225"/>
                  </a:lnTo>
                  <a:lnTo>
                    <a:pt x="632" y="1224"/>
                  </a:lnTo>
                  <a:lnTo>
                    <a:pt x="635" y="1223"/>
                  </a:lnTo>
                  <a:lnTo>
                    <a:pt x="637" y="1221"/>
                  </a:lnTo>
                  <a:lnTo>
                    <a:pt x="638" y="1219"/>
                  </a:lnTo>
                  <a:lnTo>
                    <a:pt x="638" y="1218"/>
                  </a:lnTo>
                  <a:lnTo>
                    <a:pt x="710" y="1036"/>
                  </a:lnTo>
                  <a:lnTo>
                    <a:pt x="711" y="1034"/>
                  </a:lnTo>
                  <a:lnTo>
                    <a:pt x="711" y="1032"/>
                  </a:lnTo>
                  <a:lnTo>
                    <a:pt x="710" y="1030"/>
                  </a:lnTo>
                  <a:lnTo>
                    <a:pt x="710" y="1028"/>
                  </a:lnTo>
                  <a:lnTo>
                    <a:pt x="657" y="920"/>
                  </a:lnTo>
                  <a:lnTo>
                    <a:pt x="657" y="917"/>
                  </a:lnTo>
                  <a:lnTo>
                    <a:pt x="656" y="914"/>
                  </a:lnTo>
                  <a:lnTo>
                    <a:pt x="657" y="909"/>
                  </a:lnTo>
                  <a:lnTo>
                    <a:pt x="758" y="652"/>
                  </a:lnTo>
                  <a:lnTo>
                    <a:pt x="760" y="650"/>
                  </a:lnTo>
                  <a:lnTo>
                    <a:pt x="762" y="647"/>
                  </a:lnTo>
                  <a:lnTo>
                    <a:pt x="765" y="646"/>
                  </a:lnTo>
                  <a:lnTo>
                    <a:pt x="768" y="646"/>
                  </a:lnTo>
                  <a:lnTo>
                    <a:pt x="1006" y="646"/>
                  </a:lnTo>
                  <a:lnTo>
                    <a:pt x="1009" y="645"/>
                  </a:lnTo>
                  <a:lnTo>
                    <a:pt x="1011" y="644"/>
                  </a:lnTo>
                  <a:lnTo>
                    <a:pt x="1153" y="555"/>
                  </a:lnTo>
                  <a:lnTo>
                    <a:pt x="1155" y="554"/>
                  </a:lnTo>
                  <a:lnTo>
                    <a:pt x="1156" y="553"/>
                  </a:lnTo>
                  <a:lnTo>
                    <a:pt x="1157" y="552"/>
                  </a:lnTo>
                  <a:lnTo>
                    <a:pt x="1158" y="549"/>
                  </a:lnTo>
                  <a:lnTo>
                    <a:pt x="1158" y="546"/>
                  </a:lnTo>
                  <a:lnTo>
                    <a:pt x="1158" y="7"/>
                  </a:lnTo>
                  <a:lnTo>
                    <a:pt x="1158" y="4"/>
                  </a:lnTo>
                  <a:lnTo>
                    <a:pt x="1156" y="3"/>
                  </a:lnTo>
                  <a:lnTo>
                    <a:pt x="1154" y="1"/>
                  </a:lnTo>
                  <a:lnTo>
                    <a:pt x="1152" y="0"/>
                  </a:lnTo>
                  <a:lnTo>
                    <a:pt x="1150" y="1"/>
                  </a:lnTo>
                  <a:lnTo>
                    <a:pt x="1148" y="1"/>
                  </a:lnTo>
                  <a:lnTo>
                    <a:pt x="1146" y="3"/>
                  </a:lnTo>
                  <a:lnTo>
                    <a:pt x="1145" y="4"/>
                  </a:lnTo>
                  <a:lnTo>
                    <a:pt x="11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4" name="Freeform 7"/>
            <p:cNvSpPr>
              <a:spLocks noEditPoints="1"/>
            </p:cNvSpPr>
            <p:nvPr/>
          </p:nvSpPr>
          <p:spPr bwMode="auto">
            <a:xfrm>
              <a:off x="5386388" y="3476625"/>
              <a:ext cx="3533775" cy="933450"/>
            </a:xfrm>
            <a:custGeom>
              <a:avLst/>
              <a:gdLst>
                <a:gd name="T0" fmla="*/ 1976 w 2226"/>
                <a:gd name="T1" fmla="*/ 407 h 588"/>
                <a:gd name="T2" fmla="*/ 1967 w 2226"/>
                <a:gd name="T3" fmla="*/ 463 h 588"/>
                <a:gd name="T4" fmla="*/ 2059 w 2226"/>
                <a:gd name="T5" fmla="*/ 452 h 588"/>
                <a:gd name="T6" fmla="*/ 2077 w 2226"/>
                <a:gd name="T7" fmla="*/ 579 h 588"/>
                <a:gd name="T8" fmla="*/ 2048 w 2226"/>
                <a:gd name="T9" fmla="*/ 537 h 588"/>
                <a:gd name="T10" fmla="*/ 1914 w 2226"/>
                <a:gd name="T11" fmla="*/ 585 h 588"/>
                <a:gd name="T12" fmla="*/ 1811 w 2226"/>
                <a:gd name="T13" fmla="*/ 508 h 588"/>
                <a:gd name="T14" fmla="*/ 1836 w 2226"/>
                <a:gd name="T15" fmla="*/ 383 h 588"/>
                <a:gd name="T16" fmla="*/ 2013 w 2226"/>
                <a:gd name="T17" fmla="*/ 311 h 588"/>
                <a:gd name="T18" fmla="*/ 2045 w 2226"/>
                <a:gd name="T19" fmla="*/ 271 h 588"/>
                <a:gd name="T20" fmla="*/ 1907 w 2226"/>
                <a:gd name="T21" fmla="*/ 300 h 588"/>
                <a:gd name="T22" fmla="*/ 1866 w 2226"/>
                <a:gd name="T23" fmla="*/ 195 h 588"/>
                <a:gd name="T24" fmla="*/ 2086 w 2226"/>
                <a:gd name="T25" fmla="*/ 154 h 588"/>
                <a:gd name="T26" fmla="*/ 2190 w 2226"/>
                <a:gd name="T27" fmla="*/ 214 h 588"/>
                <a:gd name="T28" fmla="*/ 2217 w 2226"/>
                <a:gd name="T29" fmla="*/ 512 h 588"/>
                <a:gd name="T30" fmla="*/ 1994 w 2226"/>
                <a:gd name="T31" fmla="*/ 3 h 588"/>
                <a:gd name="T32" fmla="*/ 1869 w 2226"/>
                <a:gd name="T33" fmla="*/ 7 h 588"/>
                <a:gd name="T34" fmla="*/ 2172 w 2226"/>
                <a:gd name="T35" fmla="*/ 123 h 588"/>
                <a:gd name="T36" fmla="*/ 1190 w 2226"/>
                <a:gd name="T37" fmla="*/ 576 h 588"/>
                <a:gd name="T38" fmla="*/ 1121 w 2226"/>
                <a:gd name="T39" fmla="*/ 502 h 588"/>
                <a:gd name="T40" fmla="*/ 1059 w 2226"/>
                <a:gd name="T41" fmla="*/ 264 h 588"/>
                <a:gd name="T42" fmla="*/ 1170 w 2226"/>
                <a:gd name="T43" fmla="*/ 25 h 588"/>
                <a:gd name="T44" fmla="*/ 1274 w 2226"/>
                <a:gd name="T45" fmla="*/ 156 h 588"/>
                <a:gd name="T46" fmla="*/ 1374 w 2226"/>
                <a:gd name="T47" fmla="*/ 271 h 588"/>
                <a:gd name="T48" fmla="*/ 1291 w 2226"/>
                <a:gd name="T49" fmla="*/ 469 h 588"/>
                <a:gd name="T50" fmla="*/ 1370 w 2226"/>
                <a:gd name="T51" fmla="*/ 564 h 588"/>
                <a:gd name="T52" fmla="*/ 1 w 2226"/>
                <a:gd name="T53" fmla="*/ 3 h 588"/>
                <a:gd name="T54" fmla="*/ 312 w 2226"/>
                <a:gd name="T55" fmla="*/ 389 h 588"/>
                <a:gd name="T56" fmla="*/ 615 w 2226"/>
                <a:gd name="T57" fmla="*/ 572 h 588"/>
                <a:gd name="T58" fmla="*/ 463 w 2226"/>
                <a:gd name="T59" fmla="*/ 222 h 588"/>
                <a:gd name="T60" fmla="*/ 365 w 2226"/>
                <a:gd name="T61" fmla="*/ 579 h 588"/>
                <a:gd name="T62" fmla="*/ 146 w 2226"/>
                <a:gd name="T63" fmla="*/ 223 h 588"/>
                <a:gd name="T64" fmla="*/ 1 w 2226"/>
                <a:gd name="T65" fmla="*/ 576 h 588"/>
                <a:gd name="T66" fmla="*/ 795 w 2226"/>
                <a:gd name="T67" fmla="*/ 421 h 588"/>
                <a:gd name="T68" fmla="*/ 861 w 2226"/>
                <a:gd name="T69" fmla="*/ 482 h 588"/>
                <a:gd name="T70" fmla="*/ 999 w 2226"/>
                <a:gd name="T71" fmla="*/ 448 h 588"/>
                <a:gd name="T72" fmla="*/ 974 w 2226"/>
                <a:gd name="T73" fmla="*/ 574 h 588"/>
                <a:gd name="T74" fmla="*/ 772 w 2226"/>
                <a:gd name="T75" fmla="*/ 575 h 588"/>
                <a:gd name="T76" fmla="*/ 659 w 2226"/>
                <a:gd name="T77" fmla="*/ 476 h 588"/>
                <a:gd name="T78" fmla="*/ 649 w 2226"/>
                <a:gd name="T79" fmla="*/ 300 h 588"/>
                <a:gd name="T80" fmla="*/ 753 w 2226"/>
                <a:gd name="T81" fmla="*/ 177 h 588"/>
                <a:gd name="T82" fmla="*/ 901 w 2226"/>
                <a:gd name="T83" fmla="*/ 155 h 588"/>
                <a:gd name="T84" fmla="*/ 1027 w 2226"/>
                <a:gd name="T85" fmla="*/ 233 h 588"/>
                <a:gd name="T86" fmla="*/ 921 w 2226"/>
                <a:gd name="T87" fmla="*/ 325 h 588"/>
                <a:gd name="T88" fmla="*/ 895 w 2226"/>
                <a:gd name="T89" fmla="*/ 267 h 588"/>
                <a:gd name="T90" fmla="*/ 818 w 2226"/>
                <a:gd name="T91" fmla="*/ 277 h 588"/>
                <a:gd name="T92" fmla="*/ 1595 w 2226"/>
                <a:gd name="T93" fmla="*/ 588 h 588"/>
                <a:gd name="T94" fmla="*/ 1393 w 2226"/>
                <a:gd name="T95" fmla="*/ 532 h 588"/>
                <a:gd name="T96" fmla="*/ 1483 w 2226"/>
                <a:gd name="T97" fmla="*/ 465 h 588"/>
                <a:gd name="T98" fmla="*/ 1638 w 2226"/>
                <a:gd name="T99" fmla="*/ 480 h 588"/>
                <a:gd name="T100" fmla="*/ 1609 w 2226"/>
                <a:gd name="T101" fmla="*/ 434 h 588"/>
                <a:gd name="T102" fmla="*/ 1433 w 2226"/>
                <a:gd name="T103" fmla="*/ 371 h 588"/>
                <a:gd name="T104" fmla="*/ 1410 w 2226"/>
                <a:gd name="T105" fmla="*/ 261 h 588"/>
                <a:gd name="T106" fmla="*/ 1497 w 2226"/>
                <a:gd name="T107" fmla="*/ 166 h 588"/>
                <a:gd name="T108" fmla="*/ 1713 w 2226"/>
                <a:gd name="T109" fmla="*/ 174 h 588"/>
                <a:gd name="T110" fmla="*/ 1716 w 2226"/>
                <a:gd name="T111" fmla="*/ 292 h 588"/>
                <a:gd name="T112" fmla="*/ 1568 w 2226"/>
                <a:gd name="T113" fmla="*/ 256 h 588"/>
                <a:gd name="T114" fmla="*/ 1563 w 2226"/>
                <a:gd name="T115" fmla="*/ 299 h 588"/>
                <a:gd name="T116" fmla="*/ 1752 w 2226"/>
                <a:gd name="T117" fmla="*/ 356 h 588"/>
                <a:gd name="T118" fmla="*/ 1787 w 2226"/>
                <a:gd name="T119" fmla="*/ 458 h 588"/>
                <a:gd name="T120" fmla="*/ 1721 w 2226"/>
                <a:gd name="T121" fmla="*/ 55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26" h="588">
                  <a:moveTo>
                    <a:pt x="2065" y="439"/>
                  </a:moveTo>
                  <a:lnTo>
                    <a:pt x="2065" y="391"/>
                  </a:lnTo>
                  <a:lnTo>
                    <a:pt x="2064" y="389"/>
                  </a:lnTo>
                  <a:lnTo>
                    <a:pt x="2063" y="388"/>
                  </a:lnTo>
                  <a:lnTo>
                    <a:pt x="2061" y="387"/>
                  </a:lnTo>
                  <a:lnTo>
                    <a:pt x="2060" y="387"/>
                  </a:lnTo>
                  <a:lnTo>
                    <a:pt x="2047" y="388"/>
                  </a:lnTo>
                  <a:lnTo>
                    <a:pt x="2035" y="389"/>
                  </a:lnTo>
                  <a:lnTo>
                    <a:pt x="2024" y="390"/>
                  </a:lnTo>
                  <a:lnTo>
                    <a:pt x="2014" y="392"/>
                  </a:lnTo>
                  <a:lnTo>
                    <a:pt x="2004" y="395"/>
                  </a:lnTo>
                  <a:lnTo>
                    <a:pt x="1996" y="397"/>
                  </a:lnTo>
                  <a:lnTo>
                    <a:pt x="1988" y="400"/>
                  </a:lnTo>
                  <a:lnTo>
                    <a:pt x="1981" y="403"/>
                  </a:lnTo>
                  <a:lnTo>
                    <a:pt x="1976" y="407"/>
                  </a:lnTo>
                  <a:lnTo>
                    <a:pt x="1971" y="411"/>
                  </a:lnTo>
                  <a:lnTo>
                    <a:pt x="1966" y="415"/>
                  </a:lnTo>
                  <a:lnTo>
                    <a:pt x="1963" y="420"/>
                  </a:lnTo>
                  <a:lnTo>
                    <a:pt x="1960" y="425"/>
                  </a:lnTo>
                  <a:lnTo>
                    <a:pt x="1958" y="430"/>
                  </a:lnTo>
                  <a:lnTo>
                    <a:pt x="1957" y="435"/>
                  </a:lnTo>
                  <a:lnTo>
                    <a:pt x="1957" y="441"/>
                  </a:lnTo>
                  <a:lnTo>
                    <a:pt x="1957" y="445"/>
                  </a:lnTo>
                  <a:lnTo>
                    <a:pt x="1958" y="448"/>
                  </a:lnTo>
                  <a:lnTo>
                    <a:pt x="1958" y="451"/>
                  </a:lnTo>
                  <a:lnTo>
                    <a:pt x="1959" y="454"/>
                  </a:lnTo>
                  <a:lnTo>
                    <a:pt x="1961" y="457"/>
                  </a:lnTo>
                  <a:lnTo>
                    <a:pt x="1963" y="459"/>
                  </a:lnTo>
                  <a:lnTo>
                    <a:pt x="1965" y="461"/>
                  </a:lnTo>
                  <a:lnTo>
                    <a:pt x="1967" y="463"/>
                  </a:lnTo>
                  <a:lnTo>
                    <a:pt x="1972" y="467"/>
                  </a:lnTo>
                  <a:lnTo>
                    <a:pt x="1975" y="468"/>
                  </a:lnTo>
                  <a:lnTo>
                    <a:pt x="1978" y="469"/>
                  </a:lnTo>
                  <a:lnTo>
                    <a:pt x="1984" y="470"/>
                  </a:lnTo>
                  <a:lnTo>
                    <a:pt x="1991" y="471"/>
                  </a:lnTo>
                  <a:lnTo>
                    <a:pt x="2005" y="470"/>
                  </a:lnTo>
                  <a:lnTo>
                    <a:pt x="2011" y="470"/>
                  </a:lnTo>
                  <a:lnTo>
                    <a:pt x="2017" y="469"/>
                  </a:lnTo>
                  <a:lnTo>
                    <a:pt x="2023" y="468"/>
                  </a:lnTo>
                  <a:lnTo>
                    <a:pt x="2028" y="467"/>
                  </a:lnTo>
                  <a:lnTo>
                    <a:pt x="2037" y="464"/>
                  </a:lnTo>
                  <a:lnTo>
                    <a:pt x="2045" y="461"/>
                  </a:lnTo>
                  <a:lnTo>
                    <a:pt x="2051" y="458"/>
                  </a:lnTo>
                  <a:lnTo>
                    <a:pt x="2056" y="454"/>
                  </a:lnTo>
                  <a:lnTo>
                    <a:pt x="2059" y="452"/>
                  </a:lnTo>
                  <a:lnTo>
                    <a:pt x="2061" y="450"/>
                  </a:lnTo>
                  <a:lnTo>
                    <a:pt x="2063" y="447"/>
                  </a:lnTo>
                  <a:lnTo>
                    <a:pt x="2064" y="443"/>
                  </a:lnTo>
                  <a:lnTo>
                    <a:pt x="2065" y="440"/>
                  </a:lnTo>
                  <a:lnTo>
                    <a:pt x="2065" y="439"/>
                  </a:lnTo>
                  <a:close/>
                  <a:moveTo>
                    <a:pt x="2225" y="572"/>
                  </a:moveTo>
                  <a:lnTo>
                    <a:pt x="2226" y="575"/>
                  </a:lnTo>
                  <a:lnTo>
                    <a:pt x="2225" y="577"/>
                  </a:lnTo>
                  <a:lnTo>
                    <a:pt x="2225" y="578"/>
                  </a:lnTo>
                  <a:lnTo>
                    <a:pt x="2224" y="579"/>
                  </a:lnTo>
                  <a:lnTo>
                    <a:pt x="2221" y="579"/>
                  </a:lnTo>
                  <a:lnTo>
                    <a:pt x="2220" y="579"/>
                  </a:lnTo>
                  <a:lnTo>
                    <a:pt x="2081" y="579"/>
                  </a:lnTo>
                  <a:lnTo>
                    <a:pt x="2079" y="579"/>
                  </a:lnTo>
                  <a:lnTo>
                    <a:pt x="2077" y="579"/>
                  </a:lnTo>
                  <a:lnTo>
                    <a:pt x="2074" y="577"/>
                  </a:lnTo>
                  <a:lnTo>
                    <a:pt x="2073" y="574"/>
                  </a:lnTo>
                  <a:lnTo>
                    <a:pt x="2072" y="572"/>
                  </a:lnTo>
                  <a:lnTo>
                    <a:pt x="2069" y="560"/>
                  </a:lnTo>
                  <a:lnTo>
                    <a:pt x="2067" y="548"/>
                  </a:lnTo>
                  <a:lnTo>
                    <a:pt x="2065" y="537"/>
                  </a:lnTo>
                  <a:lnTo>
                    <a:pt x="2065" y="526"/>
                  </a:lnTo>
                  <a:lnTo>
                    <a:pt x="2064" y="524"/>
                  </a:lnTo>
                  <a:lnTo>
                    <a:pt x="2064" y="522"/>
                  </a:lnTo>
                  <a:lnTo>
                    <a:pt x="2063" y="522"/>
                  </a:lnTo>
                  <a:lnTo>
                    <a:pt x="2062" y="522"/>
                  </a:lnTo>
                  <a:lnTo>
                    <a:pt x="2061" y="523"/>
                  </a:lnTo>
                  <a:lnTo>
                    <a:pt x="2060" y="524"/>
                  </a:lnTo>
                  <a:lnTo>
                    <a:pt x="2054" y="531"/>
                  </a:lnTo>
                  <a:lnTo>
                    <a:pt x="2048" y="537"/>
                  </a:lnTo>
                  <a:lnTo>
                    <a:pt x="2042" y="544"/>
                  </a:lnTo>
                  <a:lnTo>
                    <a:pt x="2035" y="549"/>
                  </a:lnTo>
                  <a:lnTo>
                    <a:pt x="2028" y="555"/>
                  </a:lnTo>
                  <a:lnTo>
                    <a:pt x="2021" y="560"/>
                  </a:lnTo>
                  <a:lnTo>
                    <a:pt x="2013" y="564"/>
                  </a:lnTo>
                  <a:lnTo>
                    <a:pt x="2005" y="569"/>
                  </a:lnTo>
                  <a:lnTo>
                    <a:pt x="1996" y="573"/>
                  </a:lnTo>
                  <a:lnTo>
                    <a:pt x="1987" y="576"/>
                  </a:lnTo>
                  <a:lnTo>
                    <a:pt x="1978" y="579"/>
                  </a:lnTo>
                  <a:lnTo>
                    <a:pt x="1968" y="581"/>
                  </a:lnTo>
                  <a:lnTo>
                    <a:pt x="1958" y="583"/>
                  </a:lnTo>
                  <a:lnTo>
                    <a:pt x="1948" y="584"/>
                  </a:lnTo>
                  <a:lnTo>
                    <a:pt x="1937" y="585"/>
                  </a:lnTo>
                  <a:lnTo>
                    <a:pt x="1925" y="586"/>
                  </a:lnTo>
                  <a:lnTo>
                    <a:pt x="1914" y="585"/>
                  </a:lnTo>
                  <a:lnTo>
                    <a:pt x="1903" y="584"/>
                  </a:lnTo>
                  <a:lnTo>
                    <a:pt x="1892" y="582"/>
                  </a:lnTo>
                  <a:lnTo>
                    <a:pt x="1881" y="579"/>
                  </a:lnTo>
                  <a:lnTo>
                    <a:pt x="1871" y="574"/>
                  </a:lnTo>
                  <a:lnTo>
                    <a:pt x="1861" y="570"/>
                  </a:lnTo>
                  <a:lnTo>
                    <a:pt x="1856" y="567"/>
                  </a:lnTo>
                  <a:lnTo>
                    <a:pt x="1851" y="564"/>
                  </a:lnTo>
                  <a:lnTo>
                    <a:pt x="1843" y="557"/>
                  </a:lnTo>
                  <a:lnTo>
                    <a:pt x="1835" y="549"/>
                  </a:lnTo>
                  <a:lnTo>
                    <a:pt x="1827" y="540"/>
                  </a:lnTo>
                  <a:lnTo>
                    <a:pt x="1824" y="536"/>
                  </a:lnTo>
                  <a:lnTo>
                    <a:pt x="1821" y="531"/>
                  </a:lnTo>
                  <a:lnTo>
                    <a:pt x="1816" y="520"/>
                  </a:lnTo>
                  <a:lnTo>
                    <a:pt x="1813" y="514"/>
                  </a:lnTo>
                  <a:lnTo>
                    <a:pt x="1811" y="508"/>
                  </a:lnTo>
                  <a:lnTo>
                    <a:pt x="1808" y="495"/>
                  </a:lnTo>
                  <a:lnTo>
                    <a:pt x="1806" y="481"/>
                  </a:lnTo>
                  <a:lnTo>
                    <a:pt x="1806" y="474"/>
                  </a:lnTo>
                  <a:lnTo>
                    <a:pt x="1805" y="466"/>
                  </a:lnTo>
                  <a:lnTo>
                    <a:pt x="1806" y="458"/>
                  </a:lnTo>
                  <a:lnTo>
                    <a:pt x="1806" y="449"/>
                  </a:lnTo>
                  <a:lnTo>
                    <a:pt x="1808" y="441"/>
                  </a:lnTo>
                  <a:lnTo>
                    <a:pt x="1809" y="433"/>
                  </a:lnTo>
                  <a:lnTo>
                    <a:pt x="1812" y="425"/>
                  </a:lnTo>
                  <a:lnTo>
                    <a:pt x="1814" y="418"/>
                  </a:lnTo>
                  <a:lnTo>
                    <a:pt x="1818" y="410"/>
                  </a:lnTo>
                  <a:lnTo>
                    <a:pt x="1822" y="403"/>
                  </a:lnTo>
                  <a:lnTo>
                    <a:pt x="1826" y="396"/>
                  </a:lnTo>
                  <a:lnTo>
                    <a:pt x="1831" y="390"/>
                  </a:lnTo>
                  <a:lnTo>
                    <a:pt x="1836" y="383"/>
                  </a:lnTo>
                  <a:lnTo>
                    <a:pt x="1842" y="377"/>
                  </a:lnTo>
                  <a:lnTo>
                    <a:pt x="1848" y="371"/>
                  </a:lnTo>
                  <a:lnTo>
                    <a:pt x="1855" y="365"/>
                  </a:lnTo>
                  <a:lnTo>
                    <a:pt x="1862" y="360"/>
                  </a:lnTo>
                  <a:lnTo>
                    <a:pt x="1869" y="355"/>
                  </a:lnTo>
                  <a:lnTo>
                    <a:pt x="1886" y="345"/>
                  </a:lnTo>
                  <a:lnTo>
                    <a:pt x="1895" y="341"/>
                  </a:lnTo>
                  <a:lnTo>
                    <a:pt x="1905" y="337"/>
                  </a:lnTo>
                  <a:lnTo>
                    <a:pt x="1915" y="333"/>
                  </a:lnTo>
                  <a:lnTo>
                    <a:pt x="1926" y="329"/>
                  </a:lnTo>
                  <a:lnTo>
                    <a:pt x="1948" y="323"/>
                  </a:lnTo>
                  <a:lnTo>
                    <a:pt x="1960" y="320"/>
                  </a:lnTo>
                  <a:lnTo>
                    <a:pt x="1973" y="317"/>
                  </a:lnTo>
                  <a:lnTo>
                    <a:pt x="1999" y="313"/>
                  </a:lnTo>
                  <a:lnTo>
                    <a:pt x="2013" y="311"/>
                  </a:lnTo>
                  <a:lnTo>
                    <a:pt x="2027" y="310"/>
                  </a:lnTo>
                  <a:lnTo>
                    <a:pt x="2057" y="308"/>
                  </a:lnTo>
                  <a:lnTo>
                    <a:pt x="2061" y="307"/>
                  </a:lnTo>
                  <a:lnTo>
                    <a:pt x="2064" y="306"/>
                  </a:lnTo>
                  <a:lnTo>
                    <a:pt x="2065" y="305"/>
                  </a:lnTo>
                  <a:lnTo>
                    <a:pt x="2065" y="302"/>
                  </a:lnTo>
                  <a:lnTo>
                    <a:pt x="2064" y="295"/>
                  </a:lnTo>
                  <a:lnTo>
                    <a:pt x="2063" y="291"/>
                  </a:lnTo>
                  <a:lnTo>
                    <a:pt x="2063" y="288"/>
                  </a:lnTo>
                  <a:lnTo>
                    <a:pt x="2061" y="285"/>
                  </a:lnTo>
                  <a:lnTo>
                    <a:pt x="2060" y="282"/>
                  </a:lnTo>
                  <a:lnTo>
                    <a:pt x="2055" y="277"/>
                  </a:lnTo>
                  <a:lnTo>
                    <a:pt x="2052" y="275"/>
                  </a:lnTo>
                  <a:lnTo>
                    <a:pt x="2049" y="273"/>
                  </a:lnTo>
                  <a:lnTo>
                    <a:pt x="2045" y="271"/>
                  </a:lnTo>
                  <a:lnTo>
                    <a:pt x="2041" y="269"/>
                  </a:lnTo>
                  <a:lnTo>
                    <a:pt x="2031" y="267"/>
                  </a:lnTo>
                  <a:lnTo>
                    <a:pt x="2025" y="267"/>
                  </a:lnTo>
                  <a:lnTo>
                    <a:pt x="2018" y="267"/>
                  </a:lnTo>
                  <a:lnTo>
                    <a:pt x="2009" y="267"/>
                  </a:lnTo>
                  <a:lnTo>
                    <a:pt x="2000" y="268"/>
                  </a:lnTo>
                  <a:lnTo>
                    <a:pt x="1992" y="269"/>
                  </a:lnTo>
                  <a:lnTo>
                    <a:pt x="1983" y="270"/>
                  </a:lnTo>
                  <a:lnTo>
                    <a:pt x="1974" y="272"/>
                  </a:lnTo>
                  <a:lnTo>
                    <a:pt x="1966" y="274"/>
                  </a:lnTo>
                  <a:lnTo>
                    <a:pt x="1958" y="277"/>
                  </a:lnTo>
                  <a:lnTo>
                    <a:pt x="1950" y="280"/>
                  </a:lnTo>
                  <a:lnTo>
                    <a:pt x="1934" y="286"/>
                  </a:lnTo>
                  <a:lnTo>
                    <a:pt x="1920" y="293"/>
                  </a:lnTo>
                  <a:lnTo>
                    <a:pt x="1907" y="300"/>
                  </a:lnTo>
                  <a:lnTo>
                    <a:pt x="1895" y="308"/>
                  </a:lnTo>
                  <a:lnTo>
                    <a:pt x="1893" y="309"/>
                  </a:lnTo>
                  <a:lnTo>
                    <a:pt x="1891" y="309"/>
                  </a:lnTo>
                  <a:lnTo>
                    <a:pt x="1889" y="309"/>
                  </a:lnTo>
                  <a:lnTo>
                    <a:pt x="1888" y="309"/>
                  </a:lnTo>
                  <a:lnTo>
                    <a:pt x="1886" y="307"/>
                  </a:lnTo>
                  <a:lnTo>
                    <a:pt x="1885" y="306"/>
                  </a:lnTo>
                  <a:lnTo>
                    <a:pt x="1830" y="230"/>
                  </a:lnTo>
                  <a:lnTo>
                    <a:pt x="1828" y="227"/>
                  </a:lnTo>
                  <a:lnTo>
                    <a:pt x="1828" y="225"/>
                  </a:lnTo>
                  <a:lnTo>
                    <a:pt x="1829" y="224"/>
                  </a:lnTo>
                  <a:lnTo>
                    <a:pt x="1830" y="221"/>
                  </a:lnTo>
                  <a:lnTo>
                    <a:pt x="1831" y="220"/>
                  </a:lnTo>
                  <a:lnTo>
                    <a:pt x="1847" y="207"/>
                  </a:lnTo>
                  <a:lnTo>
                    <a:pt x="1866" y="195"/>
                  </a:lnTo>
                  <a:lnTo>
                    <a:pt x="1876" y="189"/>
                  </a:lnTo>
                  <a:lnTo>
                    <a:pt x="1887" y="184"/>
                  </a:lnTo>
                  <a:lnTo>
                    <a:pt x="1899" y="178"/>
                  </a:lnTo>
                  <a:lnTo>
                    <a:pt x="1912" y="173"/>
                  </a:lnTo>
                  <a:lnTo>
                    <a:pt x="1925" y="169"/>
                  </a:lnTo>
                  <a:lnTo>
                    <a:pt x="1939" y="165"/>
                  </a:lnTo>
                  <a:lnTo>
                    <a:pt x="1954" y="161"/>
                  </a:lnTo>
                  <a:lnTo>
                    <a:pt x="1970" y="158"/>
                  </a:lnTo>
                  <a:lnTo>
                    <a:pt x="1987" y="155"/>
                  </a:lnTo>
                  <a:lnTo>
                    <a:pt x="2005" y="153"/>
                  </a:lnTo>
                  <a:lnTo>
                    <a:pt x="2023" y="152"/>
                  </a:lnTo>
                  <a:lnTo>
                    <a:pt x="2043" y="152"/>
                  </a:lnTo>
                  <a:lnTo>
                    <a:pt x="2054" y="152"/>
                  </a:lnTo>
                  <a:lnTo>
                    <a:pt x="2065" y="152"/>
                  </a:lnTo>
                  <a:lnTo>
                    <a:pt x="2086" y="154"/>
                  </a:lnTo>
                  <a:lnTo>
                    <a:pt x="2096" y="156"/>
                  </a:lnTo>
                  <a:lnTo>
                    <a:pt x="2105" y="158"/>
                  </a:lnTo>
                  <a:lnTo>
                    <a:pt x="2114" y="160"/>
                  </a:lnTo>
                  <a:lnTo>
                    <a:pt x="2122" y="163"/>
                  </a:lnTo>
                  <a:lnTo>
                    <a:pt x="2130" y="166"/>
                  </a:lnTo>
                  <a:lnTo>
                    <a:pt x="2138" y="169"/>
                  </a:lnTo>
                  <a:lnTo>
                    <a:pt x="2145" y="172"/>
                  </a:lnTo>
                  <a:lnTo>
                    <a:pt x="2152" y="176"/>
                  </a:lnTo>
                  <a:lnTo>
                    <a:pt x="2159" y="181"/>
                  </a:lnTo>
                  <a:lnTo>
                    <a:pt x="2165" y="185"/>
                  </a:lnTo>
                  <a:lnTo>
                    <a:pt x="2170" y="190"/>
                  </a:lnTo>
                  <a:lnTo>
                    <a:pt x="2176" y="196"/>
                  </a:lnTo>
                  <a:lnTo>
                    <a:pt x="2181" y="201"/>
                  </a:lnTo>
                  <a:lnTo>
                    <a:pt x="2186" y="207"/>
                  </a:lnTo>
                  <a:lnTo>
                    <a:pt x="2190" y="214"/>
                  </a:lnTo>
                  <a:lnTo>
                    <a:pt x="2194" y="220"/>
                  </a:lnTo>
                  <a:lnTo>
                    <a:pt x="2197" y="227"/>
                  </a:lnTo>
                  <a:lnTo>
                    <a:pt x="2201" y="235"/>
                  </a:lnTo>
                  <a:lnTo>
                    <a:pt x="2204" y="242"/>
                  </a:lnTo>
                  <a:lnTo>
                    <a:pt x="2206" y="251"/>
                  </a:lnTo>
                  <a:lnTo>
                    <a:pt x="2209" y="259"/>
                  </a:lnTo>
                  <a:lnTo>
                    <a:pt x="2211" y="268"/>
                  </a:lnTo>
                  <a:lnTo>
                    <a:pt x="2212" y="277"/>
                  </a:lnTo>
                  <a:lnTo>
                    <a:pt x="2214" y="287"/>
                  </a:lnTo>
                  <a:lnTo>
                    <a:pt x="2215" y="296"/>
                  </a:lnTo>
                  <a:lnTo>
                    <a:pt x="2215" y="307"/>
                  </a:lnTo>
                  <a:lnTo>
                    <a:pt x="2216" y="317"/>
                  </a:lnTo>
                  <a:lnTo>
                    <a:pt x="2216" y="328"/>
                  </a:lnTo>
                  <a:lnTo>
                    <a:pt x="2216" y="478"/>
                  </a:lnTo>
                  <a:lnTo>
                    <a:pt x="2217" y="512"/>
                  </a:lnTo>
                  <a:lnTo>
                    <a:pt x="2218" y="539"/>
                  </a:lnTo>
                  <a:lnTo>
                    <a:pt x="2220" y="549"/>
                  </a:lnTo>
                  <a:lnTo>
                    <a:pt x="2221" y="559"/>
                  </a:lnTo>
                  <a:lnTo>
                    <a:pt x="2223" y="566"/>
                  </a:lnTo>
                  <a:lnTo>
                    <a:pt x="2225" y="572"/>
                  </a:lnTo>
                  <a:close/>
                  <a:moveTo>
                    <a:pt x="1869" y="7"/>
                  </a:moveTo>
                  <a:lnTo>
                    <a:pt x="1869" y="5"/>
                  </a:lnTo>
                  <a:lnTo>
                    <a:pt x="1870" y="3"/>
                  </a:lnTo>
                  <a:lnTo>
                    <a:pt x="1873" y="0"/>
                  </a:lnTo>
                  <a:lnTo>
                    <a:pt x="1875" y="0"/>
                  </a:lnTo>
                  <a:lnTo>
                    <a:pt x="1877" y="0"/>
                  </a:lnTo>
                  <a:lnTo>
                    <a:pt x="1987" y="0"/>
                  </a:lnTo>
                  <a:lnTo>
                    <a:pt x="1989" y="0"/>
                  </a:lnTo>
                  <a:lnTo>
                    <a:pt x="1991" y="1"/>
                  </a:lnTo>
                  <a:lnTo>
                    <a:pt x="1994" y="3"/>
                  </a:lnTo>
                  <a:lnTo>
                    <a:pt x="1994" y="6"/>
                  </a:lnTo>
                  <a:lnTo>
                    <a:pt x="1995" y="7"/>
                  </a:lnTo>
                  <a:lnTo>
                    <a:pt x="1995" y="121"/>
                  </a:lnTo>
                  <a:lnTo>
                    <a:pt x="1994" y="123"/>
                  </a:lnTo>
                  <a:lnTo>
                    <a:pt x="1993" y="125"/>
                  </a:lnTo>
                  <a:lnTo>
                    <a:pt x="1991" y="128"/>
                  </a:lnTo>
                  <a:lnTo>
                    <a:pt x="1988" y="128"/>
                  </a:lnTo>
                  <a:lnTo>
                    <a:pt x="1987" y="129"/>
                  </a:lnTo>
                  <a:lnTo>
                    <a:pt x="1877" y="129"/>
                  </a:lnTo>
                  <a:lnTo>
                    <a:pt x="1874" y="128"/>
                  </a:lnTo>
                  <a:lnTo>
                    <a:pt x="1872" y="127"/>
                  </a:lnTo>
                  <a:lnTo>
                    <a:pt x="1870" y="125"/>
                  </a:lnTo>
                  <a:lnTo>
                    <a:pt x="1869" y="122"/>
                  </a:lnTo>
                  <a:lnTo>
                    <a:pt x="1869" y="121"/>
                  </a:lnTo>
                  <a:lnTo>
                    <a:pt x="1869" y="7"/>
                  </a:lnTo>
                  <a:close/>
                  <a:moveTo>
                    <a:pt x="2047" y="121"/>
                  </a:moveTo>
                  <a:lnTo>
                    <a:pt x="2047" y="7"/>
                  </a:lnTo>
                  <a:lnTo>
                    <a:pt x="2047" y="5"/>
                  </a:lnTo>
                  <a:lnTo>
                    <a:pt x="2048" y="3"/>
                  </a:lnTo>
                  <a:lnTo>
                    <a:pt x="2051" y="0"/>
                  </a:lnTo>
                  <a:lnTo>
                    <a:pt x="2053" y="0"/>
                  </a:lnTo>
                  <a:lnTo>
                    <a:pt x="2054" y="0"/>
                  </a:lnTo>
                  <a:lnTo>
                    <a:pt x="2165" y="0"/>
                  </a:lnTo>
                  <a:lnTo>
                    <a:pt x="2167" y="0"/>
                  </a:lnTo>
                  <a:lnTo>
                    <a:pt x="2169" y="1"/>
                  </a:lnTo>
                  <a:lnTo>
                    <a:pt x="2171" y="3"/>
                  </a:lnTo>
                  <a:lnTo>
                    <a:pt x="2172" y="6"/>
                  </a:lnTo>
                  <a:lnTo>
                    <a:pt x="2172" y="7"/>
                  </a:lnTo>
                  <a:lnTo>
                    <a:pt x="2172" y="121"/>
                  </a:lnTo>
                  <a:lnTo>
                    <a:pt x="2172" y="123"/>
                  </a:lnTo>
                  <a:lnTo>
                    <a:pt x="2171" y="125"/>
                  </a:lnTo>
                  <a:lnTo>
                    <a:pt x="2169" y="127"/>
                  </a:lnTo>
                  <a:lnTo>
                    <a:pt x="2166" y="128"/>
                  </a:lnTo>
                  <a:lnTo>
                    <a:pt x="2165" y="128"/>
                  </a:lnTo>
                  <a:lnTo>
                    <a:pt x="2054" y="128"/>
                  </a:lnTo>
                  <a:lnTo>
                    <a:pt x="2052" y="128"/>
                  </a:lnTo>
                  <a:lnTo>
                    <a:pt x="2050" y="127"/>
                  </a:lnTo>
                  <a:lnTo>
                    <a:pt x="2048" y="125"/>
                  </a:lnTo>
                  <a:lnTo>
                    <a:pt x="2047" y="122"/>
                  </a:lnTo>
                  <a:lnTo>
                    <a:pt x="2047" y="121"/>
                  </a:lnTo>
                  <a:close/>
                  <a:moveTo>
                    <a:pt x="1274" y="585"/>
                  </a:moveTo>
                  <a:lnTo>
                    <a:pt x="1249" y="584"/>
                  </a:lnTo>
                  <a:lnTo>
                    <a:pt x="1226" y="583"/>
                  </a:lnTo>
                  <a:lnTo>
                    <a:pt x="1207" y="580"/>
                  </a:lnTo>
                  <a:lnTo>
                    <a:pt x="1190" y="576"/>
                  </a:lnTo>
                  <a:lnTo>
                    <a:pt x="1175" y="571"/>
                  </a:lnTo>
                  <a:lnTo>
                    <a:pt x="1168" y="568"/>
                  </a:lnTo>
                  <a:lnTo>
                    <a:pt x="1162" y="565"/>
                  </a:lnTo>
                  <a:lnTo>
                    <a:pt x="1156" y="561"/>
                  </a:lnTo>
                  <a:lnTo>
                    <a:pt x="1151" y="558"/>
                  </a:lnTo>
                  <a:lnTo>
                    <a:pt x="1149" y="556"/>
                  </a:lnTo>
                  <a:lnTo>
                    <a:pt x="1147" y="554"/>
                  </a:lnTo>
                  <a:lnTo>
                    <a:pt x="1143" y="550"/>
                  </a:lnTo>
                  <a:lnTo>
                    <a:pt x="1139" y="545"/>
                  </a:lnTo>
                  <a:lnTo>
                    <a:pt x="1135" y="541"/>
                  </a:lnTo>
                  <a:lnTo>
                    <a:pt x="1130" y="531"/>
                  </a:lnTo>
                  <a:lnTo>
                    <a:pt x="1127" y="525"/>
                  </a:lnTo>
                  <a:lnTo>
                    <a:pt x="1125" y="520"/>
                  </a:lnTo>
                  <a:lnTo>
                    <a:pt x="1122" y="508"/>
                  </a:lnTo>
                  <a:lnTo>
                    <a:pt x="1121" y="502"/>
                  </a:lnTo>
                  <a:lnTo>
                    <a:pt x="1120" y="496"/>
                  </a:lnTo>
                  <a:lnTo>
                    <a:pt x="1119" y="482"/>
                  </a:lnTo>
                  <a:lnTo>
                    <a:pt x="1118" y="468"/>
                  </a:lnTo>
                  <a:lnTo>
                    <a:pt x="1118" y="453"/>
                  </a:lnTo>
                  <a:lnTo>
                    <a:pt x="1118" y="278"/>
                  </a:lnTo>
                  <a:lnTo>
                    <a:pt x="1117" y="276"/>
                  </a:lnTo>
                  <a:lnTo>
                    <a:pt x="1117" y="274"/>
                  </a:lnTo>
                  <a:lnTo>
                    <a:pt x="1114" y="272"/>
                  </a:lnTo>
                  <a:lnTo>
                    <a:pt x="1111" y="271"/>
                  </a:lnTo>
                  <a:lnTo>
                    <a:pt x="1110" y="271"/>
                  </a:lnTo>
                  <a:lnTo>
                    <a:pt x="1067" y="271"/>
                  </a:lnTo>
                  <a:lnTo>
                    <a:pt x="1064" y="270"/>
                  </a:lnTo>
                  <a:lnTo>
                    <a:pt x="1062" y="269"/>
                  </a:lnTo>
                  <a:lnTo>
                    <a:pt x="1060" y="267"/>
                  </a:lnTo>
                  <a:lnTo>
                    <a:pt x="1059" y="264"/>
                  </a:lnTo>
                  <a:lnTo>
                    <a:pt x="1059" y="263"/>
                  </a:lnTo>
                  <a:lnTo>
                    <a:pt x="1059" y="167"/>
                  </a:lnTo>
                  <a:lnTo>
                    <a:pt x="1059" y="164"/>
                  </a:lnTo>
                  <a:lnTo>
                    <a:pt x="1060" y="162"/>
                  </a:lnTo>
                  <a:lnTo>
                    <a:pt x="1063" y="160"/>
                  </a:lnTo>
                  <a:lnTo>
                    <a:pt x="1065" y="159"/>
                  </a:lnTo>
                  <a:lnTo>
                    <a:pt x="1067" y="159"/>
                  </a:lnTo>
                  <a:lnTo>
                    <a:pt x="1110" y="159"/>
                  </a:lnTo>
                  <a:lnTo>
                    <a:pt x="1113" y="159"/>
                  </a:lnTo>
                  <a:lnTo>
                    <a:pt x="1115" y="158"/>
                  </a:lnTo>
                  <a:lnTo>
                    <a:pt x="1117" y="157"/>
                  </a:lnTo>
                  <a:lnTo>
                    <a:pt x="1118" y="156"/>
                  </a:lnTo>
                  <a:lnTo>
                    <a:pt x="1120" y="153"/>
                  </a:lnTo>
                  <a:lnTo>
                    <a:pt x="1121" y="152"/>
                  </a:lnTo>
                  <a:lnTo>
                    <a:pt x="1170" y="25"/>
                  </a:lnTo>
                  <a:lnTo>
                    <a:pt x="1171" y="23"/>
                  </a:lnTo>
                  <a:lnTo>
                    <a:pt x="1173" y="21"/>
                  </a:lnTo>
                  <a:lnTo>
                    <a:pt x="1175" y="20"/>
                  </a:lnTo>
                  <a:lnTo>
                    <a:pt x="1176" y="19"/>
                  </a:lnTo>
                  <a:lnTo>
                    <a:pt x="1179" y="18"/>
                  </a:lnTo>
                  <a:lnTo>
                    <a:pt x="1180" y="18"/>
                  </a:lnTo>
                  <a:lnTo>
                    <a:pt x="1265" y="18"/>
                  </a:lnTo>
                  <a:lnTo>
                    <a:pt x="1268" y="19"/>
                  </a:lnTo>
                  <a:lnTo>
                    <a:pt x="1270" y="19"/>
                  </a:lnTo>
                  <a:lnTo>
                    <a:pt x="1272" y="22"/>
                  </a:lnTo>
                  <a:lnTo>
                    <a:pt x="1273" y="25"/>
                  </a:lnTo>
                  <a:lnTo>
                    <a:pt x="1273" y="26"/>
                  </a:lnTo>
                  <a:lnTo>
                    <a:pt x="1273" y="152"/>
                  </a:lnTo>
                  <a:lnTo>
                    <a:pt x="1273" y="154"/>
                  </a:lnTo>
                  <a:lnTo>
                    <a:pt x="1274" y="156"/>
                  </a:lnTo>
                  <a:lnTo>
                    <a:pt x="1277" y="158"/>
                  </a:lnTo>
                  <a:lnTo>
                    <a:pt x="1279" y="159"/>
                  </a:lnTo>
                  <a:lnTo>
                    <a:pt x="1281" y="159"/>
                  </a:lnTo>
                  <a:lnTo>
                    <a:pt x="1374" y="159"/>
                  </a:lnTo>
                  <a:lnTo>
                    <a:pt x="1376" y="160"/>
                  </a:lnTo>
                  <a:lnTo>
                    <a:pt x="1378" y="161"/>
                  </a:lnTo>
                  <a:lnTo>
                    <a:pt x="1381" y="163"/>
                  </a:lnTo>
                  <a:lnTo>
                    <a:pt x="1381" y="166"/>
                  </a:lnTo>
                  <a:lnTo>
                    <a:pt x="1381" y="167"/>
                  </a:lnTo>
                  <a:lnTo>
                    <a:pt x="1381" y="263"/>
                  </a:lnTo>
                  <a:lnTo>
                    <a:pt x="1381" y="266"/>
                  </a:lnTo>
                  <a:lnTo>
                    <a:pt x="1380" y="268"/>
                  </a:lnTo>
                  <a:lnTo>
                    <a:pt x="1378" y="270"/>
                  </a:lnTo>
                  <a:lnTo>
                    <a:pt x="1375" y="271"/>
                  </a:lnTo>
                  <a:lnTo>
                    <a:pt x="1374" y="271"/>
                  </a:lnTo>
                  <a:lnTo>
                    <a:pt x="1281" y="271"/>
                  </a:lnTo>
                  <a:lnTo>
                    <a:pt x="1278" y="271"/>
                  </a:lnTo>
                  <a:lnTo>
                    <a:pt x="1276" y="272"/>
                  </a:lnTo>
                  <a:lnTo>
                    <a:pt x="1274" y="275"/>
                  </a:lnTo>
                  <a:lnTo>
                    <a:pt x="1273" y="277"/>
                  </a:lnTo>
                  <a:lnTo>
                    <a:pt x="1273" y="278"/>
                  </a:lnTo>
                  <a:lnTo>
                    <a:pt x="1273" y="419"/>
                  </a:lnTo>
                  <a:lnTo>
                    <a:pt x="1274" y="434"/>
                  </a:lnTo>
                  <a:lnTo>
                    <a:pt x="1275" y="446"/>
                  </a:lnTo>
                  <a:lnTo>
                    <a:pt x="1277" y="452"/>
                  </a:lnTo>
                  <a:lnTo>
                    <a:pt x="1279" y="456"/>
                  </a:lnTo>
                  <a:lnTo>
                    <a:pt x="1281" y="460"/>
                  </a:lnTo>
                  <a:lnTo>
                    <a:pt x="1284" y="463"/>
                  </a:lnTo>
                  <a:lnTo>
                    <a:pt x="1287" y="466"/>
                  </a:lnTo>
                  <a:lnTo>
                    <a:pt x="1291" y="469"/>
                  </a:lnTo>
                  <a:lnTo>
                    <a:pt x="1296" y="471"/>
                  </a:lnTo>
                  <a:lnTo>
                    <a:pt x="1301" y="472"/>
                  </a:lnTo>
                  <a:lnTo>
                    <a:pt x="1307" y="473"/>
                  </a:lnTo>
                  <a:lnTo>
                    <a:pt x="1313" y="474"/>
                  </a:lnTo>
                  <a:lnTo>
                    <a:pt x="1320" y="474"/>
                  </a:lnTo>
                  <a:lnTo>
                    <a:pt x="1328" y="475"/>
                  </a:lnTo>
                  <a:lnTo>
                    <a:pt x="1340" y="474"/>
                  </a:lnTo>
                  <a:lnTo>
                    <a:pt x="1351" y="473"/>
                  </a:lnTo>
                  <a:lnTo>
                    <a:pt x="1361" y="472"/>
                  </a:lnTo>
                  <a:lnTo>
                    <a:pt x="1366" y="471"/>
                  </a:lnTo>
                  <a:lnTo>
                    <a:pt x="1367" y="471"/>
                  </a:lnTo>
                  <a:lnTo>
                    <a:pt x="1368" y="471"/>
                  </a:lnTo>
                  <a:lnTo>
                    <a:pt x="1369" y="474"/>
                  </a:lnTo>
                  <a:lnTo>
                    <a:pt x="1370" y="477"/>
                  </a:lnTo>
                  <a:lnTo>
                    <a:pt x="1370" y="564"/>
                  </a:lnTo>
                  <a:lnTo>
                    <a:pt x="1369" y="569"/>
                  </a:lnTo>
                  <a:lnTo>
                    <a:pt x="1369" y="572"/>
                  </a:lnTo>
                  <a:lnTo>
                    <a:pt x="1368" y="575"/>
                  </a:lnTo>
                  <a:lnTo>
                    <a:pt x="1366" y="577"/>
                  </a:lnTo>
                  <a:lnTo>
                    <a:pt x="1364" y="578"/>
                  </a:lnTo>
                  <a:lnTo>
                    <a:pt x="1362" y="579"/>
                  </a:lnTo>
                  <a:lnTo>
                    <a:pt x="1358" y="580"/>
                  </a:lnTo>
                  <a:lnTo>
                    <a:pt x="1340" y="582"/>
                  </a:lnTo>
                  <a:lnTo>
                    <a:pt x="1317" y="583"/>
                  </a:lnTo>
                  <a:lnTo>
                    <a:pt x="1294" y="584"/>
                  </a:lnTo>
                  <a:lnTo>
                    <a:pt x="1274" y="585"/>
                  </a:lnTo>
                  <a:close/>
                  <a:moveTo>
                    <a:pt x="0" y="572"/>
                  </a:moveTo>
                  <a:lnTo>
                    <a:pt x="0" y="7"/>
                  </a:lnTo>
                  <a:lnTo>
                    <a:pt x="0" y="5"/>
                  </a:lnTo>
                  <a:lnTo>
                    <a:pt x="1" y="3"/>
                  </a:lnTo>
                  <a:lnTo>
                    <a:pt x="4" y="1"/>
                  </a:lnTo>
                  <a:lnTo>
                    <a:pt x="6" y="0"/>
                  </a:lnTo>
                  <a:lnTo>
                    <a:pt x="7" y="0"/>
                  </a:lnTo>
                  <a:lnTo>
                    <a:pt x="200" y="0"/>
                  </a:lnTo>
                  <a:lnTo>
                    <a:pt x="202" y="0"/>
                  </a:lnTo>
                  <a:lnTo>
                    <a:pt x="204" y="1"/>
                  </a:lnTo>
                  <a:lnTo>
                    <a:pt x="206" y="2"/>
                  </a:lnTo>
                  <a:lnTo>
                    <a:pt x="207" y="3"/>
                  </a:lnTo>
                  <a:lnTo>
                    <a:pt x="209" y="6"/>
                  </a:lnTo>
                  <a:lnTo>
                    <a:pt x="209" y="7"/>
                  </a:lnTo>
                  <a:lnTo>
                    <a:pt x="307" y="386"/>
                  </a:lnTo>
                  <a:lnTo>
                    <a:pt x="307" y="387"/>
                  </a:lnTo>
                  <a:lnTo>
                    <a:pt x="308" y="388"/>
                  </a:lnTo>
                  <a:lnTo>
                    <a:pt x="310" y="389"/>
                  </a:lnTo>
                  <a:lnTo>
                    <a:pt x="312" y="389"/>
                  </a:lnTo>
                  <a:lnTo>
                    <a:pt x="313" y="387"/>
                  </a:lnTo>
                  <a:lnTo>
                    <a:pt x="313" y="386"/>
                  </a:lnTo>
                  <a:lnTo>
                    <a:pt x="401" y="7"/>
                  </a:lnTo>
                  <a:lnTo>
                    <a:pt x="402" y="5"/>
                  </a:lnTo>
                  <a:lnTo>
                    <a:pt x="403" y="3"/>
                  </a:lnTo>
                  <a:lnTo>
                    <a:pt x="406" y="1"/>
                  </a:lnTo>
                  <a:lnTo>
                    <a:pt x="409" y="0"/>
                  </a:lnTo>
                  <a:lnTo>
                    <a:pt x="410" y="0"/>
                  </a:lnTo>
                  <a:lnTo>
                    <a:pt x="607" y="0"/>
                  </a:lnTo>
                  <a:lnTo>
                    <a:pt x="610" y="0"/>
                  </a:lnTo>
                  <a:lnTo>
                    <a:pt x="611" y="1"/>
                  </a:lnTo>
                  <a:lnTo>
                    <a:pt x="614" y="4"/>
                  </a:lnTo>
                  <a:lnTo>
                    <a:pt x="615" y="6"/>
                  </a:lnTo>
                  <a:lnTo>
                    <a:pt x="615" y="7"/>
                  </a:lnTo>
                  <a:lnTo>
                    <a:pt x="615" y="572"/>
                  </a:lnTo>
                  <a:lnTo>
                    <a:pt x="614" y="575"/>
                  </a:lnTo>
                  <a:lnTo>
                    <a:pt x="613" y="576"/>
                  </a:lnTo>
                  <a:lnTo>
                    <a:pt x="611" y="579"/>
                  </a:lnTo>
                  <a:lnTo>
                    <a:pt x="608" y="579"/>
                  </a:lnTo>
                  <a:lnTo>
                    <a:pt x="607" y="580"/>
                  </a:lnTo>
                  <a:lnTo>
                    <a:pt x="473" y="580"/>
                  </a:lnTo>
                  <a:lnTo>
                    <a:pt x="470" y="579"/>
                  </a:lnTo>
                  <a:lnTo>
                    <a:pt x="468" y="578"/>
                  </a:lnTo>
                  <a:lnTo>
                    <a:pt x="466" y="576"/>
                  </a:lnTo>
                  <a:lnTo>
                    <a:pt x="465" y="573"/>
                  </a:lnTo>
                  <a:lnTo>
                    <a:pt x="465" y="572"/>
                  </a:lnTo>
                  <a:lnTo>
                    <a:pt x="465" y="226"/>
                  </a:lnTo>
                  <a:lnTo>
                    <a:pt x="465" y="224"/>
                  </a:lnTo>
                  <a:lnTo>
                    <a:pt x="464" y="223"/>
                  </a:lnTo>
                  <a:lnTo>
                    <a:pt x="463" y="222"/>
                  </a:lnTo>
                  <a:lnTo>
                    <a:pt x="462" y="222"/>
                  </a:lnTo>
                  <a:lnTo>
                    <a:pt x="461" y="222"/>
                  </a:lnTo>
                  <a:lnTo>
                    <a:pt x="460" y="223"/>
                  </a:lnTo>
                  <a:lnTo>
                    <a:pt x="458" y="226"/>
                  </a:lnTo>
                  <a:lnTo>
                    <a:pt x="452" y="264"/>
                  </a:lnTo>
                  <a:lnTo>
                    <a:pt x="446" y="298"/>
                  </a:lnTo>
                  <a:lnTo>
                    <a:pt x="443" y="314"/>
                  </a:lnTo>
                  <a:lnTo>
                    <a:pt x="440" y="330"/>
                  </a:lnTo>
                  <a:lnTo>
                    <a:pt x="436" y="346"/>
                  </a:lnTo>
                  <a:lnTo>
                    <a:pt x="432" y="362"/>
                  </a:lnTo>
                  <a:lnTo>
                    <a:pt x="373" y="572"/>
                  </a:lnTo>
                  <a:lnTo>
                    <a:pt x="372" y="575"/>
                  </a:lnTo>
                  <a:lnTo>
                    <a:pt x="371" y="577"/>
                  </a:lnTo>
                  <a:lnTo>
                    <a:pt x="368" y="579"/>
                  </a:lnTo>
                  <a:lnTo>
                    <a:pt x="365" y="579"/>
                  </a:lnTo>
                  <a:lnTo>
                    <a:pt x="364" y="580"/>
                  </a:lnTo>
                  <a:lnTo>
                    <a:pt x="241" y="580"/>
                  </a:lnTo>
                  <a:lnTo>
                    <a:pt x="238" y="579"/>
                  </a:lnTo>
                  <a:lnTo>
                    <a:pt x="236" y="578"/>
                  </a:lnTo>
                  <a:lnTo>
                    <a:pt x="234" y="577"/>
                  </a:lnTo>
                  <a:lnTo>
                    <a:pt x="233" y="576"/>
                  </a:lnTo>
                  <a:lnTo>
                    <a:pt x="232" y="573"/>
                  </a:lnTo>
                  <a:lnTo>
                    <a:pt x="231" y="572"/>
                  </a:lnTo>
                  <a:lnTo>
                    <a:pt x="174" y="362"/>
                  </a:lnTo>
                  <a:lnTo>
                    <a:pt x="169" y="345"/>
                  </a:lnTo>
                  <a:lnTo>
                    <a:pt x="165" y="330"/>
                  </a:lnTo>
                  <a:lnTo>
                    <a:pt x="159" y="301"/>
                  </a:lnTo>
                  <a:lnTo>
                    <a:pt x="153" y="268"/>
                  </a:lnTo>
                  <a:lnTo>
                    <a:pt x="146" y="224"/>
                  </a:lnTo>
                  <a:lnTo>
                    <a:pt x="146" y="223"/>
                  </a:lnTo>
                  <a:lnTo>
                    <a:pt x="145" y="222"/>
                  </a:lnTo>
                  <a:lnTo>
                    <a:pt x="142" y="221"/>
                  </a:lnTo>
                  <a:lnTo>
                    <a:pt x="140" y="222"/>
                  </a:lnTo>
                  <a:lnTo>
                    <a:pt x="140" y="223"/>
                  </a:lnTo>
                  <a:lnTo>
                    <a:pt x="139" y="224"/>
                  </a:lnTo>
                  <a:lnTo>
                    <a:pt x="139" y="572"/>
                  </a:lnTo>
                  <a:lnTo>
                    <a:pt x="139" y="575"/>
                  </a:lnTo>
                  <a:lnTo>
                    <a:pt x="138" y="576"/>
                  </a:lnTo>
                  <a:lnTo>
                    <a:pt x="136" y="579"/>
                  </a:lnTo>
                  <a:lnTo>
                    <a:pt x="133" y="579"/>
                  </a:lnTo>
                  <a:lnTo>
                    <a:pt x="132" y="580"/>
                  </a:lnTo>
                  <a:lnTo>
                    <a:pt x="8" y="580"/>
                  </a:lnTo>
                  <a:lnTo>
                    <a:pt x="5" y="579"/>
                  </a:lnTo>
                  <a:lnTo>
                    <a:pt x="3" y="578"/>
                  </a:lnTo>
                  <a:lnTo>
                    <a:pt x="1" y="576"/>
                  </a:lnTo>
                  <a:lnTo>
                    <a:pt x="0" y="573"/>
                  </a:lnTo>
                  <a:lnTo>
                    <a:pt x="0" y="572"/>
                  </a:lnTo>
                  <a:close/>
                  <a:moveTo>
                    <a:pt x="1063" y="408"/>
                  </a:moveTo>
                  <a:lnTo>
                    <a:pt x="1062" y="410"/>
                  </a:lnTo>
                  <a:lnTo>
                    <a:pt x="1062" y="412"/>
                  </a:lnTo>
                  <a:lnTo>
                    <a:pt x="1061" y="413"/>
                  </a:lnTo>
                  <a:lnTo>
                    <a:pt x="1060" y="414"/>
                  </a:lnTo>
                  <a:lnTo>
                    <a:pt x="1058" y="414"/>
                  </a:lnTo>
                  <a:lnTo>
                    <a:pt x="1057" y="414"/>
                  </a:lnTo>
                  <a:lnTo>
                    <a:pt x="801" y="414"/>
                  </a:lnTo>
                  <a:lnTo>
                    <a:pt x="799" y="415"/>
                  </a:lnTo>
                  <a:lnTo>
                    <a:pt x="797" y="415"/>
                  </a:lnTo>
                  <a:lnTo>
                    <a:pt x="796" y="417"/>
                  </a:lnTo>
                  <a:lnTo>
                    <a:pt x="795" y="418"/>
                  </a:lnTo>
                  <a:lnTo>
                    <a:pt x="795" y="421"/>
                  </a:lnTo>
                  <a:lnTo>
                    <a:pt x="795" y="422"/>
                  </a:lnTo>
                  <a:lnTo>
                    <a:pt x="796" y="430"/>
                  </a:lnTo>
                  <a:lnTo>
                    <a:pt x="799" y="438"/>
                  </a:lnTo>
                  <a:lnTo>
                    <a:pt x="801" y="445"/>
                  </a:lnTo>
                  <a:lnTo>
                    <a:pt x="804" y="451"/>
                  </a:lnTo>
                  <a:lnTo>
                    <a:pt x="808" y="457"/>
                  </a:lnTo>
                  <a:lnTo>
                    <a:pt x="812" y="462"/>
                  </a:lnTo>
                  <a:lnTo>
                    <a:pt x="817" y="466"/>
                  </a:lnTo>
                  <a:lnTo>
                    <a:pt x="822" y="470"/>
                  </a:lnTo>
                  <a:lnTo>
                    <a:pt x="827" y="473"/>
                  </a:lnTo>
                  <a:lnTo>
                    <a:pt x="833" y="476"/>
                  </a:lnTo>
                  <a:lnTo>
                    <a:pt x="840" y="478"/>
                  </a:lnTo>
                  <a:lnTo>
                    <a:pt x="846" y="480"/>
                  </a:lnTo>
                  <a:lnTo>
                    <a:pt x="854" y="481"/>
                  </a:lnTo>
                  <a:lnTo>
                    <a:pt x="861" y="482"/>
                  </a:lnTo>
                  <a:lnTo>
                    <a:pt x="878" y="482"/>
                  </a:lnTo>
                  <a:lnTo>
                    <a:pt x="886" y="482"/>
                  </a:lnTo>
                  <a:lnTo>
                    <a:pt x="894" y="481"/>
                  </a:lnTo>
                  <a:lnTo>
                    <a:pt x="903" y="480"/>
                  </a:lnTo>
                  <a:lnTo>
                    <a:pt x="911" y="479"/>
                  </a:lnTo>
                  <a:lnTo>
                    <a:pt x="928" y="475"/>
                  </a:lnTo>
                  <a:lnTo>
                    <a:pt x="943" y="470"/>
                  </a:lnTo>
                  <a:lnTo>
                    <a:pt x="958" y="464"/>
                  </a:lnTo>
                  <a:lnTo>
                    <a:pt x="971" y="459"/>
                  </a:lnTo>
                  <a:lnTo>
                    <a:pt x="983" y="453"/>
                  </a:lnTo>
                  <a:lnTo>
                    <a:pt x="992" y="448"/>
                  </a:lnTo>
                  <a:lnTo>
                    <a:pt x="994" y="447"/>
                  </a:lnTo>
                  <a:lnTo>
                    <a:pt x="996" y="447"/>
                  </a:lnTo>
                  <a:lnTo>
                    <a:pt x="998" y="447"/>
                  </a:lnTo>
                  <a:lnTo>
                    <a:pt x="999" y="448"/>
                  </a:lnTo>
                  <a:lnTo>
                    <a:pt x="1002" y="450"/>
                  </a:lnTo>
                  <a:lnTo>
                    <a:pt x="1050" y="531"/>
                  </a:lnTo>
                  <a:lnTo>
                    <a:pt x="1052" y="535"/>
                  </a:lnTo>
                  <a:lnTo>
                    <a:pt x="1052" y="537"/>
                  </a:lnTo>
                  <a:lnTo>
                    <a:pt x="1051" y="538"/>
                  </a:lnTo>
                  <a:lnTo>
                    <a:pt x="1051" y="540"/>
                  </a:lnTo>
                  <a:lnTo>
                    <a:pt x="1050" y="540"/>
                  </a:lnTo>
                  <a:lnTo>
                    <a:pt x="1048" y="542"/>
                  </a:lnTo>
                  <a:lnTo>
                    <a:pt x="1038" y="547"/>
                  </a:lnTo>
                  <a:lnTo>
                    <a:pt x="1028" y="553"/>
                  </a:lnTo>
                  <a:lnTo>
                    <a:pt x="1018" y="558"/>
                  </a:lnTo>
                  <a:lnTo>
                    <a:pt x="1007" y="562"/>
                  </a:lnTo>
                  <a:lnTo>
                    <a:pt x="996" y="567"/>
                  </a:lnTo>
                  <a:lnTo>
                    <a:pt x="985" y="570"/>
                  </a:lnTo>
                  <a:lnTo>
                    <a:pt x="974" y="574"/>
                  </a:lnTo>
                  <a:lnTo>
                    <a:pt x="963" y="577"/>
                  </a:lnTo>
                  <a:lnTo>
                    <a:pt x="951" y="580"/>
                  </a:lnTo>
                  <a:lnTo>
                    <a:pt x="939" y="582"/>
                  </a:lnTo>
                  <a:lnTo>
                    <a:pt x="927" y="584"/>
                  </a:lnTo>
                  <a:lnTo>
                    <a:pt x="915" y="585"/>
                  </a:lnTo>
                  <a:lnTo>
                    <a:pt x="903" y="587"/>
                  </a:lnTo>
                  <a:lnTo>
                    <a:pt x="891" y="587"/>
                  </a:lnTo>
                  <a:lnTo>
                    <a:pt x="866" y="588"/>
                  </a:lnTo>
                  <a:lnTo>
                    <a:pt x="844" y="588"/>
                  </a:lnTo>
                  <a:lnTo>
                    <a:pt x="823" y="586"/>
                  </a:lnTo>
                  <a:lnTo>
                    <a:pt x="813" y="584"/>
                  </a:lnTo>
                  <a:lnTo>
                    <a:pt x="802" y="583"/>
                  </a:lnTo>
                  <a:lnTo>
                    <a:pt x="792" y="580"/>
                  </a:lnTo>
                  <a:lnTo>
                    <a:pt x="782" y="578"/>
                  </a:lnTo>
                  <a:lnTo>
                    <a:pt x="772" y="575"/>
                  </a:lnTo>
                  <a:lnTo>
                    <a:pt x="762" y="572"/>
                  </a:lnTo>
                  <a:lnTo>
                    <a:pt x="753" y="568"/>
                  </a:lnTo>
                  <a:lnTo>
                    <a:pt x="744" y="564"/>
                  </a:lnTo>
                  <a:lnTo>
                    <a:pt x="735" y="559"/>
                  </a:lnTo>
                  <a:lnTo>
                    <a:pt x="726" y="554"/>
                  </a:lnTo>
                  <a:lnTo>
                    <a:pt x="718" y="549"/>
                  </a:lnTo>
                  <a:lnTo>
                    <a:pt x="710" y="543"/>
                  </a:lnTo>
                  <a:lnTo>
                    <a:pt x="702" y="537"/>
                  </a:lnTo>
                  <a:lnTo>
                    <a:pt x="694" y="530"/>
                  </a:lnTo>
                  <a:lnTo>
                    <a:pt x="687" y="522"/>
                  </a:lnTo>
                  <a:lnTo>
                    <a:pt x="681" y="514"/>
                  </a:lnTo>
                  <a:lnTo>
                    <a:pt x="675" y="505"/>
                  </a:lnTo>
                  <a:lnTo>
                    <a:pt x="669" y="496"/>
                  </a:lnTo>
                  <a:lnTo>
                    <a:pt x="664" y="486"/>
                  </a:lnTo>
                  <a:lnTo>
                    <a:pt x="659" y="476"/>
                  </a:lnTo>
                  <a:lnTo>
                    <a:pt x="654" y="465"/>
                  </a:lnTo>
                  <a:lnTo>
                    <a:pt x="652" y="459"/>
                  </a:lnTo>
                  <a:lnTo>
                    <a:pt x="651" y="454"/>
                  </a:lnTo>
                  <a:lnTo>
                    <a:pt x="647" y="441"/>
                  </a:lnTo>
                  <a:lnTo>
                    <a:pt x="645" y="429"/>
                  </a:lnTo>
                  <a:lnTo>
                    <a:pt x="642" y="415"/>
                  </a:lnTo>
                  <a:lnTo>
                    <a:pt x="642" y="408"/>
                  </a:lnTo>
                  <a:lnTo>
                    <a:pt x="641" y="401"/>
                  </a:lnTo>
                  <a:lnTo>
                    <a:pt x="640" y="386"/>
                  </a:lnTo>
                  <a:lnTo>
                    <a:pt x="640" y="370"/>
                  </a:lnTo>
                  <a:lnTo>
                    <a:pt x="640" y="355"/>
                  </a:lnTo>
                  <a:lnTo>
                    <a:pt x="641" y="340"/>
                  </a:lnTo>
                  <a:lnTo>
                    <a:pt x="643" y="326"/>
                  </a:lnTo>
                  <a:lnTo>
                    <a:pt x="646" y="313"/>
                  </a:lnTo>
                  <a:lnTo>
                    <a:pt x="649" y="300"/>
                  </a:lnTo>
                  <a:lnTo>
                    <a:pt x="653" y="288"/>
                  </a:lnTo>
                  <a:lnTo>
                    <a:pt x="657" y="276"/>
                  </a:lnTo>
                  <a:lnTo>
                    <a:pt x="662" y="265"/>
                  </a:lnTo>
                  <a:lnTo>
                    <a:pt x="668" y="255"/>
                  </a:lnTo>
                  <a:lnTo>
                    <a:pt x="674" y="245"/>
                  </a:lnTo>
                  <a:lnTo>
                    <a:pt x="680" y="236"/>
                  </a:lnTo>
                  <a:lnTo>
                    <a:pt x="687" y="227"/>
                  </a:lnTo>
                  <a:lnTo>
                    <a:pt x="694" y="219"/>
                  </a:lnTo>
                  <a:lnTo>
                    <a:pt x="702" y="212"/>
                  </a:lnTo>
                  <a:lnTo>
                    <a:pt x="710" y="204"/>
                  </a:lnTo>
                  <a:lnTo>
                    <a:pt x="718" y="198"/>
                  </a:lnTo>
                  <a:lnTo>
                    <a:pt x="727" y="192"/>
                  </a:lnTo>
                  <a:lnTo>
                    <a:pt x="735" y="186"/>
                  </a:lnTo>
                  <a:lnTo>
                    <a:pt x="744" y="181"/>
                  </a:lnTo>
                  <a:lnTo>
                    <a:pt x="753" y="177"/>
                  </a:lnTo>
                  <a:lnTo>
                    <a:pt x="762" y="172"/>
                  </a:lnTo>
                  <a:lnTo>
                    <a:pt x="771" y="169"/>
                  </a:lnTo>
                  <a:lnTo>
                    <a:pt x="781" y="165"/>
                  </a:lnTo>
                  <a:lnTo>
                    <a:pt x="790" y="162"/>
                  </a:lnTo>
                  <a:lnTo>
                    <a:pt x="799" y="160"/>
                  </a:lnTo>
                  <a:lnTo>
                    <a:pt x="808" y="158"/>
                  </a:lnTo>
                  <a:lnTo>
                    <a:pt x="817" y="156"/>
                  </a:lnTo>
                  <a:lnTo>
                    <a:pt x="826" y="154"/>
                  </a:lnTo>
                  <a:lnTo>
                    <a:pt x="844" y="152"/>
                  </a:lnTo>
                  <a:lnTo>
                    <a:pt x="852" y="152"/>
                  </a:lnTo>
                  <a:lnTo>
                    <a:pt x="860" y="152"/>
                  </a:lnTo>
                  <a:lnTo>
                    <a:pt x="868" y="152"/>
                  </a:lnTo>
                  <a:lnTo>
                    <a:pt x="876" y="152"/>
                  </a:lnTo>
                  <a:lnTo>
                    <a:pt x="893" y="153"/>
                  </a:lnTo>
                  <a:lnTo>
                    <a:pt x="901" y="155"/>
                  </a:lnTo>
                  <a:lnTo>
                    <a:pt x="910" y="156"/>
                  </a:lnTo>
                  <a:lnTo>
                    <a:pt x="927" y="160"/>
                  </a:lnTo>
                  <a:lnTo>
                    <a:pt x="936" y="162"/>
                  </a:lnTo>
                  <a:lnTo>
                    <a:pt x="944" y="165"/>
                  </a:lnTo>
                  <a:lnTo>
                    <a:pt x="953" y="168"/>
                  </a:lnTo>
                  <a:lnTo>
                    <a:pt x="961" y="172"/>
                  </a:lnTo>
                  <a:lnTo>
                    <a:pt x="969" y="177"/>
                  </a:lnTo>
                  <a:lnTo>
                    <a:pt x="977" y="181"/>
                  </a:lnTo>
                  <a:lnTo>
                    <a:pt x="985" y="187"/>
                  </a:lnTo>
                  <a:lnTo>
                    <a:pt x="993" y="193"/>
                  </a:lnTo>
                  <a:lnTo>
                    <a:pt x="1000" y="199"/>
                  </a:lnTo>
                  <a:lnTo>
                    <a:pt x="1007" y="207"/>
                  </a:lnTo>
                  <a:lnTo>
                    <a:pt x="1014" y="215"/>
                  </a:lnTo>
                  <a:lnTo>
                    <a:pt x="1021" y="223"/>
                  </a:lnTo>
                  <a:lnTo>
                    <a:pt x="1027" y="233"/>
                  </a:lnTo>
                  <a:lnTo>
                    <a:pt x="1032" y="243"/>
                  </a:lnTo>
                  <a:lnTo>
                    <a:pt x="1035" y="248"/>
                  </a:lnTo>
                  <a:lnTo>
                    <a:pt x="1038" y="253"/>
                  </a:lnTo>
                  <a:lnTo>
                    <a:pt x="1043" y="265"/>
                  </a:lnTo>
                  <a:lnTo>
                    <a:pt x="1047" y="278"/>
                  </a:lnTo>
                  <a:lnTo>
                    <a:pt x="1051" y="291"/>
                  </a:lnTo>
                  <a:lnTo>
                    <a:pt x="1054" y="305"/>
                  </a:lnTo>
                  <a:lnTo>
                    <a:pt x="1057" y="320"/>
                  </a:lnTo>
                  <a:lnTo>
                    <a:pt x="1060" y="336"/>
                  </a:lnTo>
                  <a:lnTo>
                    <a:pt x="1061" y="354"/>
                  </a:lnTo>
                  <a:lnTo>
                    <a:pt x="1062" y="372"/>
                  </a:lnTo>
                  <a:lnTo>
                    <a:pt x="1063" y="391"/>
                  </a:lnTo>
                  <a:lnTo>
                    <a:pt x="1063" y="408"/>
                  </a:lnTo>
                  <a:close/>
                  <a:moveTo>
                    <a:pt x="918" y="326"/>
                  </a:moveTo>
                  <a:lnTo>
                    <a:pt x="921" y="325"/>
                  </a:lnTo>
                  <a:lnTo>
                    <a:pt x="922" y="325"/>
                  </a:lnTo>
                  <a:lnTo>
                    <a:pt x="923" y="323"/>
                  </a:lnTo>
                  <a:lnTo>
                    <a:pt x="924" y="322"/>
                  </a:lnTo>
                  <a:lnTo>
                    <a:pt x="925" y="319"/>
                  </a:lnTo>
                  <a:lnTo>
                    <a:pt x="924" y="318"/>
                  </a:lnTo>
                  <a:lnTo>
                    <a:pt x="923" y="311"/>
                  </a:lnTo>
                  <a:lnTo>
                    <a:pt x="922" y="304"/>
                  </a:lnTo>
                  <a:lnTo>
                    <a:pt x="920" y="297"/>
                  </a:lnTo>
                  <a:lnTo>
                    <a:pt x="917" y="291"/>
                  </a:lnTo>
                  <a:lnTo>
                    <a:pt x="915" y="286"/>
                  </a:lnTo>
                  <a:lnTo>
                    <a:pt x="911" y="281"/>
                  </a:lnTo>
                  <a:lnTo>
                    <a:pt x="908" y="277"/>
                  </a:lnTo>
                  <a:lnTo>
                    <a:pt x="904" y="273"/>
                  </a:lnTo>
                  <a:lnTo>
                    <a:pt x="900" y="270"/>
                  </a:lnTo>
                  <a:lnTo>
                    <a:pt x="895" y="267"/>
                  </a:lnTo>
                  <a:lnTo>
                    <a:pt x="890" y="265"/>
                  </a:lnTo>
                  <a:lnTo>
                    <a:pt x="885" y="263"/>
                  </a:lnTo>
                  <a:lnTo>
                    <a:pt x="879" y="262"/>
                  </a:lnTo>
                  <a:lnTo>
                    <a:pt x="873" y="261"/>
                  </a:lnTo>
                  <a:lnTo>
                    <a:pt x="866" y="260"/>
                  </a:lnTo>
                  <a:lnTo>
                    <a:pt x="860" y="260"/>
                  </a:lnTo>
                  <a:lnTo>
                    <a:pt x="854" y="260"/>
                  </a:lnTo>
                  <a:lnTo>
                    <a:pt x="849" y="261"/>
                  </a:lnTo>
                  <a:lnTo>
                    <a:pt x="844" y="262"/>
                  </a:lnTo>
                  <a:lnTo>
                    <a:pt x="839" y="263"/>
                  </a:lnTo>
                  <a:lnTo>
                    <a:pt x="834" y="265"/>
                  </a:lnTo>
                  <a:lnTo>
                    <a:pt x="830" y="267"/>
                  </a:lnTo>
                  <a:lnTo>
                    <a:pt x="826" y="270"/>
                  </a:lnTo>
                  <a:lnTo>
                    <a:pt x="821" y="273"/>
                  </a:lnTo>
                  <a:lnTo>
                    <a:pt x="818" y="277"/>
                  </a:lnTo>
                  <a:lnTo>
                    <a:pt x="814" y="281"/>
                  </a:lnTo>
                  <a:lnTo>
                    <a:pt x="810" y="286"/>
                  </a:lnTo>
                  <a:lnTo>
                    <a:pt x="807" y="291"/>
                  </a:lnTo>
                  <a:lnTo>
                    <a:pt x="804" y="297"/>
                  </a:lnTo>
                  <a:lnTo>
                    <a:pt x="802" y="304"/>
                  </a:lnTo>
                  <a:lnTo>
                    <a:pt x="799" y="311"/>
                  </a:lnTo>
                  <a:lnTo>
                    <a:pt x="797" y="318"/>
                  </a:lnTo>
                  <a:lnTo>
                    <a:pt x="797" y="321"/>
                  </a:lnTo>
                  <a:lnTo>
                    <a:pt x="797" y="323"/>
                  </a:lnTo>
                  <a:lnTo>
                    <a:pt x="798" y="324"/>
                  </a:lnTo>
                  <a:lnTo>
                    <a:pt x="799" y="325"/>
                  </a:lnTo>
                  <a:lnTo>
                    <a:pt x="800" y="326"/>
                  </a:lnTo>
                  <a:lnTo>
                    <a:pt x="802" y="326"/>
                  </a:lnTo>
                  <a:lnTo>
                    <a:pt x="918" y="326"/>
                  </a:lnTo>
                  <a:close/>
                  <a:moveTo>
                    <a:pt x="1595" y="588"/>
                  </a:moveTo>
                  <a:lnTo>
                    <a:pt x="1577" y="588"/>
                  </a:lnTo>
                  <a:lnTo>
                    <a:pt x="1560" y="587"/>
                  </a:lnTo>
                  <a:lnTo>
                    <a:pt x="1543" y="585"/>
                  </a:lnTo>
                  <a:lnTo>
                    <a:pt x="1528" y="584"/>
                  </a:lnTo>
                  <a:lnTo>
                    <a:pt x="1513" y="581"/>
                  </a:lnTo>
                  <a:lnTo>
                    <a:pt x="1499" y="578"/>
                  </a:lnTo>
                  <a:lnTo>
                    <a:pt x="1485" y="575"/>
                  </a:lnTo>
                  <a:lnTo>
                    <a:pt x="1472" y="571"/>
                  </a:lnTo>
                  <a:lnTo>
                    <a:pt x="1460" y="567"/>
                  </a:lnTo>
                  <a:lnTo>
                    <a:pt x="1449" y="563"/>
                  </a:lnTo>
                  <a:lnTo>
                    <a:pt x="1438" y="558"/>
                  </a:lnTo>
                  <a:lnTo>
                    <a:pt x="1427" y="553"/>
                  </a:lnTo>
                  <a:lnTo>
                    <a:pt x="1418" y="548"/>
                  </a:lnTo>
                  <a:lnTo>
                    <a:pt x="1409" y="543"/>
                  </a:lnTo>
                  <a:lnTo>
                    <a:pt x="1393" y="532"/>
                  </a:lnTo>
                  <a:lnTo>
                    <a:pt x="1391" y="531"/>
                  </a:lnTo>
                  <a:lnTo>
                    <a:pt x="1390" y="529"/>
                  </a:lnTo>
                  <a:lnTo>
                    <a:pt x="1389" y="527"/>
                  </a:lnTo>
                  <a:lnTo>
                    <a:pt x="1389" y="525"/>
                  </a:lnTo>
                  <a:lnTo>
                    <a:pt x="1390" y="523"/>
                  </a:lnTo>
                  <a:lnTo>
                    <a:pt x="1391" y="522"/>
                  </a:lnTo>
                  <a:lnTo>
                    <a:pt x="1440" y="446"/>
                  </a:lnTo>
                  <a:lnTo>
                    <a:pt x="1442" y="444"/>
                  </a:lnTo>
                  <a:lnTo>
                    <a:pt x="1443" y="444"/>
                  </a:lnTo>
                  <a:lnTo>
                    <a:pt x="1444" y="443"/>
                  </a:lnTo>
                  <a:lnTo>
                    <a:pt x="1446" y="443"/>
                  </a:lnTo>
                  <a:lnTo>
                    <a:pt x="1448" y="444"/>
                  </a:lnTo>
                  <a:lnTo>
                    <a:pt x="1450" y="445"/>
                  </a:lnTo>
                  <a:lnTo>
                    <a:pt x="1465" y="456"/>
                  </a:lnTo>
                  <a:lnTo>
                    <a:pt x="1483" y="465"/>
                  </a:lnTo>
                  <a:lnTo>
                    <a:pt x="1501" y="473"/>
                  </a:lnTo>
                  <a:lnTo>
                    <a:pt x="1510" y="476"/>
                  </a:lnTo>
                  <a:lnTo>
                    <a:pt x="1520" y="479"/>
                  </a:lnTo>
                  <a:lnTo>
                    <a:pt x="1529" y="482"/>
                  </a:lnTo>
                  <a:lnTo>
                    <a:pt x="1539" y="485"/>
                  </a:lnTo>
                  <a:lnTo>
                    <a:pt x="1558" y="489"/>
                  </a:lnTo>
                  <a:lnTo>
                    <a:pt x="1576" y="491"/>
                  </a:lnTo>
                  <a:lnTo>
                    <a:pt x="1594" y="492"/>
                  </a:lnTo>
                  <a:lnTo>
                    <a:pt x="1604" y="491"/>
                  </a:lnTo>
                  <a:lnTo>
                    <a:pt x="1613" y="490"/>
                  </a:lnTo>
                  <a:lnTo>
                    <a:pt x="1622" y="488"/>
                  </a:lnTo>
                  <a:lnTo>
                    <a:pt x="1629" y="486"/>
                  </a:lnTo>
                  <a:lnTo>
                    <a:pt x="1632" y="484"/>
                  </a:lnTo>
                  <a:lnTo>
                    <a:pt x="1635" y="482"/>
                  </a:lnTo>
                  <a:lnTo>
                    <a:pt x="1638" y="480"/>
                  </a:lnTo>
                  <a:lnTo>
                    <a:pt x="1640" y="477"/>
                  </a:lnTo>
                  <a:lnTo>
                    <a:pt x="1642" y="474"/>
                  </a:lnTo>
                  <a:lnTo>
                    <a:pt x="1643" y="471"/>
                  </a:lnTo>
                  <a:lnTo>
                    <a:pt x="1644" y="468"/>
                  </a:lnTo>
                  <a:lnTo>
                    <a:pt x="1644" y="464"/>
                  </a:lnTo>
                  <a:lnTo>
                    <a:pt x="1644" y="461"/>
                  </a:lnTo>
                  <a:lnTo>
                    <a:pt x="1643" y="457"/>
                  </a:lnTo>
                  <a:lnTo>
                    <a:pt x="1642" y="454"/>
                  </a:lnTo>
                  <a:lnTo>
                    <a:pt x="1641" y="451"/>
                  </a:lnTo>
                  <a:lnTo>
                    <a:pt x="1640" y="449"/>
                  </a:lnTo>
                  <a:lnTo>
                    <a:pt x="1638" y="448"/>
                  </a:lnTo>
                  <a:lnTo>
                    <a:pt x="1636" y="445"/>
                  </a:lnTo>
                  <a:lnTo>
                    <a:pt x="1629" y="441"/>
                  </a:lnTo>
                  <a:lnTo>
                    <a:pt x="1620" y="437"/>
                  </a:lnTo>
                  <a:lnTo>
                    <a:pt x="1609" y="434"/>
                  </a:lnTo>
                  <a:lnTo>
                    <a:pt x="1595" y="432"/>
                  </a:lnTo>
                  <a:lnTo>
                    <a:pt x="1579" y="429"/>
                  </a:lnTo>
                  <a:lnTo>
                    <a:pt x="1551" y="425"/>
                  </a:lnTo>
                  <a:lnTo>
                    <a:pt x="1537" y="422"/>
                  </a:lnTo>
                  <a:lnTo>
                    <a:pt x="1522" y="419"/>
                  </a:lnTo>
                  <a:lnTo>
                    <a:pt x="1508" y="415"/>
                  </a:lnTo>
                  <a:lnTo>
                    <a:pt x="1493" y="411"/>
                  </a:lnTo>
                  <a:lnTo>
                    <a:pt x="1480" y="405"/>
                  </a:lnTo>
                  <a:lnTo>
                    <a:pt x="1466" y="398"/>
                  </a:lnTo>
                  <a:lnTo>
                    <a:pt x="1460" y="395"/>
                  </a:lnTo>
                  <a:lnTo>
                    <a:pt x="1454" y="391"/>
                  </a:lnTo>
                  <a:lnTo>
                    <a:pt x="1448" y="386"/>
                  </a:lnTo>
                  <a:lnTo>
                    <a:pt x="1443" y="382"/>
                  </a:lnTo>
                  <a:lnTo>
                    <a:pt x="1438" y="377"/>
                  </a:lnTo>
                  <a:lnTo>
                    <a:pt x="1433" y="371"/>
                  </a:lnTo>
                  <a:lnTo>
                    <a:pt x="1428" y="366"/>
                  </a:lnTo>
                  <a:lnTo>
                    <a:pt x="1424" y="359"/>
                  </a:lnTo>
                  <a:lnTo>
                    <a:pt x="1420" y="353"/>
                  </a:lnTo>
                  <a:lnTo>
                    <a:pt x="1417" y="346"/>
                  </a:lnTo>
                  <a:lnTo>
                    <a:pt x="1414" y="338"/>
                  </a:lnTo>
                  <a:lnTo>
                    <a:pt x="1411" y="330"/>
                  </a:lnTo>
                  <a:lnTo>
                    <a:pt x="1410" y="322"/>
                  </a:lnTo>
                  <a:lnTo>
                    <a:pt x="1408" y="313"/>
                  </a:lnTo>
                  <a:lnTo>
                    <a:pt x="1408" y="308"/>
                  </a:lnTo>
                  <a:lnTo>
                    <a:pt x="1407" y="304"/>
                  </a:lnTo>
                  <a:lnTo>
                    <a:pt x="1407" y="294"/>
                  </a:lnTo>
                  <a:lnTo>
                    <a:pt x="1407" y="285"/>
                  </a:lnTo>
                  <a:lnTo>
                    <a:pt x="1408" y="277"/>
                  </a:lnTo>
                  <a:lnTo>
                    <a:pt x="1409" y="268"/>
                  </a:lnTo>
                  <a:lnTo>
                    <a:pt x="1410" y="261"/>
                  </a:lnTo>
                  <a:lnTo>
                    <a:pt x="1412" y="253"/>
                  </a:lnTo>
                  <a:lnTo>
                    <a:pt x="1415" y="246"/>
                  </a:lnTo>
                  <a:lnTo>
                    <a:pt x="1417" y="239"/>
                  </a:lnTo>
                  <a:lnTo>
                    <a:pt x="1420" y="232"/>
                  </a:lnTo>
                  <a:lnTo>
                    <a:pt x="1424" y="225"/>
                  </a:lnTo>
                  <a:lnTo>
                    <a:pt x="1428" y="219"/>
                  </a:lnTo>
                  <a:lnTo>
                    <a:pt x="1436" y="208"/>
                  </a:lnTo>
                  <a:lnTo>
                    <a:pt x="1441" y="202"/>
                  </a:lnTo>
                  <a:lnTo>
                    <a:pt x="1446" y="197"/>
                  </a:lnTo>
                  <a:lnTo>
                    <a:pt x="1457" y="188"/>
                  </a:lnTo>
                  <a:lnTo>
                    <a:pt x="1463" y="183"/>
                  </a:lnTo>
                  <a:lnTo>
                    <a:pt x="1469" y="179"/>
                  </a:lnTo>
                  <a:lnTo>
                    <a:pt x="1483" y="172"/>
                  </a:lnTo>
                  <a:lnTo>
                    <a:pt x="1490" y="169"/>
                  </a:lnTo>
                  <a:lnTo>
                    <a:pt x="1497" y="166"/>
                  </a:lnTo>
                  <a:lnTo>
                    <a:pt x="1512" y="161"/>
                  </a:lnTo>
                  <a:lnTo>
                    <a:pt x="1528" y="157"/>
                  </a:lnTo>
                  <a:lnTo>
                    <a:pt x="1544" y="154"/>
                  </a:lnTo>
                  <a:lnTo>
                    <a:pt x="1561" y="152"/>
                  </a:lnTo>
                  <a:lnTo>
                    <a:pt x="1579" y="152"/>
                  </a:lnTo>
                  <a:lnTo>
                    <a:pt x="1595" y="152"/>
                  </a:lnTo>
                  <a:lnTo>
                    <a:pt x="1611" y="153"/>
                  </a:lnTo>
                  <a:lnTo>
                    <a:pt x="1626" y="154"/>
                  </a:lnTo>
                  <a:lnTo>
                    <a:pt x="1641" y="156"/>
                  </a:lnTo>
                  <a:lnTo>
                    <a:pt x="1654" y="158"/>
                  </a:lnTo>
                  <a:lnTo>
                    <a:pt x="1667" y="160"/>
                  </a:lnTo>
                  <a:lnTo>
                    <a:pt x="1679" y="163"/>
                  </a:lnTo>
                  <a:lnTo>
                    <a:pt x="1691" y="167"/>
                  </a:lnTo>
                  <a:lnTo>
                    <a:pt x="1702" y="170"/>
                  </a:lnTo>
                  <a:lnTo>
                    <a:pt x="1713" y="174"/>
                  </a:lnTo>
                  <a:lnTo>
                    <a:pt x="1723" y="179"/>
                  </a:lnTo>
                  <a:lnTo>
                    <a:pt x="1733" y="183"/>
                  </a:lnTo>
                  <a:lnTo>
                    <a:pt x="1742" y="188"/>
                  </a:lnTo>
                  <a:lnTo>
                    <a:pt x="1751" y="194"/>
                  </a:lnTo>
                  <a:lnTo>
                    <a:pt x="1768" y="205"/>
                  </a:lnTo>
                  <a:lnTo>
                    <a:pt x="1770" y="207"/>
                  </a:lnTo>
                  <a:lnTo>
                    <a:pt x="1771" y="209"/>
                  </a:lnTo>
                  <a:lnTo>
                    <a:pt x="1772" y="211"/>
                  </a:lnTo>
                  <a:lnTo>
                    <a:pt x="1772" y="212"/>
                  </a:lnTo>
                  <a:lnTo>
                    <a:pt x="1771" y="215"/>
                  </a:lnTo>
                  <a:lnTo>
                    <a:pt x="1770" y="216"/>
                  </a:lnTo>
                  <a:lnTo>
                    <a:pt x="1722" y="288"/>
                  </a:lnTo>
                  <a:lnTo>
                    <a:pt x="1720" y="290"/>
                  </a:lnTo>
                  <a:lnTo>
                    <a:pt x="1718" y="292"/>
                  </a:lnTo>
                  <a:lnTo>
                    <a:pt x="1716" y="292"/>
                  </a:lnTo>
                  <a:lnTo>
                    <a:pt x="1715" y="292"/>
                  </a:lnTo>
                  <a:lnTo>
                    <a:pt x="1711" y="292"/>
                  </a:lnTo>
                  <a:lnTo>
                    <a:pt x="1708" y="290"/>
                  </a:lnTo>
                  <a:lnTo>
                    <a:pt x="1693" y="282"/>
                  </a:lnTo>
                  <a:lnTo>
                    <a:pt x="1677" y="274"/>
                  </a:lnTo>
                  <a:lnTo>
                    <a:pt x="1662" y="268"/>
                  </a:lnTo>
                  <a:lnTo>
                    <a:pt x="1647" y="263"/>
                  </a:lnTo>
                  <a:lnTo>
                    <a:pt x="1633" y="258"/>
                  </a:lnTo>
                  <a:lnTo>
                    <a:pt x="1619" y="255"/>
                  </a:lnTo>
                  <a:lnTo>
                    <a:pt x="1612" y="254"/>
                  </a:lnTo>
                  <a:lnTo>
                    <a:pt x="1606" y="254"/>
                  </a:lnTo>
                  <a:lnTo>
                    <a:pt x="1593" y="253"/>
                  </a:lnTo>
                  <a:lnTo>
                    <a:pt x="1584" y="253"/>
                  </a:lnTo>
                  <a:lnTo>
                    <a:pt x="1576" y="254"/>
                  </a:lnTo>
                  <a:lnTo>
                    <a:pt x="1568" y="256"/>
                  </a:lnTo>
                  <a:lnTo>
                    <a:pt x="1562" y="259"/>
                  </a:lnTo>
                  <a:lnTo>
                    <a:pt x="1560" y="261"/>
                  </a:lnTo>
                  <a:lnTo>
                    <a:pt x="1557" y="263"/>
                  </a:lnTo>
                  <a:lnTo>
                    <a:pt x="1554" y="267"/>
                  </a:lnTo>
                  <a:lnTo>
                    <a:pt x="1552" y="270"/>
                  </a:lnTo>
                  <a:lnTo>
                    <a:pt x="1551" y="273"/>
                  </a:lnTo>
                  <a:lnTo>
                    <a:pt x="1551" y="276"/>
                  </a:lnTo>
                  <a:lnTo>
                    <a:pt x="1550" y="280"/>
                  </a:lnTo>
                  <a:lnTo>
                    <a:pt x="1551" y="283"/>
                  </a:lnTo>
                  <a:lnTo>
                    <a:pt x="1551" y="286"/>
                  </a:lnTo>
                  <a:lnTo>
                    <a:pt x="1553" y="289"/>
                  </a:lnTo>
                  <a:lnTo>
                    <a:pt x="1555" y="292"/>
                  </a:lnTo>
                  <a:lnTo>
                    <a:pt x="1557" y="295"/>
                  </a:lnTo>
                  <a:lnTo>
                    <a:pt x="1560" y="297"/>
                  </a:lnTo>
                  <a:lnTo>
                    <a:pt x="1563" y="299"/>
                  </a:lnTo>
                  <a:lnTo>
                    <a:pt x="1567" y="301"/>
                  </a:lnTo>
                  <a:lnTo>
                    <a:pt x="1576" y="304"/>
                  </a:lnTo>
                  <a:lnTo>
                    <a:pt x="1587" y="307"/>
                  </a:lnTo>
                  <a:lnTo>
                    <a:pt x="1600" y="309"/>
                  </a:lnTo>
                  <a:lnTo>
                    <a:pt x="1615" y="312"/>
                  </a:lnTo>
                  <a:lnTo>
                    <a:pt x="1642" y="316"/>
                  </a:lnTo>
                  <a:lnTo>
                    <a:pt x="1657" y="318"/>
                  </a:lnTo>
                  <a:lnTo>
                    <a:pt x="1672" y="321"/>
                  </a:lnTo>
                  <a:lnTo>
                    <a:pt x="1686" y="325"/>
                  </a:lnTo>
                  <a:lnTo>
                    <a:pt x="1701" y="329"/>
                  </a:lnTo>
                  <a:lnTo>
                    <a:pt x="1715" y="334"/>
                  </a:lnTo>
                  <a:lnTo>
                    <a:pt x="1728" y="340"/>
                  </a:lnTo>
                  <a:lnTo>
                    <a:pt x="1740" y="348"/>
                  </a:lnTo>
                  <a:lnTo>
                    <a:pt x="1746" y="352"/>
                  </a:lnTo>
                  <a:lnTo>
                    <a:pt x="1752" y="356"/>
                  </a:lnTo>
                  <a:lnTo>
                    <a:pt x="1757" y="361"/>
                  </a:lnTo>
                  <a:lnTo>
                    <a:pt x="1762" y="366"/>
                  </a:lnTo>
                  <a:lnTo>
                    <a:pt x="1766" y="371"/>
                  </a:lnTo>
                  <a:lnTo>
                    <a:pt x="1771" y="377"/>
                  </a:lnTo>
                  <a:lnTo>
                    <a:pt x="1774" y="383"/>
                  </a:lnTo>
                  <a:lnTo>
                    <a:pt x="1778" y="390"/>
                  </a:lnTo>
                  <a:lnTo>
                    <a:pt x="1781" y="397"/>
                  </a:lnTo>
                  <a:lnTo>
                    <a:pt x="1783" y="404"/>
                  </a:lnTo>
                  <a:lnTo>
                    <a:pt x="1785" y="412"/>
                  </a:lnTo>
                  <a:lnTo>
                    <a:pt x="1787" y="420"/>
                  </a:lnTo>
                  <a:lnTo>
                    <a:pt x="1787" y="425"/>
                  </a:lnTo>
                  <a:lnTo>
                    <a:pt x="1787" y="429"/>
                  </a:lnTo>
                  <a:lnTo>
                    <a:pt x="1788" y="438"/>
                  </a:lnTo>
                  <a:lnTo>
                    <a:pt x="1787" y="449"/>
                  </a:lnTo>
                  <a:lnTo>
                    <a:pt x="1787" y="458"/>
                  </a:lnTo>
                  <a:lnTo>
                    <a:pt x="1785" y="468"/>
                  </a:lnTo>
                  <a:lnTo>
                    <a:pt x="1783" y="477"/>
                  </a:lnTo>
                  <a:lnTo>
                    <a:pt x="1781" y="485"/>
                  </a:lnTo>
                  <a:lnTo>
                    <a:pt x="1778" y="494"/>
                  </a:lnTo>
                  <a:lnTo>
                    <a:pt x="1775" y="501"/>
                  </a:lnTo>
                  <a:lnTo>
                    <a:pt x="1771" y="509"/>
                  </a:lnTo>
                  <a:lnTo>
                    <a:pt x="1767" y="516"/>
                  </a:lnTo>
                  <a:lnTo>
                    <a:pt x="1763" y="523"/>
                  </a:lnTo>
                  <a:lnTo>
                    <a:pt x="1758" y="529"/>
                  </a:lnTo>
                  <a:lnTo>
                    <a:pt x="1752" y="535"/>
                  </a:lnTo>
                  <a:lnTo>
                    <a:pt x="1747" y="540"/>
                  </a:lnTo>
                  <a:lnTo>
                    <a:pt x="1741" y="546"/>
                  </a:lnTo>
                  <a:lnTo>
                    <a:pt x="1734" y="550"/>
                  </a:lnTo>
                  <a:lnTo>
                    <a:pt x="1728" y="555"/>
                  </a:lnTo>
                  <a:lnTo>
                    <a:pt x="1721" y="559"/>
                  </a:lnTo>
                  <a:lnTo>
                    <a:pt x="1714" y="563"/>
                  </a:lnTo>
                  <a:lnTo>
                    <a:pt x="1699" y="570"/>
                  </a:lnTo>
                  <a:lnTo>
                    <a:pt x="1683" y="576"/>
                  </a:lnTo>
                  <a:lnTo>
                    <a:pt x="1675" y="578"/>
                  </a:lnTo>
                  <a:lnTo>
                    <a:pt x="1666" y="580"/>
                  </a:lnTo>
                  <a:lnTo>
                    <a:pt x="1649" y="584"/>
                  </a:lnTo>
                  <a:lnTo>
                    <a:pt x="1631" y="586"/>
                  </a:lnTo>
                  <a:lnTo>
                    <a:pt x="1613" y="588"/>
                  </a:lnTo>
                  <a:lnTo>
                    <a:pt x="1595" y="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Tree>
    <p:extLst>
      <p:ext uri="{BB962C8B-B14F-4D97-AF65-F5344CB8AC3E}">
        <p14:creationId xmlns:p14="http://schemas.microsoft.com/office/powerpoint/2010/main" val="2800836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0195A777-7E8C-4E16-8B92-104D50F02C42}" type="datetime1">
              <a:rPr lang="en-GB" smtClean="0"/>
              <a:t>22/10/2025</a:t>
            </a:fld>
            <a:endParaRPr lang="fi-FI"/>
          </a:p>
        </p:txBody>
      </p:sp>
      <p:sp>
        <p:nvSpPr>
          <p:cNvPr id="6" name="Footer Placeholder 5"/>
          <p:cNvSpPr>
            <a:spLocks noGrp="1"/>
          </p:cNvSpPr>
          <p:nvPr>
            <p:ph type="ftr" sz="quarter" idx="11"/>
          </p:nvPr>
        </p:nvSpPr>
        <p:spPr/>
        <p:txBody>
          <a:bodyPr/>
          <a:lstStyle/>
          <a:p>
            <a:endParaRPr lang="fi-FI"/>
          </a:p>
        </p:txBody>
      </p:sp>
      <p:sp>
        <p:nvSpPr>
          <p:cNvPr id="7" name="Slide Number Placeholder 6"/>
          <p:cNvSpPr>
            <a:spLocks noGrp="1"/>
          </p:cNvSpPr>
          <p:nvPr>
            <p:ph type="sldNum" sz="quarter" idx="12"/>
          </p:nvPr>
        </p:nvSpPr>
        <p:spPr/>
        <p:txBody>
          <a:bodyPr/>
          <a:lstStyle/>
          <a:p>
            <a:fld id="{49A25110-65A2-4B67-BF3F-8D6D3162EF46}" type="slidenum">
              <a:rPr lang="fi-FI" smtClean="0"/>
              <a:t>‹#›</a:t>
            </a:fld>
            <a:endParaRPr lang="fi-FI"/>
          </a:p>
        </p:txBody>
      </p:sp>
      <p:sp>
        <p:nvSpPr>
          <p:cNvPr id="8" name="Title 7"/>
          <p:cNvSpPr>
            <a:spLocks noGrp="1"/>
          </p:cNvSpPr>
          <p:nvPr>
            <p:ph type="title"/>
          </p:nvPr>
        </p:nvSpPr>
        <p:spPr/>
        <p:txBody>
          <a:bodyPr/>
          <a:lstStyle/>
          <a:p>
            <a:r>
              <a:rPr lang="en-US"/>
              <a:t>Click to edit Master title style</a:t>
            </a:r>
            <a:endParaRPr lang="fi-FI"/>
          </a:p>
        </p:txBody>
      </p:sp>
      <p:sp>
        <p:nvSpPr>
          <p:cNvPr id="9" name="Content Placeholder 8"/>
          <p:cNvSpPr>
            <a:spLocks noGrp="1"/>
          </p:cNvSpPr>
          <p:nvPr>
            <p:ph sz="quarter" idx="13"/>
          </p:nvPr>
        </p:nvSpPr>
        <p:spPr>
          <a:xfrm>
            <a:off x="766763" y="1773238"/>
            <a:ext cx="51847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0" name="Content Placeholder 8"/>
          <p:cNvSpPr>
            <a:spLocks noGrp="1"/>
          </p:cNvSpPr>
          <p:nvPr>
            <p:ph sz="quarter" idx="14"/>
          </p:nvPr>
        </p:nvSpPr>
        <p:spPr>
          <a:xfrm>
            <a:off x="6240017" y="1773238"/>
            <a:ext cx="5185221"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1" name="Text Placeholder 7"/>
          <p:cNvSpPr>
            <a:spLocks noGrp="1"/>
          </p:cNvSpPr>
          <p:nvPr>
            <p:ph type="body" sz="quarter" idx="15"/>
          </p:nvPr>
        </p:nvSpPr>
        <p:spPr>
          <a:xfrm>
            <a:off x="334963" y="260350"/>
            <a:ext cx="11522075" cy="184666"/>
          </a:xfrm>
        </p:spPr>
        <p:txBody>
          <a:bodyPr>
            <a:spAutoFit/>
          </a:bodyPr>
          <a:lstStyle>
            <a:lvl1pPr marL="0" indent="0">
              <a:buFontTx/>
              <a:buNone/>
              <a:defRPr sz="1200">
                <a:solidFill>
                  <a:srgbClr val="686768"/>
                </a:solidFill>
              </a:defRPr>
            </a:lvl1pPr>
            <a:lvl2pPr marL="0" indent="0">
              <a:buFontTx/>
              <a:buNone/>
              <a:defRPr sz="1200"/>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a:t>Click to edit Master text styles</a:t>
            </a:r>
          </a:p>
        </p:txBody>
      </p:sp>
    </p:spTree>
    <p:extLst>
      <p:ext uri="{BB962C8B-B14F-4D97-AF65-F5344CB8AC3E}">
        <p14:creationId xmlns:p14="http://schemas.microsoft.com/office/powerpoint/2010/main" val="4180433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and 1/3 picture">
    <p:spTree>
      <p:nvGrpSpPr>
        <p:cNvPr id="1" name=""/>
        <p:cNvGrpSpPr/>
        <p:nvPr/>
      </p:nvGrpSpPr>
      <p:grpSpPr>
        <a:xfrm>
          <a:off x="0" y="0"/>
          <a:ext cx="0" cy="0"/>
          <a:chOff x="0" y="0"/>
          <a:chExt cx="0" cy="0"/>
        </a:xfrm>
      </p:grpSpPr>
      <p:sp>
        <p:nvSpPr>
          <p:cNvPr id="3" name="Content Placeholder 2"/>
          <p:cNvSpPr>
            <a:spLocks noGrp="1"/>
          </p:cNvSpPr>
          <p:nvPr>
            <p:ph idx="1"/>
          </p:nvPr>
        </p:nvSpPr>
        <p:spPr>
          <a:xfrm>
            <a:off x="766764" y="1773238"/>
            <a:ext cx="6913412"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8" name="Picture Placeholder 7"/>
          <p:cNvSpPr>
            <a:spLocks noGrp="1"/>
          </p:cNvSpPr>
          <p:nvPr>
            <p:ph type="pic" sz="quarter" idx="15"/>
          </p:nvPr>
        </p:nvSpPr>
        <p:spPr>
          <a:xfrm>
            <a:off x="8183563" y="0"/>
            <a:ext cx="4008437" cy="6858000"/>
          </a:xfrm>
          <a:solidFill>
            <a:schemeClr val="bg2"/>
          </a:solidFill>
        </p:spPr>
        <p:txBody>
          <a:bodyPr/>
          <a:lstStyle>
            <a:lvl1pPr marL="0" indent="0">
              <a:buFontTx/>
              <a:buNone/>
              <a:defRPr sz="1000"/>
            </a:lvl1pPr>
          </a:lstStyle>
          <a:p>
            <a:r>
              <a:rPr lang="en-US"/>
              <a:t>Click icon to add picture</a:t>
            </a:r>
            <a:endParaRPr lang="fi-FI"/>
          </a:p>
        </p:txBody>
      </p:sp>
      <p:sp>
        <p:nvSpPr>
          <p:cNvPr id="2" name="Title 1"/>
          <p:cNvSpPr>
            <a:spLocks noGrp="1"/>
          </p:cNvSpPr>
          <p:nvPr>
            <p:ph type="title"/>
          </p:nvPr>
        </p:nvSpPr>
        <p:spPr>
          <a:xfrm>
            <a:off x="766764" y="692150"/>
            <a:ext cx="6913412" cy="864642"/>
          </a:xfrm>
        </p:spPr>
        <p:txBody>
          <a:bodyPr/>
          <a:lstStyle/>
          <a:p>
            <a:r>
              <a:rPr lang="en-US"/>
              <a:t>Click to edit Master title style</a:t>
            </a:r>
            <a:endParaRPr lang="fi-FI"/>
          </a:p>
        </p:txBody>
      </p:sp>
      <p:sp>
        <p:nvSpPr>
          <p:cNvPr id="9" name="Date Placeholder 8"/>
          <p:cNvSpPr>
            <a:spLocks noGrp="1"/>
          </p:cNvSpPr>
          <p:nvPr>
            <p:ph type="dt" sz="half" idx="16"/>
          </p:nvPr>
        </p:nvSpPr>
        <p:spPr/>
        <p:txBody>
          <a:bodyPr/>
          <a:lstStyle/>
          <a:p>
            <a:fld id="{7A5310B1-5298-4097-AB07-42BC722A8203}" type="datetime1">
              <a:rPr lang="en-GB" smtClean="0"/>
              <a:t>22/10/2025</a:t>
            </a:fld>
            <a:endParaRPr lang="fi-FI"/>
          </a:p>
        </p:txBody>
      </p:sp>
      <p:sp>
        <p:nvSpPr>
          <p:cNvPr id="10" name="Footer Placeholder 9"/>
          <p:cNvSpPr>
            <a:spLocks noGrp="1"/>
          </p:cNvSpPr>
          <p:nvPr>
            <p:ph type="ftr" sz="quarter" idx="17"/>
          </p:nvPr>
        </p:nvSpPr>
        <p:spPr/>
        <p:txBody>
          <a:bodyPr/>
          <a:lstStyle/>
          <a:p>
            <a:endParaRPr lang="fi-FI"/>
          </a:p>
        </p:txBody>
      </p:sp>
      <p:sp>
        <p:nvSpPr>
          <p:cNvPr id="11" name="Slide Number Placeholder 10"/>
          <p:cNvSpPr>
            <a:spLocks noGrp="1"/>
          </p:cNvSpPr>
          <p:nvPr>
            <p:ph type="sldNum" sz="quarter" idx="18"/>
          </p:nvPr>
        </p:nvSpPr>
        <p:spPr/>
        <p:txBody>
          <a:bodyPr/>
          <a:lstStyle>
            <a:lvl1pPr>
              <a:defRPr>
                <a:noFill/>
              </a:defRPr>
            </a:lvl1pPr>
          </a:lstStyle>
          <a:p>
            <a:fld id="{49A25110-65A2-4B67-BF3F-8D6D3162EF46}" type="slidenum">
              <a:rPr lang="fi-FI" smtClean="0"/>
              <a:pPr/>
              <a:t>‹#›</a:t>
            </a:fld>
            <a:endParaRPr lang="fi-FI"/>
          </a:p>
        </p:txBody>
      </p:sp>
      <p:sp>
        <p:nvSpPr>
          <p:cNvPr id="14" name="Text Placeholder 7"/>
          <p:cNvSpPr>
            <a:spLocks noGrp="1"/>
          </p:cNvSpPr>
          <p:nvPr>
            <p:ph type="body" sz="quarter" idx="13"/>
          </p:nvPr>
        </p:nvSpPr>
        <p:spPr>
          <a:xfrm>
            <a:off x="334964" y="260350"/>
            <a:ext cx="7345362" cy="184666"/>
          </a:xfrm>
        </p:spPr>
        <p:txBody>
          <a:bodyPr wrap="square">
            <a:spAutoFit/>
          </a:bodyPr>
          <a:lstStyle>
            <a:lvl1pPr marL="0" indent="0">
              <a:buFontTx/>
              <a:buNone/>
              <a:defRPr sz="1200">
                <a:solidFill>
                  <a:srgbClr val="686768"/>
                </a:solidFill>
              </a:defRPr>
            </a:lvl1pPr>
            <a:lvl2pPr marL="0" indent="0">
              <a:buFontTx/>
              <a:buNone/>
              <a:defRPr sz="1200"/>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a:t>Click to edit Master text styles</a:t>
            </a:r>
          </a:p>
        </p:txBody>
      </p:sp>
    </p:spTree>
    <p:extLst>
      <p:ext uri="{BB962C8B-B14F-4D97-AF65-F5344CB8AC3E}">
        <p14:creationId xmlns:p14="http://schemas.microsoft.com/office/powerpoint/2010/main" val="4174602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3" name="Content Placeholder 2"/>
          <p:cNvSpPr>
            <a:spLocks noGrp="1"/>
          </p:cNvSpPr>
          <p:nvPr>
            <p:ph idx="1"/>
          </p:nvPr>
        </p:nvSpPr>
        <p:spPr>
          <a:xfrm>
            <a:off x="766762" y="1773238"/>
            <a:ext cx="106584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p:cNvSpPr>
            <a:spLocks noGrp="1"/>
          </p:cNvSpPr>
          <p:nvPr>
            <p:ph type="dt" sz="half" idx="10"/>
          </p:nvPr>
        </p:nvSpPr>
        <p:spPr/>
        <p:txBody>
          <a:bodyPr/>
          <a:lstStyle/>
          <a:p>
            <a:fld id="{C6491319-337A-4E4F-B70E-4FD37057054C}" type="datetime1">
              <a:rPr lang="en-GB" smtClean="0"/>
              <a:t>22/10/2025</a:t>
            </a:fld>
            <a:endParaRPr lang="fi-FI"/>
          </a:p>
        </p:txBody>
      </p:sp>
      <p:sp>
        <p:nvSpPr>
          <p:cNvPr id="5" name="Footer Placeholder 4"/>
          <p:cNvSpPr>
            <a:spLocks noGrp="1"/>
          </p:cNvSpPr>
          <p:nvPr>
            <p:ph type="ftr" sz="quarter" idx="11"/>
          </p:nvPr>
        </p:nvSpPr>
        <p:spPr/>
        <p:txBody>
          <a:bodyPr/>
          <a:lstStyle/>
          <a:p>
            <a:endParaRPr lang="fi-FI"/>
          </a:p>
        </p:txBody>
      </p:sp>
      <p:sp>
        <p:nvSpPr>
          <p:cNvPr id="6" name="Slide Number Placeholder 5"/>
          <p:cNvSpPr>
            <a:spLocks noGrp="1"/>
          </p:cNvSpPr>
          <p:nvPr>
            <p:ph type="sldNum" sz="quarter" idx="12"/>
          </p:nvPr>
        </p:nvSpPr>
        <p:spPr/>
        <p:txBody>
          <a:bodyPr/>
          <a:lstStyle/>
          <a:p>
            <a:fld id="{49A25110-65A2-4B67-BF3F-8D6D3162EF46}" type="slidenum">
              <a:rPr lang="fi-FI" smtClean="0"/>
              <a:t>‹#›</a:t>
            </a:fld>
            <a:endParaRPr lang="fi-FI"/>
          </a:p>
        </p:txBody>
      </p:sp>
      <p:sp>
        <p:nvSpPr>
          <p:cNvPr id="7" name="Title 6"/>
          <p:cNvSpPr>
            <a:spLocks noGrp="1"/>
          </p:cNvSpPr>
          <p:nvPr>
            <p:ph type="title"/>
          </p:nvPr>
        </p:nvSpPr>
        <p:spPr/>
        <p:txBody>
          <a:bodyPr/>
          <a:lstStyle/>
          <a:p>
            <a:r>
              <a:rPr lang="en-US"/>
              <a:t>Click to edit Master title style</a:t>
            </a:r>
            <a:endParaRPr lang="fi-FI"/>
          </a:p>
        </p:txBody>
      </p:sp>
      <p:sp>
        <p:nvSpPr>
          <p:cNvPr id="8" name="Text Placeholder 7"/>
          <p:cNvSpPr>
            <a:spLocks noGrp="1"/>
          </p:cNvSpPr>
          <p:nvPr>
            <p:ph type="body" sz="quarter" idx="13"/>
          </p:nvPr>
        </p:nvSpPr>
        <p:spPr>
          <a:xfrm>
            <a:off x="334963" y="260350"/>
            <a:ext cx="11522075" cy="184666"/>
          </a:xfrm>
        </p:spPr>
        <p:txBody>
          <a:bodyPr>
            <a:spAutoFit/>
          </a:bodyPr>
          <a:lstStyle>
            <a:lvl1pPr marL="0" indent="0">
              <a:buFontTx/>
              <a:buNone/>
              <a:defRPr sz="1200">
                <a:solidFill>
                  <a:srgbClr val="686768"/>
                </a:solidFill>
              </a:defRPr>
            </a:lvl1pPr>
            <a:lvl2pPr marL="0" indent="0">
              <a:buFontTx/>
              <a:buNone/>
              <a:defRPr sz="1200"/>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a:t>Click to edit Master text styles</a:t>
            </a:r>
          </a:p>
        </p:txBody>
      </p:sp>
    </p:spTree>
    <p:extLst>
      <p:ext uri="{BB962C8B-B14F-4D97-AF65-F5344CB8AC3E}">
        <p14:creationId xmlns:p14="http://schemas.microsoft.com/office/powerpoint/2010/main" val="46446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7"/>
          </p:nvPr>
        </p:nvSpPr>
        <p:spPr>
          <a:xfrm>
            <a:off x="1" y="1"/>
            <a:ext cx="4008438" cy="6858000"/>
          </a:xfrm>
          <a:solidFill>
            <a:schemeClr val="bg2"/>
          </a:solidFill>
        </p:spPr>
        <p:txBody>
          <a:bodyPr/>
          <a:lstStyle>
            <a:lvl1pPr marL="0" indent="0">
              <a:buFontTx/>
              <a:buNone/>
              <a:defRPr sz="1000"/>
            </a:lvl1pPr>
          </a:lstStyle>
          <a:p>
            <a:r>
              <a:rPr lang="en-US"/>
              <a:t>Click icon to add picture</a:t>
            </a:r>
            <a:endParaRPr lang="fi-FI"/>
          </a:p>
        </p:txBody>
      </p:sp>
      <p:sp>
        <p:nvSpPr>
          <p:cNvPr id="9" name="Date Placeholder 8"/>
          <p:cNvSpPr>
            <a:spLocks noGrp="1"/>
          </p:cNvSpPr>
          <p:nvPr>
            <p:ph type="dt" sz="half" idx="14"/>
          </p:nvPr>
        </p:nvSpPr>
        <p:spPr>
          <a:xfrm>
            <a:off x="4799856" y="6381329"/>
            <a:ext cx="1224137" cy="216023"/>
          </a:xfrm>
        </p:spPr>
        <p:txBody>
          <a:bodyPr/>
          <a:lstStyle>
            <a:lvl1pPr>
              <a:defRPr>
                <a:noFill/>
              </a:defRPr>
            </a:lvl1pPr>
          </a:lstStyle>
          <a:p>
            <a:fld id="{37C65F74-3C52-442B-814A-CB14721A39FB}" type="datetime1">
              <a:rPr lang="en-GB" smtClean="0"/>
              <a:t>22/10/2025</a:t>
            </a:fld>
            <a:endParaRPr lang="fi-FI"/>
          </a:p>
        </p:txBody>
      </p:sp>
      <p:sp>
        <p:nvSpPr>
          <p:cNvPr id="10" name="Footer Placeholder 9"/>
          <p:cNvSpPr>
            <a:spLocks noGrp="1"/>
          </p:cNvSpPr>
          <p:nvPr>
            <p:ph type="ftr" sz="quarter" idx="15"/>
          </p:nvPr>
        </p:nvSpPr>
        <p:spPr>
          <a:xfrm>
            <a:off x="6023992" y="6381328"/>
            <a:ext cx="5401246" cy="216024"/>
          </a:xfrm>
        </p:spPr>
        <p:txBody>
          <a:bodyPr/>
          <a:lstStyle>
            <a:lvl1pPr>
              <a:defRPr>
                <a:noFill/>
              </a:defRPr>
            </a:lvl1pPr>
          </a:lstStyle>
          <a:p>
            <a:endParaRPr lang="fi-FI"/>
          </a:p>
        </p:txBody>
      </p:sp>
      <p:sp>
        <p:nvSpPr>
          <p:cNvPr id="11" name="Slide Number Placeholder 10"/>
          <p:cNvSpPr>
            <a:spLocks noGrp="1"/>
          </p:cNvSpPr>
          <p:nvPr>
            <p:ph type="sldNum" sz="quarter" idx="16"/>
          </p:nvPr>
        </p:nvSpPr>
        <p:spPr/>
        <p:txBody>
          <a:bodyPr/>
          <a:lstStyle>
            <a:lvl1pPr>
              <a:defRPr>
                <a:noFill/>
              </a:defRPr>
            </a:lvl1pPr>
          </a:lstStyle>
          <a:p>
            <a:fld id="{49A25110-65A2-4B67-BF3F-8D6D3162EF46}" type="slidenum">
              <a:rPr lang="fi-FI" smtClean="0"/>
              <a:pPr/>
              <a:t>‹#›</a:t>
            </a:fld>
            <a:endParaRPr lang="fi-FI"/>
          </a:p>
        </p:txBody>
      </p:sp>
      <p:sp>
        <p:nvSpPr>
          <p:cNvPr id="12" name="Text Placeholder 7"/>
          <p:cNvSpPr>
            <a:spLocks noGrp="1"/>
          </p:cNvSpPr>
          <p:nvPr>
            <p:ph type="body" sz="quarter" idx="13" hasCustomPrompt="1"/>
          </p:nvPr>
        </p:nvSpPr>
        <p:spPr>
          <a:xfrm>
            <a:off x="4799856" y="5949950"/>
            <a:ext cx="6625382" cy="215354"/>
          </a:xfrm>
        </p:spPr>
        <p:txBody>
          <a:bodyPr vert="horz" lIns="0" tIns="0" rIns="0" bIns="0" rtlCol="0" anchor="b" anchorCtr="0">
            <a:noAutofit/>
          </a:bodyPr>
          <a:lstStyle>
            <a:lvl1pPr marL="0" indent="0">
              <a:lnSpc>
                <a:spcPct val="95000"/>
              </a:lnSpc>
              <a:spcBef>
                <a:spcPts val="0"/>
              </a:spcBef>
              <a:buFontTx/>
              <a:buNone/>
              <a:defRPr lang="fi-FI" sz="1600" spc="40" baseline="0" dirty="0">
                <a:solidFill>
                  <a:schemeClr val="tx1"/>
                </a:solidFill>
              </a:defRPr>
            </a:lvl1pPr>
          </a:lstStyle>
          <a:p>
            <a:pPr marL="0" lvl="0"/>
            <a:r>
              <a:rPr lang="en-US"/>
              <a:t>Date</a:t>
            </a:r>
            <a:endParaRPr lang="fi-FI"/>
          </a:p>
        </p:txBody>
      </p:sp>
      <p:sp>
        <p:nvSpPr>
          <p:cNvPr id="13" name="Title 1"/>
          <p:cNvSpPr>
            <a:spLocks noGrp="1"/>
          </p:cNvSpPr>
          <p:nvPr>
            <p:ph type="ctrTitle"/>
          </p:nvPr>
        </p:nvSpPr>
        <p:spPr>
          <a:xfrm>
            <a:off x="4799856" y="1773238"/>
            <a:ext cx="6625382" cy="1943794"/>
          </a:xfrm>
        </p:spPr>
        <p:txBody>
          <a:bodyPr anchor="b" anchorCtr="0"/>
          <a:lstStyle>
            <a:lvl1pPr>
              <a:lnSpc>
                <a:spcPct val="95000"/>
              </a:lnSpc>
              <a:defRPr sz="4400" b="0" spc="0" baseline="0">
                <a:solidFill>
                  <a:schemeClr val="tx1"/>
                </a:solidFill>
              </a:defRPr>
            </a:lvl1pPr>
          </a:lstStyle>
          <a:p>
            <a:r>
              <a:rPr lang="en-US"/>
              <a:t>Click to edit Master title style</a:t>
            </a:r>
            <a:endParaRPr lang="fi-FI"/>
          </a:p>
        </p:txBody>
      </p:sp>
      <p:sp>
        <p:nvSpPr>
          <p:cNvPr id="14" name="Subtitle 2"/>
          <p:cNvSpPr>
            <a:spLocks noGrp="1"/>
          </p:cNvSpPr>
          <p:nvPr>
            <p:ph type="subTitle" idx="1"/>
          </p:nvPr>
        </p:nvSpPr>
        <p:spPr>
          <a:xfrm>
            <a:off x="4799855" y="3933055"/>
            <a:ext cx="6625383" cy="936105"/>
          </a:xfrm>
        </p:spPr>
        <p:txBody>
          <a:bodyPr/>
          <a:lstStyle>
            <a:lvl1pPr marL="0" indent="0" algn="l">
              <a:lnSpc>
                <a:spcPct val="95000"/>
              </a:lnSpc>
              <a:spcBef>
                <a:spcPts val="0"/>
              </a:spcBef>
              <a:buNone/>
              <a:defRPr b="0" spc="-40" baseline="0">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fi-FI"/>
          </a:p>
        </p:txBody>
      </p:sp>
      <p:grpSp>
        <p:nvGrpSpPr>
          <p:cNvPr id="15" name="Group 14"/>
          <p:cNvGrpSpPr>
            <a:grpSpLocks noChangeAspect="1"/>
          </p:cNvGrpSpPr>
          <p:nvPr userDrawn="1"/>
        </p:nvGrpSpPr>
        <p:grpSpPr>
          <a:xfrm>
            <a:off x="4439816" y="404776"/>
            <a:ext cx="2902289" cy="1008000"/>
            <a:chOff x="3279775" y="2451101"/>
            <a:chExt cx="5640388" cy="1958974"/>
          </a:xfrm>
          <a:solidFill>
            <a:schemeClr val="accent1"/>
          </a:solidFill>
        </p:grpSpPr>
        <p:sp>
          <p:nvSpPr>
            <p:cNvPr id="16" name="Freeform 6"/>
            <p:cNvSpPr>
              <a:spLocks/>
            </p:cNvSpPr>
            <p:nvPr userDrawn="1"/>
          </p:nvSpPr>
          <p:spPr bwMode="auto">
            <a:xfrm>
              <a:off x="3279775" y="2451101"/>
              <a:ext cx="1838325" cy="1944687"/>
            </a:xfrm>
            <a:custGeom>
              <a:avLst/>
              <a:gdLst>
                <a:gd name="T0" fmla="*/ 978 w 1158"/>
                <a:gd name="T1" fmla="*/ 608 h 1225"/>
                <a:gd name="T2" fmla="*/ 974 w 1158"/>
                <a:gd name="T3" fmla="*/ 610 h 1225"/>
                <a:gd name="T4" fmla="*/ 968 w 1158"/>
                <a:gd name="T5" fmla="*/ 608 h 1225"/>
                <a:gd name="T6" fmla="*/ 966 w 1158"/>
                <a:gd name="T7" fmla="*/ 134 h 1225"/>
                <a:gd name="T8" fmla="*/ 963 w 1158"/>
                <a:gd name="T9" fmla="*/ 128 h 1225"/>
                <a:gd name="T10" fmla="*/ 956 w 1158"/>
                <a:gd name="T11" fmla="*/ 128 h 1225"/>
                <a:gd name="T12" fmla="*/ 953 w 1158"/>
                <a:gd name="T13" fmla="*/ 132 h 1225"/>
                <a:gd name="T14" fmla="*/ 784 w 1158"/>
                <a:gd name="T15" fmla="*/ 603 h 1225"/>
                <a:gd name="T16" fmla="*/ 779 w 1158"/>
                <a:gd name="T17" fmla="*/ 607 h 1225"/>
                <a:gd name="T18" fmla="*/ 773 w 1158"/>
                <a:gd name="T19" fmla="*/ 605 h 1225"/>
                <a:gd name="T20" fmla="*/ 771 w 1158"/>
                <a:gd name="T21" fmla="*/ 466 h 1225"/>
                <a:gd name="T22" fmla="*/ 769 w 1158"/>
                <a:gd name="T23" fmla="*/ 461 h 1225"/>
                <a:gd name="T24" fmla="*/ 764 w 1158"/>
                <a:gd name="T25" fmla="*/ 459 h 1225"/>
                <a:gd name="T26" fmla="*/ 584 w 1158"/>
                <a:gd name="T27" fmla="*/ 614 h 1225"/>
                <a:gd name="T28" fmla="*/ 579 w 1158"/>
                <a:gd name="T29" fmla="*/ 616 h 1225"/>
                <a:gd name="T30" fmla="*/ 396 w 1158"/>
                <a:gd name="T31" fmla="*/ 461 h 1225"/>
                <a:gd name="T32" fmla="*/ 390 w 1158"/>
                <a:gd name="T33" fmla="*/ 460 h 1225"/>
                <a:gd name="T34" fmla="*/ 386 w 1158"/>
                <a:gd name="T35" fmla="*/ 464 h 1225"/>
                <a:gd name="T36" fmla="*/ 386 w 1158"/>
                <a:gd name="T37" fmla="*/ 603 h 1225"/>
                <a:gd name="T38" fmla="*/ 381 w 1158"/>
                <a:gd name="T39" fmla="*/ 607 h 1225"/>
                <a:gd name="T40" fmla="*/ 375 w 1158"/>
                <a:gd name="T41" fmla="*/ 605 h 1225"/>
                <a:gd name="T42" fmla="*/ 292 w 1158"/>
                <a:gd name="T43" fmla="*/ 378 h 1225"/>
                <a:gd name="T44" fmla="*/ 203 w 1158"/>
                <a:gd name="T45" fmla="*/ 130 h 1225"/>
                <a:gd name="T46" fmla="*/ 197 w 1158"/>
                <a:gd name="T47" fmla="*/ 128 h 1225"/>
                <a:gd name="T48" fmla="*/ 192 w 1158"/>
                <a:gd name="T49" fmla="*/ 132 h 1225"/>
                <a:gd name="T50" fmla="*/ 191 w 1158"/>
                <a:gd name="T51" fmla="*/ 606 h 1225"/>
                <a:gd name="T52" fmla="*/ 186 w 1158"/>
                <a:gd name="T53" fmla="*/ 610 h 1225"/>
                <a:gd name="T54" fmla="*/ 181 w 1158"/>
                <a:gd name="T55" fmla="*/ 609 h 1225"/>
                <a:gd name="T56" fmla="*/ 13 w 1158"/>
                <a:gd name="T57" fmla="*/ 5 h 1225"/>
                <a:gd name="T58" fmla="*/ 10 w 1158"/>
                <a:gd name="T59" fmla="*/ 1 h 1225"/>
                <a:gd name="T60" fmla="*/ 4 w 1158"/>
                <a:gd name="T61" fmla="*/ 1 h 1225"/>
                <a:gd name="T62" fmla="*/ 0 w 1158"/>
                <a:gd name="T63" fmla="*/ 7 h 1225"/>
                <a:gd name="T64" fmla="*/ 1 w 1158"/>
                <a:gd name="T65" fmla="*/ 552 h 1225"/>
                <a:gd name="T66" fmla="*/ 147 w 1158"/>
                <a:gd name="T67" fmla="*/ 644 h 1225"/>
                <a:gd name="T68" fmla="*/ 389 w 1158"/>
                <a:gd name="T69" fmla="*/ 646 h 1225"/>
                <a:gd name="T70" fmla="*/ 397 w 1158"/>
                <a:gd name="T71" fmla="*/ 649 h 1225"/>
                <a:gd name="T72" fmla="*/ 500 w 1158"/>
                <a:gd name="T73" fmla="*/ 909 h 1225"/>
                <a:gd name="T74" fmla="*/ 501 w 1158"/>
                <a:gd name="T75" fmla="*/ 917 h 1225"/>
                <a:gd name="T76" fmla="*/ 447 w 1158"/>
                <a:gd name="T77" fmla="*/ 1030 h 1225"/>
                <a:gd name="T78" fmla="*/ 519 w 1158"/>
                <a:gd name="T79" fmla="*/ 1218 h 1225"/>
                <a:gd name="T80" fmla="*/ 526 w 1158"/>
                <a:gd name="T81" fmla="*/ 1224 h 1225"/>
                <a:gd name="T82" fmla="*/ 629 w 1158"/>
                <a:gd name="T83" fmla="*/ 1225 h 1225"/>
                <a:gd name="T84" fmla="*/ 637 w 1158"/>
                <a:gd name="T85" fmla="*/ 1221 h 1225"/>
                <a:gd name="T86" fmla="*/ 710 w 1158"/>
                <a:gd name="T87" fmla="*/ 1036 h 1225"/>
                <a:gd name="T88" fmla="*/ 710 w 1158"/>
                <a:gd name="T89" fmla="*/ 1030 h 1225"/>
                <a:gd name="T90" fmla="*/ 657 w 1158"/>
                <a:gd name="T91" fmla="*/ 917 h 1225"/>
                <a:gd name="T92" fmla="*/ 758 w 1158"/>
                <a:gd name="T93" fmla="*/ 652 h 1225"/>
                <a:gd name="T94" fmla="*/ 765 w 1158"/>
                <a:gd name="T95" fmla="*/ 646 h 1225"/>
                <a:gd name="T96" fmla="*/ 1009 w 1158"/>
                <a:gd name="T97" fmla="*/ 645 h 1225"/>
                <a:gd name="T98" fmla="*/ 1155 w 1158"/>
                <a:gd name="T99" fmla="*/ 554 h 1225"/>
                <a:gd name="T100" fmla="*/ 1158 w 1158"/>
                <a:gd name="T101" fmla="*/ 549 h 1225"/>
                <a:gd name="T102" fmla="*/ 1158 w 1158"/>
                <a:gd name="T103" fmla="*/ 4 h 1225"/>
                <a:gd name="T104" fmla="*/ 1152 w 1158"/>
                <a:gd name="T105" fmla="*/ 0 h 1225"/>
                <a:gd name="T106" fmla="*/ 1146 w 1158"/>
                <a:gd name="T107" fmla="*/ 3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8" h="1225">
                  <a:moveTo>
                    <a:pt x="1145" y="5"/>
                  </a:moveTo>
                  <a:lnTo>
                    <a:pt x="979" y="605"/>
                  </a:lnTo>
                  <a:lnTo>
                    <a:pt x="978" y="608"/>
                  </a:lnTo>
                  <a:lnTo>
                    <a:pt x="977" y="608"/>
                  </a:lnTo>
                  <a:lnTo>
                    <a:pt x="976" y="609"/>
                  </a:lnTo>
                  <a:lnTo>
                    <a:pt x="974" y="610"/>
                  </a:lnTo>
                  <a:lnTo>
                    <a:pt x="972" y="610"/>
                  </a:lnTo>
                  <a:lnTo>
                    <a:pt x="970" y="609"/>
                  </a:lnTo>
                  <a:lnTo>
                    <a:pt x="968" y="608"/>
                  </a:lnTo>
                  <a:lnTo>
                    <a:pt x="967" y="606"/>
                  </a:lnTo>
                  <a:lnTo>
                    <a:pt x="966" y="603"/>
                  </a:lnTo>
                  <a:lnTo>
                    <a:pt x="966" y="134"/>
                  </a:lnTo>
                  <a:lnTo>
                    <a:pt x="966" y="132"/>
                  </a:lnTo>
                  <a:lnTo>
                    <a:pt x="964" y="130"/>
                  </a:lnTo>
                  <a:lnTo>
                    <a:pt x="963" y="128"/>
                  </a:lnTo>
                  <a:lnTo>
                    <a:pt x="961" y="128"/>
                  </a:lnTo>
                  <a:lnTo>
                    <a:pt x="958" y="128"/>
                  </a:lnTo>
                  <a:lnTo>
                    <a:pt x="956" y="128"/>
                  </a:lnTo>
                  <a:lnTo>
                    <a:pt x="955" y="129"/>
                  </a:lnTo>
                  <a:lnTo>
                    <a:pt x="955" y="130"/>
                  </a:lnTo>
                  <a:lnTo>
                    <a:pt x="953" y="132"/>
                  </a:lnTo>
                  <a:lnTo>
                    <a:pt x="916" y="240"/>
                  </a:lnTo>
                  <a:lnTo>
                    <a:pt x="865" y="378"/>
                  </a:lnTo>
                  <a:lnTo>
                    <a:pt x="784" y="603"/>
                  </a:lnTo>
                  <a:lnTo>
                    <a:pt x="782" y="605"/>
                  </a:lnTo>
                  <a:lnTo>
                    <a:pt x="781" y="606"/>
                  </a:lnTo>
                  <a:lnTo>
                    <a:pt x="779" y="607"/>
                  </a:lnTo>
                  <a:lnTo>
                    <a:pt x="776" y="607"/>
                  </a:lnTo>
                  <a:lnTo>
                    <a:pt x="774" y="606"/>
                  </a:lnTo>
                  <a:lnTo>
                    <a:pt x="773" y="605"/>
                  </a:lnTo>
                  <a:lnTo>
                    <a:pt x="772" y="603"/>
                  </a:lnTo>
                  <a:lnTo>
                    <a:pt x="771" y="600"/>
                  </a:lnTo>
                  <a:lnTo>
                    <a:pt x="771" y="466"/>
                  </a:lnTo>
                  <a:lnTo>
                    <a:pt x="771" y="464"/>
                  </a:lnTo>
                  <a:lnTo>
                    <a:pt x="770" y="462"/>
                  </a:lnTo>
                  <a:lnTo>
                    <a:pt x="769" y="461"/>
                  </a:lnTo>
                  <a:lnTo>
                    <a:pt x="767" y="460"/>
                  </a:lnTo>
                  <a:lnTo>
                    <a:pt x="766" y="459"/>
                  </a:lnTo>
                  <a:lnTo>
                    <a:pt x="764" y="459"/>
                  </a:lnTo>
                  <a:lnTo>
                    <a:pt x="762" y="460"/>
                  </a:lnTo>
                  <a:lnTo>
                    <a:pt x="761" y="461"/>
                  </a:lnTo>
                  <a:lnTo>
                    <a:pt x="584" y="614"/>
                  </a:lnTo>
                  <a:lnTo>
                    <a:pt x="583" y="615"/>
                  </a:lnTo>
                  <a:lnTo>
                    <a:pt x="581" y="615"/>
                  </a:lnTo>
                  <a:lnTo>
                    <a:pt x="579" y="616"/>
                  </a:lnTo>
                  <a:lnTo>
                    <a:pt x="576" y="615"/>
                  </a:lnTo>
                  <a:lnTo>
                    <a:pt x="573" y="614"/>
                  </a:lnTo>
                  <a:lnTo>
                    <a:pt x="396" y="461"/>
                  </a:lnTo>
                  <a:lnTo>
                    <a:pt x="393" y="459"/>
                  </a:lnTo>
                  <a:lnTo>
                    <a:pt x="391" y="460"/>
                  </a:lnTo>
                  <a:lnTo>
                    <a:pt x="390" y="460"/>
                  </a:lnTo>
                  <a:lnTo>
                    <a:pt x="388" y="461"/>
                  </a:lnTo>
                  <a:lnTo>
                    <a:pt x="387" y="462"/>
                  </a:lnTo>
                  <a:lnTo>
                    <a:pt x="386" y="464"/>
                  </a:lnTo>
                  <a:lnTo>
                    <a:pt x="386" y="466"/>
                  </a:lnTo>
                  <a:lnTo>
                    <a:pt x="386" y="601"/>
                  </a:lnTo>
                  <a:lnTo>
                    <a:pt x="386" y="603"/>
                  </a:lnTo>
                  <a:lnTo>
                    <a:pt x="384" y="605"/>
                  </a:lnTo>
                  <a:lnTo>
                    <a:pt x="383" y="606"/>
                  </a:lnTo>
                  <a:lnTo>
                    <a:pt x="381" y="607"/>
                  </a:lnTo>
                  <a:lnTo>
                    <a:pt x="379" y="607"/>
                  </a:lnTo>
                  <a:lnTo>
                    <a:pt x="377" y="606"/>
                  </a:lnTo>
                  <a:lnTo>
                    <a:pt x="375" y="605"/>
                  </a:lnTo>
                  <a:lnTo>
                    <a:pt x="374" y="603"/>
                  </a:lnTo>
                  <a:lnTo>
                    <a:pt x="340" y="511"/>
                  </a:lnTo>
                  <a:lnTo>
                    <a:pt x="292" y="378"/>
                  </a:lnTo>
                  <a:lnTo>
                    <a:pt x="242" y="240"/>
                  </a:lnTo>
                  <a:lnTo>
                    <a:pt x="205" y="132"/>
                  </a:lnTo>
                  <a:lnTo>
                    <a:pt x="203" y="130"/>
                  </a:lnTo>
                  <a:lnTo>
                    <a:pt x="202" y="128"/>
                  </a:lnTo>
                  <a:lnTo>
                    <a:pt x="200" y="128"/>
                  </a:lnTo>
                  <a:lnTo>
                    <a:pt x="197" y="128"/>
                  </a:lnTo>
                  <a:lnTo>
                    <a:pt x="195" y="128"/>
                  </a:lnTo>
                  <a:lnTo>
                    <a:pt x="194" y="130"/>
                  </a:lnTo>
                  <a:lnTo>
                    <a:pt x="192" y="132"/>
                  </a:lnTo>
                  <a:lnTo>
                    <a:pt x="192" y="134"/>
                  </a:lnTo>
                  <a:lnTo>
                    <a:pt x="192" y="604"/>
                  </a:lnTo>
                  <a:lnTo>
                    <a:pt x="191" y="606"/>
                  </a:lnTo>
                  <a:lnTo>
                    <a:pt x="190" y="608"/>
                  </a:lnTo>
                  <a:lnTo>
                    <a:pt x="188" y="609"/>
                  </a:lnTo>
                  <a:lnTo>
                    <a:pt x="186" y="610"/>
                  </a:lnTo>
                  <a:lnTo>
                    <a:pt x="184" y="610"/>
                  </a:lnTo>
                  <a:lnTo>
                    <a:pt x="182" y="609"/>
                  </a:lnTo>
                  <a:lnTo>
                    <a:pt x="181" y="609"/>
                  </a:lnTo>
                  <a:lnTo>
                    <a:pt x="180" y="608"/>
                  </a:lnTo>
                  <a:lnTo>
                    <a:pt x="179" y="605"/>
                  </a:lnTo>
                  <a:lnTo>
                    <a:pt x="13" y="5"/>
                  </a:lnTo>
                  <a:lnTo>
                    <a:pt x="12" y="3"/>
                  </a:lnTo>
                  <a:lnTo>
                    <a:pt x="11" y="2"/>
                  </a:lnTo>
                  <a:lnTo>
                    <a:pt x="10" y="1"/>
                  </a:lnTo>
                  <a:lnTo>
                    <a:pt x="8" y="1"/>
                  </a:lnTo>
                  <a:lnTo>
                    <a:pt x="6" y="0"/>
                  </a:lnTo>
                  <a:lnTo>
                    <a:pt x="4" y="1"/>
                  </a:lnTo>
                  <a:lnTo>
                    <a:pt x="2" y="3"/>
                  </a:lnTo>
                  <a:lnTo>
                    <a:pt x="1" y="4"/>
                  </a:lnTo>
                  <a:lnTo>
                    <a:pt x="0" y="7"/>
                  </a:lnTo>
                  <a:lnTo>
                    <a:pt x="0" y="546"/>
                  </a:lnTo>
                  <a:lnTo>
                    <a:pt x="0" y="549"/>
                  </a:lnTo>
                  <a:lnTo>
                    <a:pt x="1" y="552"/>
                  </a:lnTo>
                  <a:lnTo>
                    <a:pt x="3" y="554"/>
                  </a:lnTo>
                  <a:lnTo>
                    <a:pt x="5" y="555"/>
                  </a:lnTo>
                  <a:lnTo>
                    <a:pt x="147" y="644"/>
                  </a:lnTo>
                  <a:lnTo>
                    <a:pt x="150" y="645"/>
                  </a:lnTo>
                  <a:lnTo>
                    <a:pt x="153" y="646"/>
                  </a:lnTo>
                  <a:lnTo>
                    <a:pt x="389" y="646"/>
                  </a:lnTo>
                  <a:lnTo>
                    <a:pt x="392" y="646"/>
                  </a:lnTo>
                  <a:lnTo>
                    <a:pt x="395" y="647"/>
                  </a:lnTo>
                  <a:lnTo>
                    <a:pt x="397" y="649"/>
                  </a:lnTo>
                  <a:lnTo>
                    <a:pt x="398" y="651"/>
                  </a:lnTo>
                  <a:lnTo>
                    <a:pt x="399" y="652"/>
                  </a:lnTo>
                  <a:lnTo>
                    <a:pt x="500" y="909"/>
                  </a:lnTo>
                  <a:lnTo>
                    <a:pt x="501" y="912"/>
                  </a:lnTo>
                  <a:lnTo>
                    <a:pt x="501" y="914"/>
                  </a:lnTo>
                  <a:lnTo>
                    <a:pt x="501" y="917"/>
                  </a:lnTo>
                  <a:lnTo>
                    <a:pt x="500" y="920"/>
                  </a:lnTo>
                  <a:lnTo>
                    <a:pt x="448" y="1028"/>
                  </a:lnTo>
                  <a:lnTo>
                    <a:pt x="447" y="1030"/>
                  </a:lnTo>
                  <a:lnTo>
                    <a:pt x="447" y="1032"/>
                  </a:lnTo>
                  <a:lnTo>
                    <a:pt x="447" y="1036"/>
                  </a:lnTo>
                  <a:lnTo>
                    <a:pt x="519" y="1218"/>
                  </a:lnTo>
                  <a:lnTo>
                    <a:pt x="520" y="1221"/>
                  </a:lnTo>
                  <a:lnTo>
                    <a:pt x="523" y="1223"/>
                  </a:lnTo>
                  <a:lnTo>
                    <a:pt x="526" y="1224"/>
                  </a:lnTo>
                  <a:lnTo>
                    <a:pt x="529" y="1225"/>
                  </a:lnTo>
                  <a:lnTo>
                    <a:pt x="579" y="1225"/>
                  </a:lnTo>
                  <a:lnTo>
                    <a:pt x="629" y="1225"/>
                  </a:lnTo>
                  <a:lnTo>
                    <a:pt x="632" y="1224"/>
                  </a:lnTo>
                  <a:lnTo>
                    <a:pt x="635" y="1223"/>
                  </a:lnTo>
                  <a:lnTo>
                    <a:pt x="637" y="1221"/>
                  </a:lnTo>
                  <a:lnTo>
                    <a:pt x="638" y="1219"/>
                  </a:lnTo>
                  <a:lnTo>
                    <a:pt x="638" y="1218"/>
                  </a:lnTo>
                  <a:lnTo>
                    <a:pt x="710" y="1036"/>
                  </a:lnTo>
                  <a:lnTo>
                    <a:pt x="711" y="1034"/>
                  </a:lnTo>
                  <a:lnTo>
                    <a:pt x="711" y="1032"/>
                  </a:lnTo>
                  <a:lnTo>
                    <a:pt x="710" y="1030"/>
                  </a:lnTo>
                  <a:lnTo>
                    <a:pt x="710" y="1028"/>
                  </a:lnTo>
                  <a:lnTo>
                    <a:pt x="657" y="920"/>
                  </a:lnTo>
                  <a:lnTo>
                    <a:pt x="657" y="917"/>
                  </a:lnTo>
                  <a:lnTo>
                    <a:pt x="656" y="914"/>
                  </a:lnTo>
                  <a:lnTo>
                    <a:pt x="657" y="909"/>
                  </a:lnTo>
                  <a:lnTo>
                    <a:pt x="758" y="652"/>
                  </a:lnTo>
                  <a:lnTo>
                    <a:pt x="760" y="650"/>
                  </a:lnTo>
                  <a:lnTo>
                    <a:pt x="762" y="647"/>
                  </a:lnTo>
                  <a:lnTo>
                    <a:pt x="765" y="646"/>
                  </a:lnTo>
                  <a:lnTo>
                    <a:pt x="768" y="646"/>
                  </a:lnTo>
                  <a:lnTo>
                    <a:pt x="1006" y="646"/>
                  </a:lnTo>
                  <a:lnTo>
                    <a:pt x="1009" y="645"/>
                  </a:lnTo>
                  <a:lnTo>
                    <a:pt x="1011" y="644"/>
                  </a:lnTo>
                  <a:lnTo>
                    <a:pt x="1153" y="555"/>
                  </a:lnTo>
                  <a:lnTo>
                    <a:pt x="1155" y="554"/>
                  </a:lnTo>
                  <a:lnTo>
                    <a:pt x="1156" y="553"/>
                  </a:lnTo>
                  <a:lnTo>
                    <a:pt x="1157" y="552"/>
                  </a:lnTo>
                  <a:lnTo>
                    <a:pt x="1158" y="549"/>
                  </a:lnTo>
                  <a:lnTo>
                    <a:pt x="1158" y="546"/>
                  </a:lnTo>
                  <a:lnTo>
                    <a:pt x="1158" y="7"/>
                  </a:lnTo>
                  <a:lnTo>
                    <a:pt x="1158" y="4"/>
                  </a:lnTo>
                  <a:lnTo>
                    <a:pt x="1156" y="3"/>
                  </a:lnTo>
                  <a:lnTo>
                    <a:pt x="1154" y="1"/>
                  </a:lnTo>
                  <a:lnTo>
                    <a:pt x="1152" y="0"/>
                  </a:lnTo>
                  <a:lnTo>
                    <a:pt x="1150" y="1"/>
                  </a:lnTo>
                  <a:lnTo>
                    <a:pt x="1148" y="1"/>
                  </a:lnTo>
                  <a:lnTo>
                    <a:pt x="1146" y="3"/>
                  </a:lnTo>
                  <a:lnTo>
                    <a:pt x="1145" y="4"/>
                  </a:lnTo>
                  <a:lnTo>
                    <a:pt x="11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7" name="Freeform 7"/>
            <p:cNvSpPr>
              <a:spLocks noEditPoints="1"/>
            </p:cNvSpPr>
            <p:nvPr userDrawn="1"/>
          </p:nvSpPr>
          <p:spPr bwMode="auto">
            <a:xfrm>
              <a:off x="5386388" y="3476625"/>
              <a:ext cx="3533775" cy="933450"/>
            </a:xfrm>
            <a:custGeom>
              <a:avLst/>
              <a:gdLst>
                <a:gd name="T0" fmla="*/ 1976 w 2226"/>
                <a:gd name="T1" fmla="*/ 407 h 588"/>
                <a:gd name="T2" fmla="*/ 1967 w 2226"/>
                <a:gd name="T3" fmla="*/ 463 h 588"/>
                <a:gd name="T4" fmla="*/ 2059 w 2226"/>
                <a:gd name="T5" fmla="*/ 452 h 588"/>
                <a:gd name="T6" fmla="*/ 2077 w 2226"/>
                <a:gd name="T7" fmla="*/ 579 h 588"/>
                <a:gd name="T8" fmla="*/ 2048 w 2226"/>
                <a:gd name="T9" fmla="*/ 537 h 588"/>
                <a:gd name="T10" fmla="*/ 1914 w 2226"/>
                <a:gd name="T11" fmla="*/ 585 h 588"/>
                <a:gd name="T12" fmla="*/ 1811 w 2226"/>
                <a:gd name="T13" fmla="*/ 508 h 588"/>
                <a:gd name="T14" fmla="*/ 1836 w 2226"/>
                <a:gd name="T15" fmla="*/ 383 h 588"/>
                <a:gd name="T16" fmla="*/ 2013 w 2226"/>
                <a:gd name="T17" fmla="*/ 311 h 588"/>
                <a:gd name="T18" fmla="*/ 2045 w 2226"/>
                <a:gd name="T19" fmla="*/ 271 h 588"/>
                <a:gd name="T20" fmla="*/ 1907 w 2226"/>
                <a:gd name="T21" fmla="*/ 300 h 588"/>
                <a:gd name="T22" fmla="*/ 1866 w 2226"/>
                <a:gd name="T23" fmla="*/ 195 h 588"/>
                <a:gd name="T24" fmla="*/ 2086 w 2226"/>
                <a:gd name="T25" fmla="*/ 154 h 588"/>
                <a:gd name="T26" fmla="*/ 2190 w 2226"/>
                <a:gd name="T27" fmla="*/ 214 h 588"/>
                <a:gd name="T28" fmla="*/ 2217 w 2226"/>
                <a:gd name="T29" fmla="*/ 512 h 588"/>
                <a:gd name="T30" fmla="*/ 1994 w 2226"/>
                <a:gd name="T31" fmla="*/ 3 h 588"/>
                <a:gd name="T32" fmla="*/ 1869 w 2226"/>
                <a:gd name="T33" fmla="*/ 7 h 588"/>
                <a:gd name="T34" fmla="*/ 2172 w 2226"/>
                <a:gd name="T35" fmla="*/ 123 h 588"/>
                <a:gd name="T36" fmla="*/ 1190 w 2226"/>
                <a:gd name="T37" fmla="*/ 576 h 588"/>
                <a:gd name="T38" fmla="*/ 1121 w 2226"/>
                <a:gd name="T39" fmla="*/ 502 h 588"/>
                <a:gd name="T40" fmla="*/ 1059 w 2226"/>
                <a:gd name="T41" fmla="*/ 264 h 588"/>
                <a:gd name="T42" fmla="*/ 1170 w 2226"/>
                <a:gd name="T43" fmla="*/ 25 h 588"/>
                <a:gd name="T44" fmla="*/ 1274 w 2226"/>
                <a:gd name="T45" fmla="*/ 156 h 588"/>
                <a:gd name="T46" fmla="*/ 1374 w 2226"/>
                <a:gd name="T47" fmla="*/ 271 h 588"/>
                <a:gd name="T48" fmla="*/ 1291 w 2226"/>
                <a:gd name="T49" fmla="*/ 469 h 588"/>
                <a:gd name="T50" fmla="*/ 1370 w 2226"/>
                <a:gd name="T51" fmla="*/ 564 h 588"/>
                <a:gd name="T52" fmla="*/ 1 w 2226"/>
                <a:gd name="T53" fmla="*/ 3 h 588"/>
                <a:gd name="T54" fmla="*/ 312 w 2226"/>
                <a:gd name="T55" fmla="*/ 389 h 588"/>
                <a:gd name="T56" fmla="*/ 615 w 2226"/>
                <a:gd name="T57" fmla="*/ 572 h 588"/>
                <a:gd name="T58" fmla="*/ 463 w 2226"/>
                <a:gd name="T59" fmla="*/ 222 h 588"/>
                <a:gd name="T60" fmla="*/ 365 w 2226"/>
                <a:gd name="T61" fmla="*/ 579 h 588"/>
                <a:gd name="T62" fmla="*/ 146 w 2226"/>
                <a:gd name="T63" fmla="*/ 223 h 588"/>
                <a:gd name="T64" fmla="*/ 1 w 2226"/>
                <a:gd name="T65" fmla="*/ 576 h 588"/>
                <a:gd name="T66" fmla="*/ 795 w 2226"/>
                <a:gd name="T67" fmla="*/ 421 h 588"/>
                <a:gd name="T68" fmla="*/ 861 w 2226"/>
                <a:gd name="T69" fmla="*/ 482 h 588"/>
                <a:gd name="T70" fmla="*/ 999 w 2226"/>
                <a:gd name="T71" fmla="*/ 448 h 588"/>
                <a:gd name="T72" fmla="*/ 974 w 2226"/>
                <a:gd name="T73" fmla="*/ 574 h 588"/>
                <a:gd name="T74" fmla="*/ 772 w 2226"/>
                <a:gd name="T75" fmla="*/ 575 h 588"/>
                <a:gd name="T76" fmla="*/ 659 w 2226"/>
                <a:gd name="T77" fmla="*/ 476 h 588"/>
                <a:gd name="T78" fmla="*/ 649 w 2226"/>
                <a:gd name="T79" fmla="*/ 300 h 588"/>
                <a:gd name="T80" fmla="*/ 753 w 2226"/>
                <a:gd name="T81" fmla="*/ 177 h 588"/>
                <a:gd name="T82" fmla="*/ 901 w 2226"/>
                <a:gd name="T83" fmla="*/ 155 h 588"/>
                <a:gd name="T84" fmla="*/ 1027 w 2226"/>
                <a:gd name="T85" fmla="*/ 233 h 588"/>
                <a:gd name="T86" fmla="*/ 921 w 2226"/>
                <a:gd name="T87" fmla="*/ 325 h 588"/>
                <a:gd name="T88" fmla="*/ 895 w 2226"/>
                <a:gd name="T89" fmla="*/ 267 h 588"/>
                <a:gd name="T90" fmla="*/ 818 w 2226"/>
                <a:gd name="T91" fmla="*/ 277 h 588"/>
                <a:gd name="T92" fmla="*/ 1595 w 2226"/>
                <a:gd name="T93" fmla="*/ 588 h 588"/>
                <a:gd name="T94" fmla="*/ 1393 w 2226"/>
                <a:gd name="T95" fmla="*/ 532 h 588"/>
                <a:gd name="T96" fmla="*/ 1483 w 2226"/>
                <a:gd name="T97" fmla="*/ 465 h 588"/>
                <a:gd name="T98" fmla="*/ 1638 w 2226"/>
                <a:gd name="T99" fmla="*/ 480 h 588"/>
                <a:gd name="T100" fmla="*/ 1609 w 2226"/>
                <a:gd name="T101" fmla="*/ 434 h 588"/>
                <a:gd name="T102" fmla="*/ 1433 w 2226"/>
                <a:gd name="T103" fmla="*/ 371 h 588"/>
                <a:gd name="T104" fmla="*/ 1410 w 2226"/>
                <a:gd name="T105" fmla="*/ 261 h 588"/>
                <a:gd name="T106" fmla="*/ 1497 w 2226"/>
                <a:gd name="T107" fmla="*/ 166 h 588"/>
                <a:gd name="T108" fmla="*/ 1713 w 2226"/>
                <a:gd name="T109" fmla="*/ 174 h 588"/>
                <a:gd name="T110" fmla="*/ 1716 w 2226"/>
                <a:gd name="T111" fmla="*/ 292 h 588"/>
                <a:gd name="T112" fmla="*/ 1568 w 2226"/>
                <a:gd name="T113" fmla="*/ 256 h 588"/>
                <a:gd name="T114" fmla="*/ 1563 w 2226"/>
                <a:gd name="T115" fmla="*/ 299 h 588"/>
                <a:gd name="T116" fmla="*/ 1752 w 2226"/>
                <a:gd name="T117" fmla="*/ 356 h 588"/>
                <a:gd name="T118" fmla="*/ 1787 w 2226"/>
                <a:gd name="T119" fmla="*/ 458 h 588"/>
                <a:gd name="T120" fmla="*/ 1721 w 2226"/>
                <a:gd name="T121" fmla="*/ 55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26" h="588">
                  <a:moveTo>
                    <a:pt x="2065" y="439"/>
                  </a:moveTo>
                  <a:lnTo>
                    <a:pt x="2065" y="391"/>
                  </a:lnTo>
                  <a:lnTo>
                    <a:pt x="2064" y="389"/>
                  </a:lnTo>
                  <a:lnTo>
                    <a:pt x="2063" y="388"/>
                  </a:lnTo>
                  <a:lnTo>
                    <a:pt x="2061" y="387"/>
                  </a:lnTo>
                  <a:lnTo>
                    <a:pt x="2060" y="387"/>
                  </a:lnTo>
                  <a:lnTo>
                    <a:pt x="2047" y="388"/>
                  </a:lnTo>
                  <a:lnTo>
                    <a:pt x="2035" y="389"/>
                  </a:lnTo>
                  <a:lnTo>
                    <a:pt x="2024" y="390"/>
                  </a:lnTo>
                  <a:lnTo>
                    <a:pt x="2014" y="392"/>
                  </a:lnTo>
                  <a:lnTo>
                    <a:pt x="2004" y="395"/>
                  </a:lnTo>
                  <a:lnTo>
                    <a:pt x="1996" y="397"/>
                  </a:lnTo>
                  <a:lnTo>
                    <a:pt x="1988" y="400"/>
                  </a:lnTo>
                  <a:lnTo>
                    <a:pt x="1981" y="403"/>
                  </a:lnTo>
                  <a:lnTo>
                    <a:pt x="1976" y="407"/>
                  </a:lnTo>
                  <a:lnTo>
                    <a:pt x="1971" y="411"/>
                  </a:lnTo>
                  <a:lnTo>
                    <a:pt x="1966" y="415"/>
                  </a:lnTo>
                  <a:lnTo>
                    <a:pt x="1963" y="420"/>
                  </a:lnTo>
                  <a:lnTo>
                    <a:pt x="1960" y="425"/>
                  </a:lnTo>
                  <a:lnTo>
                    <a:pt x="1958" y="430"/>
                  </a:lnTo>
                  <a:lnTo>
                    <a:pt x="1957" y="435"/>
                  </a:lnTo>
                  <a:lnTo>
                    <a:pt x="1957" y="441"/>
                  </a:lnTo>
                  <a:lnTo>
                    <a:pt x="1957" y="445"/>
                  </a:lnTo>
                  <a:lnTo>
                    <a:pt x="1958" y="448"/>
                  </a:lnTo>
                  <a:lnTo>
                    <a:pt x="1958" y="451"/>
                  </a:lnTo>
                  <a:lnTo>
                    <a:pt x="1959" y="454"/>
                  </a:lnTo>
                  <a:lnTo>
                    <a:pt x="1961" y="457"/>
                  </a:lnTo>
                  <a:lnTo>
                    <a:pt x="1963" y="459"/>
                  </a:lnTo>
                  <a:lnTo>
                    <a:pt x="1965" y="461"/>
                  </a:lnTo>
                  <a:lnTo>
                    <a:pt x="1967" y="463"/>
                  </a:lnTo>
                  <a:lnTo>
                    <a:pt x="1972" y="467"/>
                  </a:lnTo>
                  <a:lnTo>
                    <a:pt x="1975" y="468"/>
                  </a:lnTo>
                  <a:lnTo>
                    <a:pt x="1978" y="469"/>
                  </a:lnTo>
                  <a:lnTo>
                    <a:pt x="1984" y="470"/>
                  </a:lnTo>
                  <a:lnTo>
                    <a:pt x="1991" y="471"/>
                  </a:lnTo>
                  <a:lnTo>
                    <a:pt x="2005" y="470"/>
                  </a:lnTo>
                  <a:lnTo>
                    <a:pt x="2011" y="470"/>
                  </a:lnTo>
                  <a:lnTo>
                    <a:pt x="2017" y="469"/>
                  </a:lnTo>
                  <a:lnTo>
                    <a:pt x="2023" y="468"/>
                  </a:lnTo>
                  <a:lnTo>
                    <a:pt x="2028" y="467"/>
                  </a:lnTo>
                  <a:lnTo>
                    <a:pt x="2037" y="464"/>
                  </a:lnTo>
                  <a:lnTo>
                    <a:pt x="2045" y="461"/>
                  </a:lnTo>
                  <a:lnTo>
                    <a:pt x="2051" y="458"/>
                  </a:lnTo>
                  <a:lnTo>
                    <a:pt x="2056" y="454"/>
                  </a:lnTo>
                  <a:lnTo>
                    <a:pt x="2059" y="452"/>
                  </a:lnTo>
                  <a:lnTo>
                    <a:pt x="2061" y="450"/>
                  </a:lnTo>
                  <a:lnTo>
                    <a:pt x="2063" y="447"/>
                  </a:lnTo>
                  <a:lnTo>
                    <a:pt x="2064" y="443"/>
                  </a:lnTo>
                  <a:lnTo>
                    <a:pt x="2065" y="440"/>
                  </a:lnTo>
                  <a:lnTo>
                    <a:pt x="2065" y="439"/>
                  </a:lnTo>
                  <a:close/>
                  <a:moveTo>
                    <a:pt x="2225" y="572"/>
                  </a:moveTo>
                  <a:lnTo>
                    <a:pt x="2226" y="575"/>
                  </a:lnTo>
                  <a:lnTo>
                    <a:pt x="2225" y="577"/>
                  </a:lnTo>
                  <a:lnTo>
                    <a:pt x="2225" y="578"/>
                  </a:lnTo>
                  <a:lnTo>
                    <a:pt x="2224" y="579"/>
                  </a:lnTo>
                  <a:lnTo>
                    <a:pt x="2221" y="579"/>
                  </a:lnTo>
                  <a:lnTo>
                    <a:pt x="2220" y="579"/>
                  </a:lnTo>
                  <a:lnTo>
                    <a:pt x="2081" y="579"/>
                  </a:lnTo>
                  <a:lnTo>
                    <a:pt x="2079" y="579"/>
                  </a:lnTo>
                  <a:lnTo>
                    <a:pt x="2077" y="579"/>
                  </a:lnTo>
                  <a:lnTo>
                    <a:pt x="2074" y="577"/>
                  </a:lnTo>
                  <a:lnTo>
                    <a:pt x="2073" y="574"/>
                  </a:lnTo>
                  <a:lnTo>
                    <a:pt x="2072" y="572"/>
                  </a:lnTo>
                  <a:lnTo>
                    <a:pt x="2069" y="560"/>
                  </a:lnTo>
                  <a:lnTo>
                    <a:pt x="2067" y="548"/>
                  </a:lnTo>
                  <a:lnTo>
                    <a:pt x="2065" y="537"/>
                  </a:lnTo>
                  <a:lnTo>
                    <a:pt x="2065" y="526"/>
                  </a:lnTo>
                  <a:lnTo>
                    <a:pt x="2064" y="524"/>
                  </a:lnTo>
                  <a:lnTo>
                    <a:pt x="2064" y="522"/>
                  </a:lnTo>
                  <a:lnTo>
                    <a:pt x="2063" y="522"/>
                  </a:lnTo>
                  <a:lnTo>
                    <a:pt x="2062" y="522"/>
                  </a:lnTo>
                  <a:lnTo>
                    <a:pt x="2061" y="523"/>
                  </a:lnTo>
                  <a:lnTo>
                    <a:pt x="2060" y="524"/>
                  </a:lnTo>
                  <a:lnTo>
                    <a:pt x="2054" y="531"/>
                  </a:lnTo>
                  <a:lnTo>
                    <a:pt x="2048" y="537"/>
                  </a:lnTo>
                  <a:lnTo>
                    <a:pt x="2042" y="544"/>
                  </a:lnTo>
                  <a:lnTo>
                    <a:pt x="2035" y="549"/>
                  </a:lnTo>
                  <a:lnTo>
                    <a:pt x="2028" y="555"/>
                  </a:lnTo>
                  <a:lnTo>
                    <a:pt x="2021" y="560"/>
                  </a:lnTo>
                  <a:lnTo>
                    <a:pt x="2013" y="564"/>
                  </a:lnTo>
                  <a:lnTo>
                    <a:pt x="2005" y="569"/>
                  </a:lnTo>
                  <a:lnTo>
                    <a:pt x="1996" y="573"/>
                  </a:lnTo>
                  <a:lnTo>
                    <a:pt x="1987" y="576"/>
                  </a:lnTo>
                  <a:lnTo>
                    <a:pt x="1978" y="579"/>
                  </a:lnTo>
                  <a:lnTo>
                    <a:pt x="1968" y="581"/>
                  </a:lnTo>
                  <a:lnTo>
                    <a:pt x="1958" y="583"/>
                  </a:lnTo>
                  <a:lnTo>
                    <a:pt x="1948" y="584"/>
                  </a:lnTo>
                  <a:lnTo>
                    <a:pt x="1937" y="585"/>
                  </a:lnTo>
                  <a:lnTo>
                    <a:pt x="1925" y="586"/>
                  </a:lnTo>
                  <a:lnTo>
                    <a:pt x="1914" y="585"/>
                  </a:lnTo>
                  <a:lnTo>
                    <a:pt x="1903" y="584"/>
                  </a:lnTo>
                  <a:lnTo>
                    <a:pt x="1892" y="582"/>
                  </a:lnTo>
                  <a:lnTo>
                    <a:pt x="1881" y="579"/>
                  </a:lnTo>
                  <a:lnTo>
                    <a:pt x="1871" y="574"/>
                  </a:lnTo>
                  <a:lnTo>
                    <a:pt x="1861" y="570"/>
                  </a:lnTo>
                  <a:lnTo>
                    <a:pt x="1856" y="567"/>
                  </a:lnTo>
                  <a:lnTo>
                    <a:pt x="1851" y="564"/>
                  </a:lnTo>
                  <a:lnTo>
                    <a:pt x="1843" y="557"/>
                  </a:lnTo>
                  <a:lnTo>
                    <a:pt x="1835" y="549"/>
                  </a:lnTo>
                  <a:lnTo>
                    <a:pt x="1827" y="540"/>
                  </a:lnTo>
                  <a:lnTo>
                    <a:pt x="1824" y="536"/>
                  </a:lnTo>
                  <a:lnTo>
                    <a:pt x="1821" y="531"/>
                  </a:lnTo>
                  <a:lnTo>
                    <a:pt x="1816" y="520"/>
                  </a:lnTo>
                  <a:lnTo>
                    <a:pt x="1813" y="514"/>
                  </a:lnTo>
                  <a:lnTo>
                    <a:pt x="1811" y="508"/>
                  </a:lnTo>
                  <a:lnTo>
                    <a:pt x="1808" y="495"/>
                  </a:lnTo>
                  <a:lnTo>
                    <a:pt x="1806" y="481"/>
                  </a:lnTo>
                  <a:lnTo>
                    <a:pt x="1806" y="474"/>
                  </a:lnTo>
                  <a:lnTo>
                    <a:pt x="1805" y="466"/>
                  </a:lnTo>
                  <a:lnTo>
                    <a:pt x="1806" y="458"/>
                  </a:lnTo>
                  <a:lnTo>
                    <a:pt x="1806" y="449"/>
                  </a:lnTo>
                  <a:lnTo>
                    <a:pt x="1808" y="441"/>
                  </a:lnTo>
                  <a:lnTo>
                    <a:pt x="1809" y="433"/>
                  </a:lnTo>
                  <a:lnTo>
                    <a:pt x="1812" y="425"/>
                  </a:lnTo>
                  <a:lnTo>
                    <a:pt x="1814" y="418"/>
                  </a:lnTo>
                  <a:lnTo>
                    <a:pt x="1818" y="410"/>
                  </a:lnTo>
                  <a:lnTo>
                    <a:pt x="1822" y="403"/>
                  </a:lnTo>
                  <a:lnTo>
                    <a:pt x="1826" y="396"/>
                  </a:lnTo>
                  <a:lnTo>
                    <a:pt x="1831" y="390"/>
                  </a:lnTo>
                  <a:lnTo>
                    <a:pt x="1836" y="383"/>
                  </a:lnTo>
                  <a:lnTo>
                    <a:pt x="1842" y="377"/>
                  </a:lnTo>
                  <a:lnTo>
                    <a:pt x="1848" y="371"/>
                  </a:lnTo>
                  <a:lnTo>
                    <a:pt x="1855" y="365"/>
                  </a:lnTo>
                  <a:lnTo>
                    <a:pt x="1862" y="360"/>
                  </a:lnTo>
                  <a:lnTo>
                    <a:pt x="1869" y="355"/>
                  </a:lnTo>
                  <a:lnTo>
                    <a:pt x="1886" y="345"/>
                  </a:lnTo>
                  <a:lnTo>
                    <a:pt x="1895" y="341"/>
                  </a:lnTo>
                  <a:lnTo>
                    <a:pt x="1905" y="337"/>
                  </a:lnTo>
                  <a:lnTo>
                    <a:pt x="1915" y="333"/>
                  </a:lnTo>
                  <a:lnTo>
                    <a:pt x="1926" y="329"/>
                  </a:lnTo>
                  <a:lnTo>
                    <a:pt x="1948" y="323"/>
                  </a:lnTo>
                  <a:lnTo>
                    <a:pt x="1960" y="320"/>
                  </a:lnTo>
                  <a:lnTo>
                    <a:pt x="1973" y="317"/>
                  </a:lnTo>
                  <a:lnTo>
                    <a:pt x="1999" y="313"/>
                  </a:lnTo>
                  <a:lnTo>
                    <a:pt x="2013" y="311"/>
                  </a:lnTo>
                  <a:lnTo>
                    <a:pt x="2027" y="310"/>
                  </a:lnTo>
                  <a:lnTo>
                    <a:pt x="2057" y="308"/>
                  </a:lnTo>
                  <a:lnTo>
                    <a:pt x="2061" y="307"/>
                  </a:lnTo>
                  <a:lnTo>
                    <a:pt x="2064" y="306"/>
                  </a:lnTo>
                  <a:lnTo>
                    <a:pt x="2065" y="305"/>
                  </a:lnTo>
                  <a:lnTo>
                    <a:pt x="2065" y="302"/>
                  </a:lnTo>
                  <a:lnTo>
                    <a:pt x="2064" y="295"/>
                  </a:lnTo>
                  <a:lnTo>
                    <a:pt x="2063" y="291"/>
                  </a:lnTo>
                  <a:lnTo>
                    <a:pt x="2063" y="288"/>
                  </a:lnTo>
                  <a:lnTo>
                    <a:pt x="2061" y="285"/>
                  </a:lnTo>
                  <a:lnTo>
                    <a:pt x="2060" y="282"/>
                  </a:lnTo>
                  <a:lnTo>
                    <a:pt x="2055" y="277"/>
                  </a:lnTo>
                  <a:lnTo>
                    <a:pt x="2052" y="275"/>
                  </a:lnTo>
                  <a:lnTo>
                    <a:pt x="2049" y="273"/>
                  </a:lnTo>
                  <a:lnTo>
                    <a:pt x="2045" y="271"/>
                  </a:lnTo>
                  <a:lnTo>
                    <a:pt x="2041" y="269"/>
                  </a:lnTo>
                  <a:lnTo>
                    <a:pt x="2031" y="267"/>
                  </a:lnTo>
                  <a:lnTo>
                    <a:pt x="2025" y="267"/>
                  </a:lnTo>
                  <a:lnTo>
                    <a:pt x="2018" y="267"/>
                  </a:lnTo>
                  <a:lnTo>
                    <a:pt x="2009" y="267"/>
                  </a:lnTo>
                  <a:lnTo>
                    <a:pt x="2000" y="268"/>
                  </a:lnTo>
                  <a:lnTo>
                    <a:pt x="1992" y="269"/>
                  </a:lnTo>
                  <a:lnTo>
                    <a:pt x="1983" y="270"/>
                  </a:lnTo>
                  <a:lnTo>
                    <a:pt x="1974" y="272"/>
                  </a:lnTo>
                  <a:lnTo>
                    <a:pt x="1966" y="274"/>
                  </a:lnTo>
                  <a:lnTo>
                    <a:pt x="1958" y="277"/>
                  </a:lnTo>
                  <a:lnTo>
                    <a:pt x="1950" y="280"/>
                  </a:lnTo>
                  <a:lnTo>
                    <a:pt x="1934" y="286"/>
                  </a:lnTo>
                  <a:lnTo>
                    <a:pt x="1920" y="293"/>
                  </a:lnTo>
                  <a:lnTo>
                    <a:pt x="1907" y="300"/>
                  </a:lnTo>
                  <a:lnTo>
                    <a:pt x="1895" y="308"/>
                  </a:lnTo>
                  <a:lnTo>
                    <a:pt x="1893" y="309"/>
                  </a:lnTo>
                  <a:lnTo>
                    <a:pt x="1891" y="309"/>
                  </a:lnTo>
                  <a:lnTo>
                    <a:pt x="1889" y="309"/>
                  </a:lnTo>
                  <a:lnTo>
                    <a:pt x="1888" y="309"/>
                  </a:lnTo>
                  <a:lnTo>
                    <a:pt x="1886" y="307"/>
                  </a:lnTo>
                  <a:lnTo>
                    <a:pt x="1885" y="306"/>
                  </a:lnTo>
                  <a:lnTo>
                    <a:pt x="1830" y="230"/>
                  </a:lnTo>
                  <a:lnTo>
                    <a:pt x="1828" y="227"/>
                  </a:lnTo>
                  <a:lnTo>
                    <a:pt x="1828" y="225"/>
                  </a:lnTo>
                  <a:lnTo>
                    <a:pt x="1829" y="224"/>
                  </a:lnTo>
                  <a:lnTo>
                    <a:pt x="1830" y="221"/>
                  </a:lnTo>
                  <a:lnTo>
                    <a:pt x="1831" y="220"/>
                  </a:lnTo>
                  <a:lnTo>
                    <a:pt x="1847" y="207"/>
                  </a:lnTo>
                  <a:lnTo>
                    <a:pt x="1866" y="195"/>
                  </a:lnTo>
                  <a:lnTo>
                    <a:pt x="1876" y="189"/>
                  </a:lnTo>
                  <a:lnTo>
                    <a:pt x="1887" y="184"/>
                  </a:lnTo>
                  <a:lnTo>
                    <a:pt x="1899" y="178"/>
                  </a:lnTo>
                  <a:lnTo>
                    <a:pt x="1912" y="173"/>
                  </a:lnTo>
                  <a:lnTo>
                    <a:pt x="1925" y="169"/>
                  </a:lnTo>
                  <a:lnTo>
                    <a:pt x="1939" y="165"/>
                  </a:lnTo>
                  <a:lnTo>
                    <a:pt x="1954" y="161"/>
                  </a:lnTo>
                  <a:lnTo>
                    <a:pt x="1970" y="158"/>
                  </a:lnTo>
                  <a:lnTo>
                    <a:pt x="1987" y="155"/>
                  </a:lnTo>
                  <a:lnTo>
                    <a:pt x="2005" y="153"/>
                  </a:lnTo>
                  <a:lnTo>
                    <a:pt x="2023" y="152"/>
                  </a:lnTo>
                  <a:lnTo>
                    <a:pt x="2043" y="152"/>
                  </a:lnTo>
                  <a:lnTo>
                    <a:pt x="2054" y="152"/>
                  </a:lnTo>
                  <a:lnTo>
                    <a:pt x="2065" y="152"/>
                  </a:lnTo>
                  <a:lnTo>
                    <a:pt x="2086" y="154"/>
                  </a:lnTo>
                  <a:lnTo>
                    <a:pt x="2096" y="156"/>
                  </a:lnTo>
                  <a:lnTo>
                    <a:pt x="2105" y="158"/>
                  </a:lnTo>
                  <a:lnTo>
                    <a:pt x="2114" y="160"/>
                  </a:lnTo>
                  <a:lnTo>
                    <a:pt x="2122" y="163"/>
                  </a:lnTo>
                  <a:lnTo>
                    <a:pt x="2130" y="166"/>
                  </a:lnTo>
                  <a:lnTo>
                    <a:pt x="2138" y="169"/>
                  </a:lnTo>
                  <a:lnTo>
                    <a:pt x="2145" y="172"/>
                  </a:lnTo>
                  <a:lnTo>
                    <a:pt x="2152" y="176"/>
                  </a:lnTo>
                  <a:lnTo>
                    <a:pt x="2159" y="181"/>
                  </a:lnTo>
                  <a:lnTo>
                    <a:pt x="2165" y="185"/>
                  </a:lnTo>
                  <a:lnTo>
                    <a:pt x="2170" y="190"/>
                  </a:lnTo>
                  <a:lnTo>
                    <a:pt x="2176" y="196"/>
                  </a:lnTo>
                  <a:lnTo>
                    <a:pt x="2181" y="201"/>
                  </a:lnTo>
                  <a:lnTo>
                    <a:pt x="2186" y="207"/>
                  </a:lnTo>
                  <a:lnTo>
                    <a:pt x="2190" y="214"/>
                  </a:lnTo>
                  <a:lnTo>
                    <a:pt x="2194" y="220"/>
                  </a:lnTo>
                  <a:lnTo>
                    <a:pt x="2197" y="227"/>
                  </a:lnTo>
                  <a:lnTo>
                    <a:pt x="2201" y="235"/>
                  </a:lnTo>
                  <a:lnTo>
                    <a:pt x="2204" y="242"/>
                  </a:lnTo>
                  <a:lnTo>
                    <a:pt x="2206" y="251"/>
                  </a:lnTo>
                  <a:lnTo>
                    <a:pt x="2209" y="259"/>
                  </a:lnTo>
                  <a:lnTo>
                    <a:pt x="2211" y="268"/>
                  </a:lnTo>
                  <a:lnTo>
                    <a:pt x="2212" y="277"/>
                  </a:lnTo>
                  <a:lnTo>
                    <a:pt x="2214" y="287"/>
                  </a:lnTo>
                  <a:lnTo>
                    <a:pt x="2215" y="296"/>
                  </a:lnTo>
                  <a:lnTo>
                    <a:pt x="2215" y="307"/>
                  </a:lnTo>
                  <a:lnTo>
                    <a:pt x="2216" y="317"/>
                  </a:lnTo>
                  <a:lnTo>
                    <a:pt x="2216" y="328"/>
                  </a:lnTo>
                  <a:lnTo>
                    <a:pt x="2216" y="478"/>
                  </a:lnTo>
                  <a:lnTo>
                    <a:pt x="2217" y="512"/>
                  </a:lnTo>
                  <a:lnTo>
                    <a:pt x="2218" y="539"/>
                  </a:lnTo>
                  <a:lnTo>
                    <a:pt x="2220" y="549"/>
                  </a:lnTo>
                  <a:lnTo>
                    <a:pt x="2221" y="559"/>
                  </a:lnTo>
                  <a:lnTo>
                    <a:pt x="2223" y="566"/>
                  </a:lnTo>
                  <a:lnTo>
                    <a:pt x="2225" y="572"/>
                  </a:lnTo>
                  <a:close/>
                  <a:moveTo>
                    <a:pt x="1869" y="7"/>
                  </a:moveTo>
                  <a:lnTo>
                    <a:pt x="1869" y="5"/>
                  </a:lnTo>
                  <a:lnTo>
                    <a:pt x="1870" y="3"/>
                  </a:lnTo>
                  <a:lnTo>
                    <a:pt x="1873" y="0"/>
                  </a:lnTo>
                  <a:lnTo>
                    <a:pt x="1875" y="0"/>
                  </a:lnTo>
                  <a:lnTo>
                    <a:pt x="1877" y="0"/>
                  </a:lnTo>
                  <a:lnTo>
                    <a:pt x="1987" y="0"/>
                  </a:lnTo>
                  <a:lnTo>
                    <a:pt x="1989" y="0"/>
                  </a:lnTo>
                  <a:lnTo>
                    <a:pt x="1991" y="1"/>
                  </a:lnTo>
                  <a:lnTo>
                    <a:pt x="1994" y="3"/>
                  </a:lnTo>
                  <a:lnTo>
                    <a:pt x="1994" y="6"/>
                  </a:lnTo>
                  <a:lnTo>
                    <a:pt x="1995" y="7"/>
                  </a:lnTo>
                  <a:lnTo>
                    <a:pt x="1995" y="121"/>
                  </a:lnTo>
                  <a:lnTo>
                    <a:pt x="1994" y="123"/>
                  </a:lnTo>
                  <a:lnTo>
                    <a:pt x="1993" y="125"/>
                  </a:lnTo>
                  <a:lnTo>
                    <a:pt x="1991" y="128"/>
                  </a:lnTo>
                  <a:lnTo>
                    <a:pt x="1988" y="128"/>
                  </a:lnTo>
                  <a:lnTo>
                    <a:pt x="1987" y="129"/>
                  </a:lnTo>
                  <a:lnTo>
                    <a:pt x="1877" y="129"/>
                  </a:lnTo>
                  <a:lnTo>
                    <a:pt x="1874" y="128"/>
                  </a:lnTo>
                  <a:lnTo>
                    <a:pt x="1872" y="127"/>
                  </a:lnTo>
                  <a:lnTo>
                    <a:pt x="1870" y="125"/>
                  </a:lnTo>
                  <a:lnTo>
                    <a:pt x="1869" y="122"/>
                  </a:lnTo>
                  <a:lnTo>
                    <a:pt x="1869" y="121"/>
                  </a:lnTo>
                  <a:lnTo>
                    <a:pt x="1869" y="7"/>
                  </a:lnTo>
                  <a:close/>
                  <a:moveTo>
                    <a:pt x="2047" y="121"/>
                  </a:moveTo>
                  <a:lnTo>
                    <a:pt x="2047" y="7"/>
                  </a:lnTo>
                  <a:lnTo>
                    <a:pt x="2047" y="5"/>
                  </a:lnTo>
                  <a:lnTo>
                    <a:pt x="2048" y="3"/>
                  </a:lnTo>
                  <a:lnTo>
                    <a:pt x="2051" y="0"/>
                  </a:lnTo>
                  <a:lnTo>
                    <a:pt x="2053" y="0"/>
                  </a:lnTo>
                  <a:lnTo>
                    <a:pt x="2054" y="0"/>
                  </a:lnTo>
                  <a:lnTo>
                    <a:pt x="2165" y="0"/>
                  </a:lnTo>
                  <a:lnTo>
                    <a:pt x="2167" y="0"/>
                  </a:lnTo>
                  <a:lnTo>
                    <a:pt x="2169" y="1"/>
                  </a:lnTo>
                  <a:lnTo>
                    <a:pt x="2171" y="3"/>
                  </a:lnTo>
                  <a:lnTo>
                    <a:pt x="2172" y="6"/>
                  </a:lnTo>
                  <a:lnTo>
                    <a:pt x="2172" y="7"/>
                  </a:lnTo>
                  <a:lnTo>
                    <a:pt x="2172" y="121"/>
                  </a:lnTo>
                  <a:lnTo>
                    <a:pt x="2172" y="123"/>
                  </a:lnTo>
                  <a:lnTo>
                    <a:pt x="2171" y="125"/>
                  </a:lnTo>
                  <a:lnTo>
                    <a:pt x="2169" y="127"/>
                  </a:lnTo>
                  <a:lnTo>
                    <a:pt x="2166" y="128"/>
                  </a:lnTo>
                  <a:lnTo>
                    <a:pt x="2165" y="128"/>
                  </a:lnTo>
                  <a:lnTo>
                    <a:pt x="2054" y="128"/>
                  </a:lnTo>
                  <a:lnTo>
                    <a:pt x="2052" y="128"/>
                  </a:lnTo>
                  <a:lnTo>
                    <a:pt x="2050" y="127"/>
                  </a:lnTo>
                  <a:lnTo>
                    <a:pt x="2048" y="125"/>
                  </a:lnTo>
                  <a:lnTo>
                    <a:pt x="2047" y="122"/>
                  </a:lnTo>
                  <a:lnTo>
                    <a:pt x="2047" y="121"/>
                  </a:lnTo>
                  <a:close/>
                  <a:moveTo>
                    <a:pt x="1274" y="585"/>
                  </a:moveTo>
                  <a:lnTo>
                    <a:pt x="1249" y="584"/>
                  </a:lnTo>
                  <a:lnTo>
                    <a:pt x="1226" y="583"/>
                  </a:lnTo>
                  <a:lnTo>
                    <a:pt x="1207" y="580"/>
                  </a:lnTo>
                  <a:lnTo>
                    <a:pt x="1190" y="576"/>
                  </a:lnTo>
                  <a:lnTo>
                    <a:pt x="1175" y="571"/>
                  </a:lnTo>
                  <a:lnTo>
                    <a:pt x="1168" y="568"/>
                  </a:lnTo>
                  <a:lnTo>
                    <a:pt x="1162" y="565"/>
                  </a:lnTo>
                  <a:lnTo>
                    <a:pt x="1156" y="561"/>
                  </a:lnTo>
                  <a:lnTo>
                    <a:pt x="1151" y="558"/>
                  </a:lnTo>
                  <a:lnTo>
                    <a:pt x="1149" y="556"/>
                  </a:lnTo>
                  <a:lnTo>
                    <a:pt x="1147" y="554"/>
                  </a:lnTo>
                  <a:lnTo>
                    <a:pt x="1143" y="550"/>
                  </a:lnTo>
                  <a:lnTo>
                    <a:pt x="1139" y="545"/>
                  </a:lnTo>
                  <a:lnTo>
                    <a:pt x="1135" y="541"/>
                  </a:lnTo>
                  <a:lnTo>
                    <a:pt x="1130" y="531"/>
                  </a:lnTo>
                  <a:lnTo>
                    <a:pt x="1127" y="525"/>
                  </a:lnTo>
                  <a:lnTo>
                    <a:pt x="1125" y="520"/>
                  </a:lnTo>
                  <a:lnTo>
                    <a:pt x="1122" y="508"/>
                  </a:lnTo>
                  <a:lnTo>
                    <a:pt x="1121" y="502"/>
                  </a:lnTo>
                  <a:lnTo>
                    <a:pt x="1120" y="496"/>
                  </a:lnTo>
                  <a:lnTo>
                    <a:pt x="1119" y="482"/>
                  </a:lnTo>
                  <a:lnTo>
                    <a:pt x="1118" y="468"/>
                  </a:lnTo>
                  <a:lnTo>
                    <a:pt x="1118" y="453"/>
                  </a:lnTo>
                  <a:lnTo>
                    <a:pt x="1118" y="278"/>
                  </a:lnTo>
                  <a:lnTo>
                    <a:pt x="1117" y="276"/>
                  </a:lnTo>
                  <a:lnTo>
                    <a:pt x="1117" y="274"/>
                  </a:lnTo>
                  <a:lnTo>
                    <a:pt x="1114" y="272"/>
                  </a:lnTo>
                  <a:lnTo>
                    <a:pt x="1111" y="271"/>
                  </a:lnTo>
                  <a:lnTo>
                    <a:pt x="1110" y="271"/>
                  </a:lnTo>
                  <a:lnTo>
                    <a:pt x="1067" y="271"/>
                  </a:lnTo>
                  <a:lnTo>
                    <a:pt x="1064" y="270"/>
                  </a:lnTo>
                  <a:lnTo>
                    <a:pt x="1062" y="269"/>
                  </a:lnTo>
                  <a:lnTo>
                    <a:pt x="1060" y="267"/>
                  </a:lnTo>
                  <a:lnTo>
                    <a:pt x="1059" y="264"/>
                  </a:lnTo>
                  <a:lnTo>
                    <a:pt x="1059" y="263"/>
                  </a:lnTo>
                  <a:lnTo>
                    <a:pt x="1059" y="167"/>
                  </a:lnTo>
                  <a:lnTo>
                    <a:pt x="1059" y="164"/>
                  </a:lnTo>
                  <a:lnTo>
                    <a:pt x="1060" y="162"/>
                  </a:lnTo>
                  <a:lnTo>
                    <a:pt x="1063" y="160"/>
                  </a:lnTo>
                  <a:lnTo>
                    <a:pt x="1065" y="159"/>
                  </a:lnTo>
                  <a:lnTo>
                    <a:pt x="1067" y="159"/>
                  </a:lnTo>
                  <a:lnTo>
                    <a:pt x="1110" y="159"/>
                  </a:lnTo>
                  <a:lnTo>
                    <a:pt x="1113" y="159"/>
                  </a:lnTo>
                  <a:lnTo>
                    <a:pt x="1115" y="158"/>
                  </a:lnTo>
                  <a:lnTo>
                    <a:pt x="1117" y="157"/>
                  </a:lnTo>
                  <a:lnTo>
                    <a:pt x="1118" y="156"/>
                  </a:lnTo>
                  <a:lnTo>
                    <a:pt x="1120" y="153"/>
                  </a:lnTo>
                  <a:lnTo>
                    <a:pt x="1121" y="152"/>
                  </a:lnTo>
                  <a:lnTo>
                    <a:pt x="1170" y="25"/>
                  </a:lnTo>
                  <a:lnTo>
                    <a:pt x="1171" y="23"/>
                  </a:lnTo>
                  <a:lnTo>
                    <a:pt x="1173" y="21"/>
                  </a:lnTo>
                  <a:lnTo>
                    <a:pt x="1175" y="20"/>
                  </a:lnTo>
                  <a:lnTo>
                    <a:pt x="1176" y="19"/>
                  </a:lnTo>
                  <a:lnTo>
                    <a:pt x="1179" y="18"/>
                  </a:lnTo>
                  <a:lnTo>
                    <a:pt x="1180" y="18"/>
                  </a:lnTo>
                  <a:lnTo>
                    <a:pt x="1265" y="18"/>
                  </a:lnTo>
                  <a:lnTo>
                    <a:pt x="1268" y="19"/>
                  </a:lnTo>
                  <a:lnTo>
                    <a:pt x="1270" y="19"/>
                  </a:lnTo>
                  <a:lnTo>
                    <a:pt x="1272" y="22"/>
                  </a:lnTo>
                  <a:lnTo>
                    <a:pt x="1273" y="25"/>
                  </a:lnTo>
                  <a:lnTo>
                    <a:pt x="1273" y="26"/>
                  </a:lnTo>
                  <a:lnTo>
                    <a:pt x="1273" y="152"/>
                  </a:lnTo>
                  <a:lnTo>
                    <a:pt x="1273" y="154"/>
                  </a:lnTo>
                  <a:lnTo>
                    <a:pt x="1274" y="156"/>
                  </a:lnTo>
                  <a:lnTo>
                    <a:pt x="1277" y="158"/>
                  </a:lnTo>
                  <a:lnTo>
                    <a:pt x="1279" y="159"/>
                  </a:lnTo>
                  <a:lnTo>
                    <a:pt x="1281" y="159"/>
                  </a:lnTo>
                  <a:lnTo>
                    <a:pt x="1374" y="159"/>
                  </a:lnTo>
                  <a:lnTo>
                    <a:pt x="1376" y="160"/>
                  </a:lnTo>
                  <a:lnTo>
                    <a:pt x="1378" y="161"/>
                  </a:lnTo>
                  <a:lnTo>
                    <a:pt x="1381" y="163"/>
                  </a:lnTo>
                  <a:lnTo>
                    <a:pt x="1381" y="166"/>
                  </a:lnTo>
                  <a:lnTo>
                    <a:pt x="1381" y="167"/>
                  </a:lnTo>
                  <a:lnTo>
                    <a:pt x="1381" y="263"/>
                  </a:lnTo>
                  <a:lnTo>
                    <a:pt x="1381" y="266"/>
                  </a:lnTo>
                  <a:lnTo>
                    <a:pt x="1380" y="268"/>
                  </a:lnTo>
                  <a:lnTo>
                    <a:pt x="1378" y="270"/>
                  </a:lnTo>
                  <a:lnTo>
                    <a:pt x="1375" y="271"/>
                  </a:lnTo>
                  <a:lnTo>
                    <a:pt x="1374" y="271"/>
                  </a:lnTo>
                  <a:lnTo>
                    <a:pt x="1281" y="271"/>
                  </a:lnTo>
                  <a:lnTo>
                    <a:pt x="1278" y="271"/>
                  </a:lnTo>
                  <a:lnTo>
                    <a:pt x="1276" y="272"/>
                  </a:lnTo>
                  <a:lnTo>
                    <a:pt x="1274" y="275"/>
                  </a:lnTo>
                  <a:lnTo>
                    <a:pt x="1273" y="277"/>
                  </a:lnTo>
                  <a:lnTo>
                    <a:pt x="1273" y="278"/>
                  </a:lnTo>
                  <a:lnTo>
                    <a:pt x="1273" y="419"/>
                  </a:lnTo>
                  <a:lnTo>
                    <a:pt x="1274" y="434"/>
                  </a:lnTo>
                  <a:lnTo>
                    <a:pt x="1275" y="446"/>
                  </a:lnTo>
                  <a:lnTo>
                    <a:pt x="1277" y="452"/>
                  </a:lnTo>
                  <a:lnTo>
                    <a:pt x="1279" y="456"/>
                  </a:lnTo>
                  <a:lnTo>
                    <a:pt x="1281" y="460"/>
                  </a:lnTo>
                  <a:lnTo>
                    <a:pt x="1284" y="463"/>
                  </a:lnTo>
                  <a:lnTo>
                    <a:pt x="1287" y="466"/>
                  </a:lnTo>
                  <a:lnTo>
                    <a:pt x="1291" y="469"/>
                  </a:lnTo>
                  <a:lnTo>
                    <a:pt x="1296" y="471"/>
                  </a:lnTo>
                  <a:lnTo>
                    <a:pt x="1301" y="472"/>
                  </a:lnTo>
                  <a:lnTo>
                    <a:pt x="1307" y="473"/>
                  </a:lnTo>
                  <a:lnTo>
                    <a:pt x="1313" y="474"/>
                  </a:lnTo>
                  <a:lnTo>
                    <a:pt x="1320" y="474"/>
                  </a:lnTo>
                  <a:lnTo>
                    <a:pt x="1328" y="475"/>
                  </a:lnTo>
                  <a:lnTo>
                    <a:pt x="1340" y="474"/>
                  </a:lnTo>
                  <a:lnTo>
                    <a:pt x="1351" y="473"/>
                  </a:lnTo>
                  <a:lnTo>
                    <a:pt x="1361" y="472"/>
                  </a:lnTo>
                  <a:lnTo>
                    <a:pt x="1366" y="471"/>
                  </a:lnTo>
                  <a:lnTo>
                    <a:pt x="1367" y="471"/>
                  </a:lnTo>
                  <a:lnTo>
                    <a:pt x="1368" y="471"/>
                  </a:lnTo>
                  <a:lnTo>
                    <a:pt x="1369" y="474"/>
                  </a:lnTo>
                  <a:lnTo>
                    <a:pt x="1370" y="477"/>
                  </a:lnTo>
                  <a:lnTo>
                    <a:pt x="1370" y="564"/>
                  </a:lnTo>
                  <a:lnTo>
                    <a:pt x="1369" y="569"/>
                  </a:lnTo>
                  <a:lnTo>
                    <a:pt x="1369" y="572"/>
                  </a:lnTo>
                  <a:lnTo>
                    <a:pt x="1368" y="575"/>
                  </a:lnTo>
                  <a:lnTo>
                    <a:pt x="1366" y="577"/>
                  </a:lnTo>
                  <a:lnTo>
                    <a:pt x="1364" y="578"/>
                  </a:lnTo>
                  <a:lnTo>
                    <a:pt x="1362" y="579"/>
                  </a:lnTo>
                  <a:lnTo>
                    <a:pt x="1358" y="580"/>
                  </a:lnTo>
                  <a:lnTo>
                    <a:pt x="1340" y="582"/>
                  </a:lnTo>
                  <a:lnTo>
                    <a:pt x="1317" y="583"/>
                  </a:lnTo>
                  <a:lnTo>
                    <a:pt x="1294" y="584"/>
                  </a:lnTo>
                  <a:lnTo>
                    <a:pt x="1274" y="585"/>
                  </a:lnTo>
                  <a:close/>
                  <a:moveTo>
                    <a:pt x="0" y="572"/>
                  </a:moveTo>
                  <a:lnTo>
                    <a:pt x="0" y="7"/>
                  </a:lnTo>
                  <a:lnTo>
                    <a:pt x="0" y="5"/>
                  </a:lnTo>
                  <a:lnTo>
                    <a:pt x="1" y="3"/>
                  </a:lnTo>
                  <a:lnTo>
                    <a:pt x="4" y="1"/>
                  </a:lnTo>
                  <a:lnTo>
                    <a:pt x="6" y="0"/>
                  </a:lnTo>
                  <a:lnTo>
                    <a:pt x="7" y="0"/>
                  </a:lnTo>
                  <a:lnTo>
                    <a:pt x="200" y="0"/>
                  </a:lnTo>
                  <a:lnTo>
                    <a:pt x="202" y="0"/>
                  </a:lnTo>
                  <a:lnTo>
                    <a:pt x="204" y="1"/>
                  </a:lnTo>
                  <a:lnTo>
                    <a:pt x="206" y="2"/>
                  </a:lnTo>
                  <a:lnTo>
                    <a:pt x="207" y="3"/>
                  </a:lnTo>
                  <a:lnTo>
                    <a:pt x="209" y="6"/>
                  </a:lnTo>
                  <a:lnTo>
                    <a:pt x="209" y="7"/>
                  </a:lnTo>
                  <a:lnTo>
                    <a:pt x="307" y="386"/>
                  </a:lnTo>
                  <a:lnTo>
                    <a:pt x="307" y="387"/>
                  </a:lnTo>
                  <a:lnTo>
                    <a:pt x="308" y="388"/>
                  </a:lnTo>
                  <a:lnTo>
                    <a:pt x="310" y="389"/>
                  </a:lnTo>
                  <a:lnTo>
                    <a:pt x="312" y="389"/>
                  </a:lnTo>
                  <a:lnTo>
                    <a:pt x="313" y="387"/>
                  </a:lnTo>
                  <a:lnTo>
                    <a:pt x="313" y="386"/>
                  </a:lnTo>
                  <a:lnTo>
                    <a:pt x="401" y="7"/>
                  </a:lnTo>
                  <a:lnTo>
                    <a:pt x="402" y="5"/>
                  </a:lnTo>
                  <a:lnTo>
                    <a:pt x="403" y="3"/>
                  </a:lnTo>
                  <a:lnTo>
                    <a:pt x="406" y="1"/>
                  </a:lnTo>
                  <a:lnTo>
                    <a:pt x="409" y="0"/>
                  </a:lnTo>
                  <a:lnTo>
                    <a:pt x="410" y="0"/>
                  </a:lnTo>
                  <a:lnTo>
                    <a:pt x="607" y="0"/>
                  </a:lnTo>
                  <a:lnTo>
                    <a:pt x="610" y="0"/>
                  </a:lnTo>
                  <a:lnTo>
                    <a:pt x="611" y="1"/>
                  </a:lnTo>
                  <a:lnTo>
                    <a:pt x="614" y="4"/>
                  </a:lnTo>
                  <a:lnTo>
                    <a:pt x="615" y="6"/>
                  </a:lnTo>
                  <a:lnTo>
                    <a:pt x="615" y="7"/>
                  </a:lnTo>
                  <a:lnTo>
                    <a:pt x="615" y="572"/>
                  </a:lnTo>
                  <a:lnTo>
                    <a:pt x="614" y="575"/>
                  </a:lnTo>
                  <a:lnTo>
                    <a:pt x="613" y="576"/>
                  </a:lnTo>
                  <a:lnTo>
                    <a:pt x="611" y="579"/>
                  </a:lnTo>
                  <a:lnTo>
                    <a:pt x="608" y="579"/>
                  </a:lnTo>
                  <a:lnTo>
                    <a:pt x="607" y="580"/>
                  </a:lnTo>
                  <a:lnTo>
                    <a:pt x="473" y="580"/>
                  </a:lnTo>
                  <a:lnTo>
                    <a:pt x="470" y="579"/>
                  </a:lnTo>
                  <a:lnTo>
                    <a:pt x="468" y="578"/>
                  </a:lnTo>
                  <a:lnTo>
                    <a:pt x="466" y="576"/>
                  </a:lnTo>
                  <a:lnTo>
                    <a:pt x="465" y="573"/>
                  </a:lnTo>
                  <a:lnTo>
                    <a:pt x="465" y="572"/>
                  </a:lnTo>
                  <a:lnTo>
                    <a:pt x="465" y="226"/>
                  </a:lnTo>
                  <a:lnTo>
                    <a:pt x="465" y="224"/>
                  </a:lnTo>
                  <a:lnTo>
                    <a:pt x="464" y="223"/>
                  </a:lnTo>
                  <a:lnTo>
                    <a:pt x="463" y="222"/>
                  </a:lnTo>
                  <a:lnTo>
                    <a:pt x="462" y="222"/>
                  </a:lnTo>
                  <a:lnTo>
                    <a:pt x="461" y="222"/>
                  </a:lnTo>
                  <a:lnTo>
                    <a:pt x="460" y="223"/>
                  </a:lnTo>
                  <a:lnTo>
                    <a:pt x="458" y="226"/>
                  </a:lnTo>
                  <a:lnTo>
                    <a:pt x="452" y="264"/>
                  </a:lnTo>
                  <a:lnTo>
                    <a:pt x="446" y="298"/>
                  </a:lnTo>
                  <a:lnTo>
                    <a:pt x="443" y="314"/>
                  </a:lnTo>
                  <a:lnTo>
                    <a:pt x="440" y="330"/>
                  </a:lnTo>
                  <a:lnTo>
                    <a:pt x="436" y="346"/>
                  </a:lnTo>
                  <a:lnTo>
                    <a:pt x="432" y="362"/>
                  </a:lnTo>
                  <a:lnTo>
                    <a:pt x="373" y="572"/>
                  </a:lnTo>
                  <a:lnTo>
                    <a:pt x="372" y="575"/>
                  </a:lnTo>
                  <a:lnTo>
                    <a:pt x="371" y="577"/>
                  </a:lnTo>
                  <a:lnTo>
                    <a:pt x="368" y="579"/>
                  </a:lnTo>
                  <a:lnTo>
                    <a:pt x="365" y="579"/>
                  </a:lnTo>
                  <a:lnTo>
                    <a:pt x="364" y="580"/>
                  </a:lnTo>
                  <a:lnTo>
                    <a:pt x="241" y="580"/>
                  </a:lnTo>
                  <a:lnTo>
                    <a:pt x="238" y="579"/>
                  </a:lnTo>
                  <a:lnTo>
                    <a:pt x="236" y="578"/>
                  </a:lnTo>
                  <a:lnTo>
                    <a:pt x="234" y="577"/>
                  </a:lnTo>
                  <a:lnTo>
                    <a:pt x="233" y="576"/>
                  </a:lnTo>
                  <a:lnTo>
                    <a:pt x="232" y="573"/>
                  </a:lnTo>
                  <a:lnTo>
                    <a:pt x="231" y="572"/>
                  </a:lnTo>
                  <a:lnTo>
                    <a:pt x="174" y="362"/>
                  </a:lnTo>
                  <a:lnTo>
                    <a:pt x="169" y="345"/>
                  </a:lnTo>
                  <a:lnTo>
                    <a:pt x="165" y="330"/>
                  </a:lnTo>
                  <a:lnTo>
                    <a:pt x="159" y="301"/>
                  </a:lnTo>
                  <a:lnTo>
                    <a:pt x="153" y="268"/>
                  </a:lnTo>
                  <a:lnTo>
                    <a:pt x="146" y="224"/>
                  </a:lnTo>
                  <a:lnTo>
                    <a:pt x="146" y="223"/>
                  </a:lnTo>
                  <a:lnTo>
                    <a:pt x="145" y="222"/>
                  </a:lnTo>
                  <a:lnTo>
                    <a:pt x="142" y="221"/>
                  </a:lnTo>
                  <a:lnTo>
                    <a:pt x="140" y="222"/>
                  </a:lnTo>
                  <a:lnTo>
                    <a:pt x="140" y="223"/>
                  </a:lnTo>
                  <a:lnTo>
                    <a:pt x="139" y="224"/>
                  </a:lnTo>
                  <a:lnTo>
                    <a:pt x="139" y="572"/>
                  </a:lnTo>
                  <a:lnTo>
                    <a:pt x="139" y="575"/>
                  </a:lnTo>
                  <a:lnTo>
                    <a:pt x="138" y="576"/>
                  </a:lnTo>
                  <a:lnTo>
                    <a:pt x="136" y="579"/>
                  </a:lnTo>
                  <a:lnTo>
                    <a:pt x="133" y="579"/>
                  </a:lnTo>
                  <a:lnTo>
                    <a:pt x="132" y="580"/>
                  </a:lnTo>
                  <a:lnTo>
                    <a:pt x="8" y="580"/>
                  </a:lnTo>
                  <a:lnTo>
                    <a:pt x="5" y="579"/>
                  </a:lnTo>
                  <a:lnTo>
                    <a:pt x="3" y="578"/>
                  </a:lnTo>
                  <a:lnTo>
                    <a:pt x="1" y="576"/>
                  </a:lnTo>
                  <a:lnTo>
                    <a:pt x="0" y="573"/>
                  </a:lnTo>
                  <a:lnTo>
                    <a:pt x="0" y="572"/>
                  </a:lnTo>
                  <a:close/>
                  <a:moveTo>
                    <a:pt x="1063" y="408"/>
                  </a:moveTo>
                  <a:lnTo>
                    <a:pt x="1062" y="410"/>
                  </a:lnTo>
                  <a:lnTo>
                    <a:pt x="1062" y="412"/>
                  </a:lnTo>
                  <a:lnTo>
                    <a:pt x="1061" y="413"/>
                  </a:lnTo>
                  <a:lnTo>
                    <a:pt x="1060" y="414"/>
                  </a:lnTo>
                  <a:lnTo>
                    <a:pt x="1058" y="414"/>
                  </a:lnTo>
                  <a:lnTo>
                    <a:pt x="1057" y="414"/>
                  </a:lnTo>
                  <a:lnTo>
                    <a:pt x="801" y="414"/>
                  </a:lnTo>
                  <a:lnTo>
                    <a:pt x="799" y="415"/>
                  </a:lnTo>
                  <a:lnTo>
                    <a:pt x="797" y="415"/>
                  </a:lnTo>
                  <a:lnTo>
                    <a:pt x="796" y="417"/>
                  </a:lnTo>
                  <a:lnTo>
                    <a:pt x="795" y="418"/>
                  </a:lnTo>
                  <a:lnTo>
                    <a:pt x="795" y="421"/>
                  </a:lnTo>
                  <a:lnTo>
                    <a:pt x="795" y="422"/>
                  </a:lnTo>
                  <a:lnTo>
                    <a:pt x="796" y="430"/>
                  </a:lnTo>
                  <a:lnTo>
                    <a:pt x="799" y="438"/>
                  </a:lnTo>
                  <a:lnTo>
                    <a:pt x="801" y="445"/>
                  </a:lnTo>
                  <a:lnTo>
                    <a:pt x="804" y="451"/>
                  </a:lnTo>
                  <a:lnTo>
                    <a:pt x="808" y="457"/>
                  </a:lnTo>
                  <a:lnTo>
                    <a:pt x="812" y="462"/>
                  </a:lnTo>
                  <a:lnTo>
                    <a:pt x="817" y="466"/>
                  </a:lnTo>
                  <a:lnTo>
                    <a:pt x="822" y="470"/>
                  </a:lnTo>
                  <a:lnTo>
                    <a:pt x="827" y="473"/>
                  </a:lnTo>
                  <a:lnTo>
                    <a:pt x="833" y="476"/>
                  </a:lnTo>
                  <a:lnTo>
                    <a:pt x="840" y="478"/>
                  </a:lnTo>
                  <a:lnTo>
                    <a:pt x="846" y="480"/>
                  </a:lnTo>
                  <a:lnTo>
                    <a:pt x="854" y="481"/>
                  </a:lnTo>
                  <a:lnTo>
                    <a:pt x="861" y="482"/>
                  </a:lnTo>
                  <a:lnTo>
                    <a:pt x="878" y="482"/>
                  </a:lnTo>
                  <a:lnTo>
                    <a:pt x="886" y="482"/>
                  </a:lnTo>
                  <a:lnTo>
                    <a:pt x="894" y="481"/>
                  </a:lnTo>
                  <a:lnTo>
                    <a:pt x="903" y="480"/>
                  </a:lnTo>
                  <a:lnTo>
                    <a:pt x="911" y="479"/>
                  </a:lnTo>
                  <a:lnTo>
                    <a:pt x="928" y="475"/>
                  </a:lnTo>
                  <a:lnTo>
                    <a:pt x="943" y="470"/>
                  </a:lnTo>
                  <a:lnTo>
                    <a:pt x="958" y="464"/>
                  </a:lnTo>
                  <a:lnTo>
                    <a:pt x="971" y="459"/>
                  </a:lnTo>
                  <a:lnTo>
                    <a:pt x="983" y="453"/>
                  </a:lnTo>
                  <a:lnTo>
                    <a:pt x="992" y="448"/>
                  </a:lnTo>
                  <a:lnTo>
                    <a:pt x="994" y="447"/>
                  </a:lnTo>
                  <a:lnTo>
                    <a:pt x="996" y="447"/>
                  </a:lnTo>
                  <a:lnTo>
                    <a:pt x="998" y="447"/>
                  </a:lnTo>
                  <a:lnTo>
                    <a:pt x="999" y="448"/>
                  </a:lnTo>
                  <a:lnTo>
                    <a:pt x="1002" y="450"/>
                  </a:lnTo>
                  <a:lnTo>
                    <a:pt x="1050" y="531"/>
                  </a:lnTo>
                  <a:lnTo>
                    <a:pt x="1052" y="535"/>
                  </a:lnTo>
                  <a:lnTo>
                    <a:pt x="1052" y="537"/>
                  </a:lnTo>
                  <a:lnTo>
                    <a:pt x="1051" y="538"/>
                  </a:lnTo>
                  <a:lnTo>
                    <a:pt x="1051" y="540"/>
                  </a:lnTo>
                  <a:lnTo>
                    <a:pt x="1050" y="540"/>
                  </a:lnTo>
                  <a:lnTo>
                    <a:pt x="1048" y="542"/>
                  </a:lnTo>
                  <a:lnTo>
                    <a:pt x="1038" y="547"/>
                  </a:lnTo>
                  <a:lnTo>
                    <a:pt x="1028" y="553"/>
                  </a:lnTo>
                  <a:lnTo>
                    <a:pt x="1018" y="558"/>
                  </a:lnTo>
                  <a:lnTo>
                    <a:pt x="1007" y="562"/>
                  </a:lnTo>
                  <a:lnTo>
                    <a:pt x="996" y="567"/>
                  </a:lnTo>
                  <a:lnTo>
                    <a:pt x="985" y="570"/>
                  </a:lnTo>
                  <a:lnTo>
                    <a:pt x="974" y="574"/>
                  </a:lnTo>
                  <a:lnTo>
                    <a:pt x="963" y="577"/>
                  </a:lnTo>
                  <a:lnTo>
                    <a:pt x="951" y="580"/>
                  </a:lnTo>
                  <a:lnTo>
                    <a:pt x="939" y="582"/>
                  </a:lnTo>
                  <a:lnTo>
                    <a:pt x="927" y="584"/>
                  </a:lnTo>
                  <a:lnTo>
                    <a:pt x="915" y="585"/>
                  </a:lnTo>
                  <a:lnTo>
                    <a:pt x="903" y="587"/>
                  </a:lnTo>
                  <a:lnTo>
                    <a:pt x="891" y="587"/>
                  </a:lnTo>
                  <a:lnTo>
                    <a:pt x="866" y="588"/>
                  </a:lnTo>
                  <a:lnTo>
                    <a:pt x="844" y="588"/>
                  </a:lnTo>
                  <a:lnTo>
                    <a:pt x="823" y="586"/>
                  </a:lnTo>
                  <a:lnTo>
                    <a:pt x="813" y="584"/>
                  </a:lnTo>
                  <a:lnTo>
                    <a:pt x="802" y="583"/>
                  </a:lnTo>
                  <a:lnTo>
                    <a:pt x="792" y="580"/>
                  </a:lnTo>
                  <a:lnTo>
                    <a:pt x="782" y="578"/>
                  </a:lnTo>
                  <a:lnTo>
                    <a:pt x="772" y="575"/>
                  </a:lnTo>
                  <a:lnTo>
                    <a:pt x="762" y="572"/>
                  </a:lnTo>
                  <a:lnTo>
                    <a:pt x="753" y="568"/>
                  </a:lnTo>
                  <a:lnTo>
                    <a:pt x="744" y="564"/>
                  </a:lnTo>
                  <a:lnTo>
                    <a:pt x="735" y="559"/>
                  </a:lnTo>
                  <a:lnTo>
                    <a:pt x="726" y="554"/>
                  </a:lnTo>
                  <a:lnTo>
                    <a:pt x="718" y="549"/>
                  </a:lnTo>
                  <a:lnTo>
                    <a:pt x="710" y="543"/>
                  </a:lnTo>
                  <a:lnTo>
                    <a:pt x="702" y="537"/>
                  </a:lnTo>
                  <a:lnTo>
                    <a:pt x="694" y="530"/>
                  </a:lnTo>
                  <a:lnTo>
                    <a:pt x="687" y="522"/>
                  </a:lnTo>
                  <a:lnTo>
                    <a:pt x="681" y="514"/>
                  </a:lnTo>
                  <a:lnTo>
                    <a:pt x="675" y="505"/>
                  </a:lnTo>
                  <a:lnTo>
                    <a:pt x="669" y="496"/>
                  </a:lnTo>
                  <a:lnTo>
                    <a:pt x="664" y="486"/>
                  </a:lnTo>
                  <a:lnTo>
                    <a:pt x="659" y="476"/>
                  </a:lnTo>
                  <a:lnTo>
                    <a:pt x="654" y="465"/>
                  </a:lnTo>
                  <a:lnTo>
                    <a:pt x="652" y="459"/>
                  </a:lnTo>
                  <a:lnTo>
                    <a:pt x="651" y="454"/>
                  </a:lnTo>
                  <a:lnTo>
                    <a:pt x="647" y="441"/>
                  </a:lnTo>
                  <a:lnTo>
                    <a:pt x="645" y="429"/>
                  </a:lnTo>
                  <a:lnTo>
                    <a:pt x="642" y="415"/>
                  </a:lnTo>
                  <a:lnTo>
                    <a:pt x="642" y="408"/>
                  </a:lnTo>
                  <a:lnTo>
                    <a:pt x="641" y="401"/>
                  </a:lnTo>
                  <a:lnTo>
                    <a:pt x="640" y="386"/>
                  </a:lnTo>
                  <a:lnTo>
                    <a:pt x="640" y="370"/>
                  </a:lnTo>
                  <a:lnTo>
                    <a:pt x="640" y="355"/>
                  </a:lnTo>
                  <a:lnTo>
                    <a:pt x="641" y="340"/>
                  </a:lnTo>
                  <a:lnTo>
                    <a:pt x="643" y="326"/>
                  </a:lnTo>
                  <a:lnTo>
                    <a:pt x="646" y="313"/>
                  </a:lnTo>
                  <a:lnTo>
                    <a:pt x="649" y="300"/>
                  </a:lnTo>
                  <a:lnTo>
                    <a:pt x="653" y="288"/>
                  </a:lnTo>
                  <a:lnTo>
                    <a:pt x="657" y="276"/>
                  </a:lnTo>
                  <a:lnTo>
                    <a:pt x="662" y="265"/>
                  </a:lnTo>
                  <a:lnTo>
                    <a:pt x="668" y="255"/>
                  </a:lnTo>
                  <a:lnTo>
                    <a:pt x="674" y="245"/>
                  </a:lnTo>
                  <a:lnTo>
                    <a:pt x="680" y="236"/>
                  </a:lnTo>
                  <a:lnTo>
                    <a:pt x="687" y="227"/>
                  </a:lnTo>
                  <a:lnTo>
                    <a:pt x="694" y="219"/>
                  </a:lnTo>
                  <a:lnTo>
                    <a:pt x="702" y="212"/>
                  </a:lnTo>
                  <a:lnTo>
                    <a:pt x="710" y="204"/>
                  </a:lnTo>
                  <a:lnTo>
                    <a:pt x="718" y="198"/>
                  </a:lnTo>
                  <a:lnTo>
                    <a:pt x="727" y="192"/>
                  </a:lnTo>
                  <a:lnTo>
                    <a:pt x="735" y="186"/>
                  </a:lnTo>
                  <a:lnTo>
                    <a:pt x="744" y="181"/>
                  </a:lnTo>
                  <a:lnTo>
                    <a:pt x="753" y="177"/>
                  </a:lnTo>
                  <a:lnTo>
                    <a:pt x="762" y="172"/>
                  </a:lnTo>
                  <a:lnTo>
                    <a:pt x="771" y="169"/>
                  </a:lnTo>
                  <a:lnTo>
                    <a:pt x="781" y="165"/>
                  </a:lnTo>
                  <a:lnTo>
                    <a:pt x="790" y="162"/>
                  </a:lnTo>
                  <a:lnTo>
                    <a:pt x="799" y="160"/>
                  </a:lnTo>
                  <a:lnTo>
                    <a:pt x="808" y="158"/>
                  </a:lnTo>
                  <a:lnTo>
                    <a:pt x="817" y="156"/>
                  </a:lnTo>
                  <a:lnTo>
                    <a:pt x="826" y="154"/>
                  </a:lnTo>
                  <a:lnTo>
                    <a:pt x="844" y="152"/>
                  </a:lnTo>
                  <a:lnTo>
                    <a:pt x="852" y="152"/>
                  </a:lnTo>
                  <a:lnTo>
                    <a:pt x="860" y="152"/>
                  </a:lnTo>
                  <a:lnTo>
                    <a:pt x="868" y="152"/>
                  </a:lnTo>
                  <a:lnTo>
                    <a:pt x="876" y="152"/>
                  </a:lnTo>
                  <a:lnTo>
                    <a:pt x="893" y="153"/>
                  </a:lnTo>
                  <a:lnTo>
                    <a:pt x="901" y="155"/>
                  </a:lnTo>
                  <a:lnTo>
                    <a:pt x="910" y="156"/>
                  </a:lnTo>
                  <a:lnTo>
                    <a:pt x="927" y="160"/>
                  </a:lnTo>
                  <a:lnTo>
                    <a:pt x="936" y="162"/>
                  </a:lnTo>
                  <a:lnTo>
                    <a:pt x="944" y="165"/>
                  </a:lnTo>
                  <a:lnTo>
                    <a:pt x="953" y="168"/>
                  </a:lnTo>
                  <a:lnTo>
                    <a:pt x="961" y="172"/>
                  </a:lnTo>
                  <a:lnTo>
                    <a:pt x="969" y="177"/>
                  </a:lnTo>
                  <a:lnTo>
                    <a:pt x="977" y="181"/>
                  </a:lnTo>
                  <a:lnTo>
                    <a:pt x="985" y="187"/>
                  </a:lnTo>
                  <a:lnTo>
                    <a:pt x="993" y="193"/>
                  </a:lnTo>
                  <a:lnTo>
                    <a:pt x="1000" y="199"/>
                  </a:lnTo>
                  <a:lnTo>
                    <a:pt x="1007" y="207"/>
                  </a:lnTo>
                  <a:lnTo>
                    <a:pt x="1014" y="215"/>
                  </a:lnTo>
                  <a:lnTo>
                    <a:pt x="1021" y="223"/>
                  </a:lnTo>
                  <a:lnTo>
                    <a:pt x="1027" y="233"/>
                  </a:lnTo>
                  <a:lnTo>
                    <a:pt x="1032" y="243"/>
                  </a:lnTo>
                  <a:lnTo>
                    <a:pt x="1035" y="248"/>
                  </a:lnTo>
                  <a:lnTo>
                    <a:pt x="1038" y="253"/>
                  </a:lnTo>
                  <a:lnTo>
                    <a:pt x="1043" y="265"/>
                  </a:lnTo>
                  <a:lnTo>
                    <a:pt x="1047" y="278"/>
                  </a:lnTo>
                  <a:lnTo>
                    <a:pt x="1051" y="291"/>
                  </a:lnTo>
                  <a:lnTo>
                    <a:pt x="1054" y="305"/>
                  </a:lnTo>
                  <a:lnTo>
                    <a:pt x="1057" y="320"/>
                  </a:lnTo>
                  <a:lnTo>
                    <a:pt x="1060" y="336"/>
                  </a:lnTo>
                  <a:lnTo>
                    <a:pt x="1061" y="354"/>
                  </a:lnTo>
                  <a:lnTo>
                    <a:pt x="1062" y="372"/>
                  </a:lnTo>
                  <a:lnTo>
                    <a:pt x="1063" y="391"/>
                  </a:lnTo>
                  <a:lnTo>
                    <a:pt x="1063" y="408"/>
                  </a:lnTo>
                  <a:close/>
                  <a:moveTo>
                    <a:pt x="918" y="326"/>
                  </a:moveTo>
                  <a:lnTo>
                    <a:pt x="921" y="325"/>
                  </a:lnTo>
                  <a:lnTo>
                    <a:pt x="922" y="325"/>
                  </a:lnTo>
                  <a:lnTo>
                    <a:pt x="923" y="323"/>
                  </a:lnTo>
                  <a:lnTo>
                    <a:pt x="924" y="322"/>
                  </a:lnTo>
                  <a:lnTo>
                    <a:pt x="925" y="319"/>
                  </a:lnTo>
                  <a:lnTo>
                    <a:pt x="924" y="318"/>
                  </a:lnTo>
                  <a:lnTo>
                    <a:pt x="923" y="311"/>
                  </a:lnTo>
                  <a:lnTo>
                    <a:pt x="922" y="304"/>
                  </a:lnTo>
                  <a:lnTo>
                    <a:pt x="920" y="297"/>
                  </a:lnTo>
                  <a:lnTo>
                    <a:pt x="917" y="291"/>
                  </a:lnTo>
                  <a:lnTo>
                    <a:pt x="915" y="286"/>
                  </a:lnTo>
                  <a:lnTo>
                    <a:pt x="911" y="281"/>
                  </a:lnTo>
                  <a:lnTo>
                    <a:pt x="908" y="277"/>
                  </a:lnTo>
                  <a:lnTo>
                    <a:pt x="904" y="273"/>
                  </a:lnTo>
                  <a:lnTo>
                    <a:pt x="900" y="270"/>
                  </a:lnTo>
                  <a:lnTo>
                    <a:pt x="895" y="267"/>
                  </a:lnTo>
                  <a:lnTo>
                    <a:pt x="890" y="265"/>
                  </a:lnTo>
                  <a:lnTo>
                    <a:pt x="885" y="263"/>
                  </a:lnTo>
                  <a:lnTo>
                    <a:pt x="879" y="262"/>
                  </a:lnTo>
                  <a:lnTo>
                    <a:pt x="873" y="261"/>
                  </a:lnTo>
                  <a:lnTo>
                    <a:pt x="866" y="260"/>
                  </a:lnTo>
                  <a:lnTo>
                    <a:pt x="860" y="260"/>
                  </a:lnTo>
                  <a:lnTo>
                    <a:pt x="854" y="260"/>
                  </a:lnTo>
                  <a:lnTo>
                    <a:pt x="849" y="261"/>
                  </a:lnTo>
                  <a:lnTo>
                    <a:pt x="844" y="262"/>
                  </a:lnTo>
                  <a:lnTo>
                    <a:pt x="839" y="263"/>
                  </a:lnTo>
                  <a:lnTo>
                    <a:pt x="834" y="265"/>
                  </a:lnTo>
                  <a:lnTo>
                    <a:pt x="830" y="267"/>
                  </a:lnTo>
                  <a:lnTo>
                    <a:pt x="826" y="270"/>
                  </a:lnTo>
                  <a:lnTo>
                    <a:pt x="821" y="273"/>
                  </a:lnTo>
                  <a:lnTo>
                    <a:pt x="818" y="277"/>
                  </a:lnTo>
                  <a:lnTo>
                    <a:pt x="814" y="281"/>
                  </a:lnTo>
                  <a:lnTo>
                    <a:pt x="810" y="286"/>
                  </a:lnTo>
                  <a:lnTo>
                    <a:pt x="807" y="291"/>
                  </a:lnTo>
                  <a:lnTo>
                    <a:pt x="804" y="297"/>
                  </a:lnTo>
                  <a:lnTo>
                    <a:pt x="802" y="304"/>
                  </a:lnTo>
                  <a:lnTo>
                    <a:pt x="799" y="311"/>
                  </a:lnTo>
                  <a:lnTo>
                    <a:pt x="797" y="318"/>
                  </a:lnTo>
                  <a:lnTo>
                    <a:pt x="797" y="321"/>
                  </a:lnTo>
                  <a:lnTo>
                    <a:pt x="797" y="323"/>
                  </a:lnTo>
                  <a:lnTo>
                    <a:pt x="798" y="324"/>
                  </a:lnTo>
                  <a:lnTo>
                    <a:pt x="799" y="325"/>
                  </a:lnTo>
                  <a:lnTo>
                    <a:pt x="800" y="326"/>
                  </a:lnTo>
                  <a:lnTo>
                    <a:pt x="802" y="326"/>
                  </a:lnTo>
                  <a:lnTo>
                    <a:pt x="918" y="326"/>
                  </a:lnTo>
                  <a:close/>
                  <a:moveTo>
                    <a:pt x="1595" y="588"/>
                  </a:moveTo>
                  <a:lnTo>
                    <a:pt x="1577" y="588"/>
                  </a:lnTo>
                  <a:lnTo>
                    <a:pt x="1560" y="587"/>
                  </a:lnTo>
                  <a:lnTo>
                    <a:pt x="1543" y="585"/>
                  </a:lnTo>
                  <a:lnTo>
                    <a:pt x="1528" y="584"/>
                  </a:lnTo>
                  <a:lnTo>
                    <a:pt x="1513" y="581"/>
                  </a:lnTo>
                  <a:lnTo>
                    <a:pt x="1499" y="578"/>
                  </a:lnTo>
                  <a:lnTo>
                    <a:pt x="1485" y="575"/>
                  </a:lnTo>
                  <a:lnTo>
                    <a:pt x="1472" y="571"/>
                  </a:lnTo>
                  <a:lnTo>
                    <a:pt x="1460" y="567"/>
                  </a:lnTo>
                  <a:lnTo>
                    <a:pt x="1449" y="563"/>
                  </a:lnTo>
                  <a:lnTo>
                    <a:pt x="1438" y="558"/>
                  </a:lnTo>
                  <a:lnTo>
                    <a:pt x="1427" y="553"/>
                  </a:lnTo>
                  <a:lnTo>
                    <a:pt x="1418" y="548"/>
                  </a:lnTo>
                  <a:lnTo>
                    <a:pt x="1409" y="543"/>
                  </a:lnTo>
                  <a:lnTo>
                    <a:pt x="1393" y="532"/>
                  </a:lnTo>
                  <a:lnTo>
                    <a:pt x="1391" y="531"/>
                  </a:lnTo>
                  <a:lnTo>
                    <a:pt x="1390" y="529"/>
                  </a:lnTo>
                  <a:lnTo>
                    <a:pt x="1389" y="527"/>
                  </a:lnTo>
                  <a:lnTo>
                    <a:pt x="1389" y="525"/>
                  </a:lnTo>
                  <a:lnTo>
                    <a:pt x="1390" y="523"/>
                  </a:lnTo>
                  <a:lnTo>
                    <a:pt x="1391" y="522"/>
                  </a:lnTo>
                  <a:lnTo>
                    <a:pt x="1440" y="446"/>
                  </a:lnTo>
                  <a:lnTo>
                    <a:pt x="1442" y="444"/>
                  </a:lnTo>
                  <a:lnTo>
                    <a:pt x="1443" y="444"/>
                  </a:lnTo>
                  <a:lnTo>
                    <a:pt x="1444" y="443"/>
                  </a:lnTo>
                  <a:lnTo>
                    <a:pt x="1446" y="443"/>
                  </a:lnTo>
                  <a:lnTo>
                    <a:pt x="1448" y="444"/>
                  </a:lnTo>
                  <a:lnTo>
                    <a:pt x="1450" y="445"/>
                  </a:lnTo>
                  <a:lnTo>
                    <a:pt x="1465" y="456"/>
                  </a:lnTo>
                  <a:lnTo>
                    <a:pt x="1483" y="465"/>
                  </a:lnTo>
                  <a:lnTo>
                    <a:pt x="1501" y="473"/>
                  </a:lnTo>
                  <a:lnTo>
                    <a:pt x="1510" y="476"/>
                  </a:lnTo>
                  <a:lnTo>
                    <a:pt x="1520" y="479"/>
                  </a:lnTo>
                  <a:lnTo>
                    <a:pt x="1529" y="482"/>
                  </a:lnTo>
                  <a:lnTo>
                    <a:pt x="1539" y="485"/>
                  </a:lnTo>
                  <a:lnTo>
                    <a:pt x="1558" y="489"/>
                  </a:lnTo>
                  <a:lnTo>
                    <a:pt x="1576" y="491"/>
                  </a:lnTo>
                  <a:lnTo>
                    <a:pt x="1594" y="492"/>
                  </a:lnTo>
                  <a:lnTo>
                    <a:pt x="1604" y="491"/>
                  </a:lnTo>
                  <a:lnTo>
                    <a:pt x="1613" y="490"/>
                  </a:lnTo>
                  <a:lnTo>
                    <a:pt x="1622" y="488"/>
                  </a:lnTo>
                  <a:lnTo>
                    <a:pt x="1629" y="486"/>
                  </a:lnTo>
                  <a:lnTo>
                    <a:pt x="1632" y="484"/>
                  </a:lnTo>
                  <a:lnTo>
                    <a:pt x="1635" y="482"/>
                  </a:lnTo>
                  <a:lnTo>
                    <a:pt x="1638" y="480"/>
                  </a:lnTo>
                  <a:lnTo>
                    <a:pt x="1640" y="477"/>
                  </a:lnTo>
                  <a:lnTo>
                    <a:pt x="1642" y="474"/>
                  </a:lnTo>
                  <a:lnTo>
                    <a:pt x="1643" y="471"/>
                  </a:lnTo>
                  <a:lnTo>
                    <a:pt x="1644" y="468"/>
                  </a:lnTo>
                  <a:lnTo>
                    <a:pt x="1644" y="464"/>
                  </a:lnTo>
                  <a:lnTo>
                    <a:pt x="1644" y="461"/>
                  </a:lnTo>
                  <a:lnTo>
                    <a:pt x="1643" y="457"/>
                  </a:lnTo>
                  <a:lnTo>
                    <a:pt x="1642" y="454"/>
                  </a:lnTo>
                  <a:lnTo>
                    <a:pt x="1641" y="451"/>
                  </a:lnTo>
                  <a:lnTo>
                    <a:pt x="1640" y="449"/>
                  </a:lnTo>
                  <a:lnTo>
                    <a:pt x="1638" y="448"/>
                  </a:lnTo>
                  <a:lnTo>
                    <a:pt x="1636" y="445"/>
                  </a:lnTo>
                  <a:lnTo>
                    <a:pt x="1629" y="441"/>
                  </a:lnTo>
                  <a:lnTo>
                    <a:pt x="1620" y="437"/>
                  </a:lnTo>
                  <a:lnTo>
                    <a:pt x="1609" y="434"/>
                  </a:lnTo>
                  <a:lnTo>
                    <a:pt x="1595" y="432"/>
                  </a:lnTo>
                  <a:lnTo>
                    <a:pt x="1579" y="429"/>
                  </a:lnTo>
                  <a:lnTo>
                    <a:pt x="1551" y="425"/>
                  </a:lnTo>
                  <a:lnTo>
                    <a:pt x="1537" y="422"/>
                  </a:lnTo>
                  <a:lnTo>
                    <a:pt x="1522" y="419"/>
                  </a:lnTo>
                  <a:lnTo>
                    <a:pt x="1508" y="415"/>
                  </a:lnTo>
                  <a:lnTo>
                    <a:pt x="1493" y="411"/>
                  </a:lnTo>
                  <a:lnTo>
                    <a:pt x="1480" y="405"/>
                  </a:lnTo>
                  <a:lnTo>
                    <a:pt x="1466" y="398"/>
                  </a:lnTo>
                  <a:lnTo>
                    <a:pt x="1460" y="395"/>
                  </a:lnTo>
                  <a:lnTo>
                    <a:pt x="1454" y="391"/>
                  </a:lnTo>
                  <a:lnTo>
                    <a:pt x="1448" y="386"/>
                  </a:lnTo>
                  <a:lnTo>
                    <a:pt x="1443" y="382"/>
                  </a:lnTo>
                  <a:lnTo>
                    <a:pt x="1438" y="377"/>
                  </a:lnTo>
                  <a:lnTo>
                    <a:pt x="1433" y="371"/>
                  </a:lnTo>
                  <a:lnTo>
                    <a:pt x="1428" y="366"/>
                  </a:lnTo>
                  <a:lnTo>
                    <a:pt x="1424" y="359"/>
                  </a:lnTo>
                  <a:lnTo>
                    <a:pt x="1420" y="353"/>
                  </a:lnTo>
                  <a:lnTo>
                    <a:pt x="1417" y="346"/>
                  </a:lnTo>
                  <a:lnTo>
                    <a:pt x="1414" y="338"/>
                  </a:lnTo>
                  <a:lnTo>
                    <a:pt x="1411" y="330"/>
                  </a:lnTo>
                  <a:lnTo>
                    <a:pt x="1410" y="322"/>
                  </a:lnTo>
                  <a:lnTo>
                    <a:pt x="1408" y="313"/>
                  </a:lnTo>
                  <a:lnTo>
                    <a:pt x="1408" y="308"/>
                  </a:lnTo>
                  <a:lnTo>
                    <a:pt x="1407" y="304"/>
                  </a:lnTo>
                  <a:lnTo>
                    <a:pt x="1407" y="294"/>
                  </a:lnTo>
                  <a:lnTo>
                    <a:pt x="1407" y="285"/>
                  </a:lnTo>
                  <a:lnTo>
                    <a:pt x="1408" y="277"/>
                  </a:lnTo>
                  <a:lnTo>
                    <a:pt x="1409" y="268"/>
                  </a:lnTo>
                  <a:lnTo>
                    <a:pt x="1410" y="261"/>
                  </a:lnTo>
                  <a:lnTo>
                    <a:pt x="1412" y="253"/>
                  </a:lnTo>
                  <a:lnTo>
                    <a:pt x="1415" y="246"/>
                  </a:lnTo>
                  <a:lnTo>
                    <a:pt x="1417" y="239"/>
                  </a:lnTo>
                  <a:lnTo>
                    <a:pt x="1420" y="232"/>
                  </a:lnTo>
                  <a:lnTo>
                    <a:pt x="1424" y="225"/>
                  </a:lnTo>
                  <a:lnTo>
                    <a:pt x="1428" y="219"/>
                  </a:lnTo>
                  <a:lnTo>
                    <a:pt x="1436" y="208"/>
                  </a:lnTo>
                  <a:lnTo>
                    <a:pt x="1441" y="202"/>
                  </a:lnTo>
                  <a:lnTo>
                    <a:pt x="1446" y="197"/>
                  </a:lnTo>
                  <a:lnTo>
                    <a:pt x="1457" y="188"/>
                  </a:lnTo>
                  <a:lnTo>
                    <a:pt x="1463" y="183"/>
                  </a:lnTo>
                  <a:lnTo>
                    <a:pt x="1469" y="179"/>
                  </a:lnTo>
                  <a:lnTo>
                    <a:pt x="1483" y="172"/>
                  </a:lnTo>
                  <a:lnTo>
                    <a:pt x="1490" y="169"/>
                  </a:lnTo>
                  <a:lnTo>
                    <a:pt x="1497" y="166"/>
                  </a:lnTo>
                  <a:lnTo>
                    <a:pt x="1512" y="161"/>
                  </a:lnTo>
                  <a:lnTo>
                    <a:pt x="1528" y="157"/>
                  </a:lnTo>
                  <a:lnTo>
                    <a:pt x="1544" y="154"/>
                  </a:lnTo>
                  <a:lnTo>
                    <a:pt x="1561" y="152"/>
                  </a:lnTo>
                  <a:lnTo>
                    <a:pt x="1579" y="152"/>
                  </a:lnTo>
                  <a:lnTo>
                    <a:pt x="1595" y="152"/>
                  </a:lnTo>
                  <a:lnTo>
                    <a:pt x="1611" y="153"/>
                  </a:lnTo>
                  <a:lnTo>
                    <a:pt x="1626" y="154"/>
                  </a:lnTo>
                  <a:lnTo>
                    <a:pt x="1641" y="156"/>
                  </a:lnTo>
                  <a:lnTo>
                    <a:pt x="1654" y="158"/>
                  </a:lnTo>
                  <a:lnTo>
                    <a:pt x="1667" y="160"/>
                  </a:lnTo>
                  <a:lnTo>
                    <a:pt x="1679" y="163"/>
                  </a:lnTo>
                  <a:lnTo>
                    <a:pt x="1691" y="167"/>
                  </a:lnTo>
                  <a:lnTo>
                    <a:pt x="1702" y="170"/>
                  </a:lnTo>
                  <a:lnTo>
                    <a:pt x="1713" y="174"/>
                  </a:lnTo>
                  <a:lnTo>
                    <a:pt x="1723" y="179"/>
                  </a:lnTo>
                  <a:lnTo>
                    <a:pt x="1733" y="183"/>
                  </a:lnTo>
                  <a:lnTo>
                    <a:pt x="1742" y="188"/>
                  </a:lnTo>
                  <a:lnTo>
                    <a:pt x="1751" y="194"/>
                  </a:lnTo>
                  <a:lnTo>
                    <a:pt x="1768" y="205"/>
                  </a:lnTo>
                  <a:lnTo>
                    <a:pt x="1770" y="207"/>
                  </a:lnTo>
                  <a:lnTo>
                    <a:pt x="1771" y="209"/>
                  </a:lnTo>
                  <a:lnTo>
                    <a:pt x="1772" y="211"/>
                  </a:lnTo>
                  <a:lnTo>
                    <a:pt x="1772" y="212"/>
                  </a:lnTo>
                  <a:lnTo>
                    <a:pt x="1771" y="215"/>
                  </a:lnTo>
                  <a:lnTo>
                    <a:pt x="1770" y="216"/>
                  </a:lnTo>
                  <a:lnTo>
                    <a:pt x="1722" y="288"/>
                  </a:lnTo>
                  <a:lnTo>
                    <a:pt x="1720" y="290"/>
                  </a:lnTo>
                  <a:lnTo>
                    <a:pt x="1718" y="292"/>
                  </a:lnTo>
                  <a:lnTo>
                    <a:pt x="1716" y="292"/>
                  </a:lnTo>
                  <a:lnTo>
                    <a:pt x="1715" y="292"/>
                  </a:lnTo>
                  <a:lnTo>
                    <a:pt x="1711" y="292"/>
                  </a:lnTo>
                  <a:lnTo>
                    <a:pt x="1708" y="290"/>
                  </a:lnTo>
                  <a:lnTo>
                    <a:pt x="1693" y="282"/>
                  </a:lnTo>
                  <a:lnTo>
                    <a:pt x="1677" y="274"/>
                  </a:lnTo>
                  <a:lnTo>
                    <a:pt x="1662" y="268"/>
                  </a:lnTo>
                  <a:lnTo>
                    <a:pt x="1647" y="263"/>
                  </a:lnTo>
                  <a:lnTo>
                    <a:pt x="1633" y="258"/>
                  </a:lnTo>
                  <a:lnTo>
                    <a:pt x="1619" y="255"/>
                  </a:lnTo>
                  <a:lnTo>
                    <a:pt x="1612" y="254"/>
                  </a:lnTo>
                  <a:lnTo>
                    <a:pt x="1606" y="254"/>
                  </a:lnTo>
                  <a:lnTo>
                    <a:pt x="1593" y="253"/>
                  </a:lnTo>
                  <a:lnTo>
                    <a:pt x="1584" y="253"/>
                  </a:lnTo>
                  <a:lnTo>
                    <a:pt x="1576" y="254"/>
                  </a:lnTo>
                  <a:lnTo>
                    <a:pt x="1568" y="256"/>
                  </a:lnTo>
                  <a:lnTo>
                    <a:pt x="1562" y="259"/>
                  </a:lnTo>
                  <a:lnTo>
                    <a:pt x="1560" y="261"/>
                  </a:lnTo>
                  <a:lnTo>
                    <a:pt x="1557" y="263"/>
                  </a:lnTo>
                  <a:lnTo>
                    <a:pt x="1554" y="267"/>
                  </a:lnTo>
                  <a:lnTo>
                    <a:pt x="1552" y="270"/>
                  </a:lnTo>
                  <a:lnTo>
                    <a:pt x="1551" y="273"/>
                  </a:lnTo>
                  <a:lnTo>
                    <a:pt x="1551" y="276"/>
                  </a:lnTo>
                  <a:lnTo>
                    <a:pt x="1550" y="280"/>
                  </a:lnTo>
                  <a:lnTo>
                    <a:pt x="1551" y="283"/>
                  </a:lnTo>
                  <a:lnTo>
                    <a:pt x="1551" y="286"/>
                  </a:lnTo>
                  <a:lnTo>
                    <a:pt x="1553" y="289"/>
                  </a:lnTo>
                  <a:lnTo>
                    <a:pt x="1555" y="292"/>
                  </a:lnTo>
                  <a:lnTo>
                    <a:pt x="1557" y="295"/>
                  </a:lnTo>
                  <a:lnTo>
                    <a:pt x="1560" y="297"/>
                  </a:lnTo>
                  <a:lnTo>
                    <a:pt x="1563" y="299"/>
                  </a:lnTo>
                  <a:lnTo>
                    <a:pt x="1567" y="301"/>
                  </a:lnTo>
                  <a:lnTo>
                    <a:pt x="1576" y="304"/>
                  </a:lnTo>
                  <a:lnTo>
                    <a:pt x="1587" y="307"/>
                  </a:lnTo>
                  <a:lnTo>
                    <a:pt x="1600" y="309"/>
                  </a:lnTo>
                  <a:lnTo>
                    <a:pt x="1615" y="312"/>
                  </a:lnTo>
                  <a:lnTo>
                    <a:pt x="1642" y="316"/>
                  </a:lnTo>
                  <a:lnTo>
                    <a:pt x="1657" y="318"/>
                  </a:lnTo>
                  <a:lnTo>
                    <a:pt x="1672" y="321"/>
                  </a:lnTo>
                  <a:lnTo>
                    <a:pt x="1686" y="325"/>
                  </a:lnTo>
                  <a:lnTo>
                    <a:pt x="1701" y="329"/>
                  </a:lnTo>
                  <a:lnTo>
                    <a:pt x="1715" y="334"/>
                  </a:lnTo>
                  <a:lnTo>
                    <a:pt x="1728" y="340"/>
                  </a:lnTo>
                  <a:lnTo>
                    <a:pt x="1740" y="348"/>
                  </a:lnTo>
                  <a:lnTo>
                    <a:pt x="1746" y="352"/>
                  </a:lnTo>
                  <a:lnTo>
                    <a:pt x="1752" y="356"/>
                  </a:lnTo>
                  <a:lnTo>
                    <a:pt x="1757" y="361"/>
                  </a:lnTo>
                  <a:lnTo>
                    <a:pt x="1762" y="366"/>
                  </a:lnTo>
                  <a:lnTo>
                    <a:pt x="1766" y="371"/>
                  </a:lnTo>
                  <a:lnTo>
                    <a:pt x="1771" y="377"/>
                  </a:lnTo>
                  <a:lnTo>
                    <a:pt x="1774" y="383"/>
                  </a:lnTo>
                  <a:lnTo>
                    <a:pt x="1778" y="390"/>
                  </a:lnTo>
                  <a:lnTo>
                    <a:pt x="1781" y="397"/>
                  </a:lnTo>
                  <a:lnTo>
                    <a:pt x="1783" y="404"/>
                  </a:lnTo>
                  <a:lnTo>
                    <a:pt x="1785" y="412"/>
                  </a:lnTo>
                  <a:lnTo>
                    <a:pt x="1787" y="420"/>
                  </a:lnTo>
                  <a:lnTo>
                    <a:pt x="1787" y="425"/>
                  </a:lnTo>
                  <a:lnTo>
                    <a:pt x="1787" y="429"/>
                  </a:lnTo>
                  <a:lnTo>
                    <a:pt x="1788" y="438"/>
                  </a:lnTo>
                  <a:lnTo>
                    <a:pt x="1787" y="449"/>
                  </a:lnTo>
                  <a:lnTo>
                    <a:pt x="1787" y="458"/>
                  </a:lnTo>
                  <a:lnTo>
                    <a:pt x="1785" y="468"/>
                  </a:lnTo>
                  <a:lnTo>
                    <a:pt x="1783" y="477"/>
                  </a:lnTo>
                  <a:lnTo>
                    <a:pt x="1781" y="485"/>
                  </a:lnTo>
                  <a:lnTo>
                    <a:pt x="1778" y="494"/>
                  </a:lnTo>
                  <a:lnTo>
                    <a:pt x="1775" y="501"/>
                  </a:lnTo>
                  <a:lnTo>
                    <a:pt x="1771" y="509"/>
                  </a:lnTo>
                  <a:lnTo>
                    <a:pt x="1767" y="516"/>
                  </a:lnTo>
                  <a:lnTo>
                    <a:pt x="1763" y="523"/>
                  </a:lnTo>
                  <a:lnTo>
                    <a:pt x="1758" y="529"/>
                  </a:lnTo>
                  <a:lnTo>
                    <a:pt x="1752" y="535"/>
                  </a:lnTo>
                  <a:lnTo>
                    <a:pt x="1747" y="540"/>
                  </a:lnTo>
                  <a:lnTo>
                    <a:pt x="1741" y="546"/>
                  </a:lnTo>
                  <a:lnTo>
                    <a:pt x="1734" y="550"/>
                  </a:lnTo>
                  <a:lnTo>
                    <a:pt x="1728" y="555"/>
                  </a:lnTo>
                  <a:lnTo>
                    <a:pt x="1721" y="559"/>
                  </a:lnTo>
                  <a:lnTo>
                    <a:pt x="1714" y="563"/>
                  </a:lnTo>
                  <a:lnTo>
                    <a:pt x="1699" y="570"/>
                  </a:lnTo>
                  <a:lnTo>
                    <a:pt x="1683" y="576"/>
                  </a:lnTo>
                  <a:lnTo>
                    <a:pt x="1675" y="578"/>
                  </a:lnTo>
                  <a:lnTo>
                    <a:pt x="1666" y="580"/>
                  </a:lnTo>
                  <a:lnTo>
                    <a:pt x="1649" y="584"/>
                  </a:lnTo>
                  <a:lnTo>
                    <a:pt x="1631" y="586"/>
                  </a:lnTo>
                  <a:lnTo>
                    <a:pt x="1613" y="588"/>
                  </a:lnTo>
                  <a:lnTo>
                    <a:pt x="1595" y="58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Tree>
    <p:extLst>
      <p:ext uri="{BB962C8B-B14F-4D97-AF65-F5344CB8AC3E}">
        <p14:creationId xmlns:p14="http://schemas.microsoft.com/office/powerpoint/2010/main" val="1921033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ontent and 1/2 picture">
    <p:spTree>
      <p:nvGrpSpPr>
        <p:cNvPr id="1" name=""/>
        <p:cNvGrpSpPr/>
        <p:nvPr/>
      </p:nvGrpSpPr>
      <p:grpSpPr>
        <a:xfrm>
          <a:off x="0" y="0"/>
          <a:ext cx="0" cy="0"/>
          <a:chOff x="0" y="0"/>
          <a:chExt cx="0" cy="0"/>
        </a:xfrm>
      </p:grpSpPr>
      <p:sp>
        <p:nvSpPr>
          <p:cNvPr id="3" name="Content Placeholder 2"/>
          <p:cNvSpPr>
            <a:spLocks noGrp="1"/>
          </p:cNvSpPr>
          <p:nvPr>
            <p:ph idx="1"/>
          </p:nvPr>
        </p:nvSpPr>
        <p:spPr>
          <a:xfrm>
            <a:off x="766762" y="1773238"/>
            <a:ext cx="4969197"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8" name="Picture Placeholder 7"/>
          <p:cNvSpPr>
            <a:spLocks noGrp="1"/>
          </p:cNvSpPr>
          <p:nvPr>
            <p:ph type="pic" sz="quarter" idx="15"/>
          </p:nvPr>
        </p:nvSpPr>
        <p:spPr>
          <a:xfrm>
            <a:off x="6240016" y="0"/>
            <a:ext cx="5951984" cy="6858000"/>
          </a:xfrm>
          <a:solidFill>
            <a:schemeClr val="bg2"/>
          </a:solidFill>
        </p:spPr>
        <p:txBody>
          <a:bodyPr/>
          <a:lstStyle>
            <a:lvl1pPr marL="0" indent="0">
              <a:buFontTx/>
              <a:buNone/>
              <a:defRPr sz="1000"/>
            </a:lvl1pPr>
          </a:lstStyle>
          <a:p>
            <a:r>
              <a:rPr lang="en-US"/>
              <a:t>Click icon to add picture</a:t>
            </a:r>
            <a:endParaRPr lang="fi-FI"/>
          </a:p>
        </p:txBody>
      </p:sp>
      <p:sp>
        <p:nvSpPr>
          <p:cNvPr id="9" name="Title 8"/>
          <p:cNvSpPr>
            <a:spLocks noGrp="1"/>
          </p:cNvSpPr>
          <p:nvPr>
            <p:ph type="title"/>
          </p:nvPr>
        </p:nvSpPr>
        <p:spPr>
          <a:xfrm>
            <a:off x="766764" y="692150"/>
            <a:ext cx="4969196" cy="864642"/>
          </a:xfrm>
        </p:spPr>
        <p:txBody>
          <a:bodyPr/>
          <a:lstStyle/>
          <a:p>
            <a:r>
              <a:rPr lang="en-US"/>
              <a:t>Click to edit Master title style</a:t>
            </a:r>
            <a:endParaRPr lang="fi-FI"/>
          </a:p>
        </p:txBody>
      </p:sp>
      <p:sp>
        <p:nvSpPr>
          <p:cNvPr id="10" name="Date Placeholder 9"/>
          <p:cNvSpPr>
            <a:spLocks noGrp="1"/>
          </p:cNvSpPr>
          <p:nvPr>
            <p:ph type="dt" sz="half" idx="16"/>
          </p:nvPr>
        </p:nvSpPr>
        <p:spPr/>
        <p:txBody>
          <a:bodyPr/>
          <a:lstStyle/>
          <a:p>
            <a:fld id="{887E137E-F018-43BB-BC44-8D8098EA5F05}" type="datetime1">
              <a:rPr lang="en-GB" smtClean="0"/>
              <a:t>22/10/2025</a:t>
            </a:fld>
            <a:endParaRPr lang="fi-FI"/>
          </a:p>
        </p:txBody>
      </p:sp>
      <p:sp>
        <p:nvSpPr>
          <p:cNvPr id="11" name="Footer Placeholder 10"/>
          <p:cNvSpPr>
            <a:spLocks noGrp="1"/>
          </p:cNvSpPr>
          <p:nvPr>
            <p:ph type="ftr" sz="quarter" idx="17"/>
          </p:nvPr>
        </p:nvSpPr>
        <p:spPr/>
        <p:txBody>
          <a:bodyPr/>
          <a:lstStyle/>
          <a:p>
            <a:endParaRPr lang="fi-FI"/>
          </a:p>
        </p:txBody>
      </p:sp>
      <p:sp>
        <p:nvSpPr>
          <p:cNvPr id="12" name="Slide Number Placeholder 11"/>
          <p:cNvSpPr>
            <a:spLocks noGrp="1"/>
          </p:cNvSpPr>
          <p:nvPr>
            <p:ph type="sldNum" sz="quarter" idx="18"/>
          </p:nvPr>
        </p:nvSpPr>
        <p:spPr/>
        <p:txBody>
          <a:bodyPr/>
          <a:lstStyle>
            <a:lvl1pPr>
              <a:defRPr>
                <a:noFill/>
              </a:defRPr>
            </a:lvl1pPr>
          </a:lstStyle>
          <a:p>
            <a:fld id="{49A25110-65A2-4B67-BF3F-8D6D3162EF46}" type="slidenum">
              <a:rPr lang="fi-FI" smtClean="0"/>
              <a:pPr/>
              <a:t>‹#›</a:t>
            </a:fld>
            <a:endParaRPr lang="fi-FI"/>
          </a:p>
        </p:txBody>
      </p:sp>
      <p:sp>
        <p:nvSpPr>
          <p:cNvPr id="14" name="Text Placeholder 7"/>
          <p:cNvSpPr>
            <a:spLocks noGrp="1"/>
          </p:cNvSpPr>
          <p:nvPr>
            <p:ph type="body" sz="quarter" idx="13"/>
          </p:nvPr>
        </p:nvSpPr>
        <p:spPr>
          <a:xfrm>
            <a:off x="334963" y="260350"/>
            <a:ext cx="5400997" cy="184666"/>
          </a:xfrm>
        </p:spPr>
        <p:txBody>
          <a:bodyPr wrap="square">
            <a:spAutoFit/>
          </a:bodyPr>
          <a:lstStyle>
            <a:lvl1pPr marL="0" indent="0">
              <a:buFontTx/>
              <a:buNone/>
              <a:defRPr sz="1200">
                <a:solidFill>
                  <a:srgbClr val="686768"/>
                </a:solidFill>
              </a:defRPr>
            </a:lvl1pPr>
            <a:lvl2pPr marL="0" indent="0">
              <a:buFontTx/>
              <a:buNone/>
              <a:defRPr sz="1200"/>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a:t>Click to edit Master text styles</a:t>
            </a:r>
          </a:p>
        </p:txBody>
      </p:sp>
    </p:spTree>
    <p:extLst>
      <p:ext uri="{BB962C8B-B14F-4D97-AF65-F5344CB8AC3E}">
        <p14:creationId xmlns:p14="http://schemas.microsoft.com/office/powerpoint/2010/main" val="2600569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and content ">
    <p:spTree>
      <p:nvGrpSpPr>
        <p:cNvPr id="1" name=""/>
        <p:cNvGrpSpPr/>
        <p:nvPr/>
      </p:nvGrpSpPr>
      <p:grpSpPr>
        <a:xfrm>
          <a:off x="0" y="0"/>
          <a:ext cx="0" cy="0"/>
          <a:chOff x="0" y="0"/>
          <a:chExt cx="0" cy="0"/>
        </a:xfrm>
      </p:grpSpPr>
      <p:sp>
        <p:nvSpPr>
          <p:cNvPr id="3" name="Content Placeholder 2"/>
          <p:cNvSpPr>
            <a:spLocks noGrp="1"/>
          </p:cNvSpPr>
          <p:nvPr>
            <p:ph idx="1"/>
          </p:nvPr>
        </p:nvSpPr>
        <p:spPr>
          <a:xfrm>
            <a:off x="1007533" y="1701801"/>
            <a:ext cx="10176936" cy="4222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p:cNvSpPr>
            <a:spLocks noGrp="1"/>
          </p:cNvSpPr>
          <p:nvPr>
            <p:ph type="dt" sz="half" idx="10"/>
          </p:nvPr>
        </p:nvSpPr>
        <p:spPr/>
        <p:txBody>
          <a:bodyPr/>
          <a:lstStyle/>
          <a:p>
            <a:fld id="{5E5E161D-056D-4989-97ED-B141B78F3136}" type="datetime1">
              <a:rPr lang="en-GB" smtClean="0"/>
              <a:t>22/10/2025</a:t>
            </a:fld>
            <a:endParaRPr lang="fi-FI"/>
          </a:p>
        </p:txBody>
      </p:sp>
      <p:sp>
        <p:nvSpPr>
          <p:cNvPr id="5" name="Footer Placeholder 4"/>
          <p:cNvSpPr>
            <a:spLocks noGrp="1"/>
          </p:cNvSpPr>
          <p:nvPr>
            <p:ph type="ftr" sz="quarter" idx="11"/>
          </p:nvPr>
        </p:nvSpPr>
        <p:spPr/>
        <p:txBody>
          <a:bodyPr/>
          <a:lstStyle/>
          <a:p>
            <a:endParaRPr lang="fi-FI"/>
          </a:p>
        </p:txBody>
      </p:sp>
      <p:sp>
        <p:nvSpPr>
          <p:cNvPr id="6" name="Slide Number Placeholder 5"/>
          <p:cNvSpPr>
            <a:spLocks noGrp="1"/>
          </p:cNvSpPr>
          <p:nvPr>
            <p:ph type="sldNum" sz="quarter" idx="12"/>
          </p:nvPr>
        </p:nvSpPr>
        <p:spPr/>
        <p:txBody>
          <a:bodyPr/>
          <a:lstStyle/>
          <a:p>
            <a:fld id="{49A25110-65A2-4B67-BF3F-8D6D3162EF46}" type="slidenum">
              <a:rPr lang="fi-FI" smtClean="0"/>
              <a:t>‹#›</a:t>
            </a:fld>
            <a:endParaRPr lang="fi-FI"/>
          </a:p>
        </p:txBody>
      </p:sp>
      <p:sp>
        <p:nvSpPr>
          <p:cNvPr id="7" name="Title 6"/>
          <p:cNvSpPr>
            <a:spLocks noGrp="1"/>
          </p:cNvSpPr>
          <p:nvPr>
            <p:ph type="title"/>
          </p:nvPr>
        </p:nvSpPr>
        <p:spPr/>
        <p:txBody>
          <a:bodyPr/>
          <a:lstStyle/>
          <a:p>
            <a:r>
              <a:rPr lang="en-US"/>
              <a:t>Click to edit Master title style</a:t>
            </a:r>
            <a:endParaRPr lang="fi-FI"/>
          </a:p>
        </p:txBody>
      </p:sp>
    </p:spTree>
    <p:extLst>
      <p:ext uri="{BB962C8B-B14F-4D97-AF65-F5344CB8AC3E}">
        <p14:creationId xmlns:p14="http://schemas.microsoft.com/office/powerpoint/2010/main" val="4101624133"/>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Section header / kaarna">
    <p:bg>
      <p:bgPr>
        <a:solidFill>
          <a:srgbClr val="85717A"/>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noFill/>
              </a:defRPr>
            </a:lvl1pPr>
          </a:lstStyle>
          <a:p>
            <a:fld id="{0EFE15CB-DF76-4428-AA1A-F64EDAEF0077}" type="datetime1">
              <a:rPr lang="en-GB" smtClean="0"/>
              <a:t>22/10/2025</a:t>
            </a:fld>
            <a:endParaRPr lang="fi-FI"/>
          </a:p>
        </p:txBody>
      </p:sp>
      <p:sp>
        <p:nvSpPr>
          <p:cNvPr id="5" name="Footer Placeholder 4"/>
          <p:cNvSpPr>
            <a:spLocks noGrp="1"/>
          </p:cNvSpPr>
          <p:nvPr>
            <p:ph type="ftr" sz="quarter" idx="11"/>
          </p:nvPr>
        </p:nvSpPr>
        <p:spPr/>
        <p:txBody>
          <a:bodyPr/>
          <a:lstStyle>
            <a:lvl1pPr>
              <a:defRPr>
                <a:noFill/>
              </a:defRPr>
            </a:lvl1pPr>
          </a:lstStyle>
          <a:p>
            <a:r>
              <a:rPr lang="fi-FI"/>
              <a:t>Presentation name / Author</a:t>
            </a:r>
          </a:p>
        </p:txBody>
      </p:sp>
      <p:sp>
        <p:nvSpPr>
          <p:cNvPr id="6" name="Slide Number Placeholder 5"/>
          <p:cNvSpPr>
            <a:spLocks noGrp="1"/>
          </p:cNvSpPr>
          <p:nvPr>
            <p:ph type="sldNum" sz="quarter" idx="12"/>
          </p:nvPr>
        </p:nvSpPr>
        <p:spPr/>
        <p:txBody>
          <a:bodyPr/>
          <a:lstStyle>
            <a:lvl1pPr>
              <a:defRPr>
                <a:noFill/>
              </a:defRPr>
            </a:lvl1pPr>
          </a:lstStyle>
          <a:p>
            <a:fld id="{49A25110-65A2-4B67-BF3F-8D6D3162EF46}" type="slidenum">
              <a:rPr lang="fi-FI" smtClean="0"/>
              <a:pPr/>
              <a:t>‹#›</a:t>
            </a:fld>
            <a:endParaRPr lang="fi-FI"/>
          </a:p>
        </p:txBody>
      </p:sp>
      <p:sp>
        <p:nvSpPr>
          <p:cNvPr id="10" name="Title 1"/>
          <p:cNvSpPr>
            <a:spLocks noGrp="1"/>
          </p:cNvSpPr>
          <p:nvPr>
            <p:ph type="title"/>
          </p:nvPr>
        </p:nvSpPr>
        <p:spPr>
          <a:xfrm>
            <a:off x="766762" y="3035936"/>
            <a:ext cx="10658475" cy="643253"/>
          </a:xfrm>
        </p:spPr>
        <p:txBody>
          <a:bodyPr anchor="ctr" anchorCtr="0">
            <a:spAutoFit/>
          </a:bodyPr>
          <a:lstStyle>
            <a:lvl1pPr algn="l">
              <a:lnSpc>
                <a:spcPct val="95000"/>
              </a:lnSpc>
              <a:defRPr sz="4400" b="0" cap="none" spc="0" baseline="0">
                <a:solidFill>
                  <a:schemeClr val="bg1"/>
                </a:solidFill>
              </a:defRPr>
            </a:lvl1pPr>
          </a:lstStyle>
          <a:p>
            <a:r>
              <a:rPr lang="en-US"/>
              <a:t>Click to edit Master title style</a:t>
            </a:r>
            <a:endParaRPr lang="fi-FI" dirty="0"/>
          </a:p>
        </p:txBody>
      </p:sp>
      <p:grpSp>
        <p:nvGrpSpPr>
          <p:cNvPr id="11" name="Group 10"/>
          <p:cNvGrpSpPr>
            <a:grpSpLocks noChangeAspect="1"/>
          </p:cNvGrpSpPr>
          <p:nvPr userDrawn="1"/>
        </p:nvGrpSpPr>
        <p:grpSpPr>
          <a:xfrm>
            <a:off x="335360" y="6093296"/>
            <a:ext cx="1243838" cy="432000"/>
            <a:chOff x="3279775" y="2451101"/>
            <a:chExt cx="5640388" cy="1958974"/>
          </a:xfrm>
          <a:solidFill>
            <a:schemeClr val="bg1"/>
          </a:solidFill>
        </p:grpSpPr>
        <p:sp>
          <p:nvSpPr>
            <p:cNvPr id="12" name="Freeform 6"/>
            <p:cNvSpPr>
              <a:spLocks/>
            </p:cNvSpPr>
            <p:nvPr userDrawn="1"/>
          </p:nvSpPr>
          <p:spPr bwMode="auto">
            <a:xfrm>
              <a:off x="3279775" y="2451101"/>
              <a:ext cx="1838325" cy="1944687"/>
            </a:xfrm>
            <a:custGeom>
              <a:avLst/>
              <a:gdLst>
                <a:gd name="T0" fmla="*/ 978 w 1158"/>
                <a:gd name="T1" fmla="*/ 608 h 1225"/>
                <a:gd name="T2" fmla="*/ 974 w 1158"/>
                <a:gd name="T3" fmla="*/ 610 h 1225"/>
                <a:gd name="T4" fmla="*/ 968 w 1158"/>
                <a:gd name="T5" fmla="*/ 608 h 1225"/>
                <a:gd name="T6" fmla="*/ 966 w 1158"/>
                <a:gd name="T7" fmla="*/ 134 h 1225"/>
                <a:gd name="T8" fmla="*/ 963 w 1158"/>
                <a:gd name="T9" fmla="*/ 128 h 1225"/>
                <a:gd name="T10" fmla="*/ 956 w 1158"/>
                <a:gd name="T11" fmla="*/ 128 h 1225"/>
                <a:gd name="T12" fmla="*/ 953 w 1158"/>
                <a:gd name="T13" fmla="*/ 132 h 1225"/>
                <a:gd name="T14" fmla="*/ 784 w 1158"/>
                <a:gd name="T15" fmla="*/ 603 h 1225"/>
                <a:gd name="T16" fmla="*/ 779 w 1158"/>
                <a:gd name="T17" fmla="*/ 607 h 1225"/>
                <a:gd name="T18" fmla="*/ 773 w 1158"/>
                <a:gd name="T19" fmla="*/ 605 h 1225"/>
                <a:gd name="T20" fmla="*/ 771 w 1158"/>
                <a:gd name="T21" fmla="*/ 466 h 1225"/>
                <a:gd name="T22" fmla="*/ 769 w 1158"/>
                <a:gd name="T23" fmla="*/ 461 h 1225"/>
                <a:gd name="T24" fmla="*/ 764 w 1158"/>
                <a:gd name="T25" fmla="*/ 459 h 1225"/>
                <a:gd name="T26" fmla="*/ 584 w 1158"/>
                <a:gd name="T27" fmla="*/ 614 h 1225"/>
                <a:gd name="T28" fmla="*/ 579 w 1158"/>
                <a:gd name="T29" fmla="*/ 616 h 1225"/>
                <a:gd name="T30" fmla="*/ 396 w 1158"/>
                <a:gd name="T31" fmla="*/ 461 h 1225"/>
                <a:gd name="T32" fmla="*/ 390 w 1158"/>
                <a:gd name="T33" fmla="*/ 460 h 1225"/>
                <a:gd name="T34" fmla="*/ 386 w 1158"/>
                <a:gd name="T35" fmla="*/ 464 h 1225"/>
                <a:gd name="T36" fmla="*/ 386 w 1158"/>
                <a:gd name="T37" fmla="*/ 603 h 1225"/>
                <a:gd name="T38" fmla="*/ 381 w 1158"/>
                <a:gd name="T39" fmla="*/ 607 h 1225"/>
                <a:gd name="T40" fmla="*/ 375 w 1158"/>
                <a:gd name="T41" fmla="*/ 605 h 1225"/>
                <a:gd name="T42" fmla="*/ 292 w 1158"/>
                <a:gd name="T43" fmla="*/ 378 h 1225"/>
                <a:gd name="T44" fmla="*/ 203 w 1158"/>
                <a:gd name="T45" fmla="*/ 130 h 1225"/>
                <a:gd name="T46" fmla="*/ 197 w 1158"/>
                <a:gd name="T47" fmla="*/ 128 h 1225"/>
                <a:gd name="T48" fmla="*/ 192 w 1158"/>
                <a:gd name="T49" fmla="*/ 132 h 1225"/>
                <a:gd name="T50" fmla="*/ 191 w 1158"/>
                <a:gd name="T51" fmla="*/ 606 h 1225"/>
                <a:gd name="T52" fmla="*/ 186 w 1158"/>
                <a:gd name="T53" fmla="*/ 610 h 1225"/>
                <a:gd name="T54" fmla="*/ 181 w 1158"/>
                <a:gd name="T55" fmla="*/ 609 h 1225"/>
                <a:gd name="T56" fmla="*/ 13 w 1158"/>
                <a:gd name="T57" fmla="*/ 5 h 1225"/>
                <a:gd name="T58" fmla="*/ 10 w 1158"/>
                <a:gd name="T59" fmla="*/ 1 h 1225"/>
                <a:gd name="T60" fmla="*/ 4 w 1158"/>
                <a:gd name="T61" fmla="*/ 1 h 1225"/>
                <a:gd name="T62" fmla="*/ 0 w 1158"/>
                <a:gd name="T63" fmla="*/ 7 h 1225"/>
                <a:gd name="T64" fmla="*/ 1 w 1158"/>
                <a:gd name="T65" fmla="*/ 552 h 1225"/>
                <a:gd name="T66" fmla="*/ 147 w 1158"/>
                <a:gd name="T67" fmla="*/ 644 h 1225"/>
                <a:gd name="T68" fmla="*/ 389 w 1158"/>
                <a:gd name="T69" fmla="*/ 646 h 1225"/>
                <a:gd name="T70" fmla="*/ 397 w 1158"/>
                <a:gd name="T71" fmla="*/ 649 h 1225"/>
                <a:gd name="T72" fmla="*/ 500 w 1158"/>
                <a:gd name="T73" fmla="*/ 909 h 1225"/>
                <a:gd name="T74" fmla="*/ 501 w 1158"/>
                <a:gd name="T75" fmla="*/ 917 h 1225"/>
                <a:gd name="T76" fmla="*/ 447 w 1158"/>
                <a:gd name="T77" fmla="*/ 1030 h 1225"/>
                <a:gd name="T78" fmla="*/ 519 w 1158"/>
                <a:gd name="T79" fmla="*/ 1218 h 1225"/>
                <a:gd name="T80" fmla="*/ 526 w 1158"/>
                <a:gd name="T81" fmla="*/ 1224 h 1225"/>
                <a:gd name="T82" fmla="*/ 629 w 1158"/>
                <a:gd name="T83" fmla="*/ 1225 h 1225"/>
                <a:gd name="T84" fmla="*/ 637 w 1158"/>
                <a:gd name="T85" fmla="*/ 1221 h 1225"/>
                <a:gd name="T86" fmla="*/ 710 w 1158"/>
                <a:gd name="T87" fmla="*/ 1036 h 1225"/>
                <a:gd name="T88" fmla="*/ 710 w 1158"/>
                <a:gd name="T89" fmla="*/ 1030 h 1225"/>
                <a:gd name="T90" fmla="*/ 657 w 1158"/>
                <a:gd name="T91" fmla="*/ 917 h 1225"/>
                <a:gd name="T92" fmla="*/ 758 w 1158"/>
                <a:gd name="T93" fmla="*/ 652 h 1225"/>
                <a:gd name="T94" fmla="*/ 765 w 1158"/>
                <a:gd name="T95" fmla="*/ 646 h 1225"/>
                <a:gd name="T96" fmla="*/ 1009 w 1158"/>
                <a:gd name="T97" fmla="*/ 645 h 1225"/>
                <a:gd name="T98" fmla="*/ 1155 w 1158"/>
                <a:gd name="T99" fmla="*/ 554 h 1225"/>
                <a:gd name="T100" fmla="*/ 1158 w 1158"/>
                <a:gd name="T101" fmla="*/ 549 h 1225"/>
                <a:gd name="T102" fmla="*/ 1158 w 1158"/>
                <a:gd name="T103" fmla="*/ 4 h 1225"/>
                <a:gd name="T104" fmla="*/ 1152 w 1158"/>
                <a:gd name="T105" fmla="*/ 0 h 1225"/>
                <a:gd name="T106" fmla="*/ 1146 w 1158"/>
                <a:gd name="T107" fmla="*/ 3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8" h="1225">
                  <a:moveTo>
                    <a:pt x="1145" y="5"/>
                  </a:moveTo>
                  <a:lnTo>
                    <a:pt x="979" y="605"/>
                  </a:lnTo>
                  <a:lnTo>
                    <a:pt x="978" y="608"/>
                  </a:lnTo>
                  <a:lnTo>
                    <a:pt x="977" y="608"/>
                  </a:lnTo>
                  <a:lnTo>
                    <a:pt x="976" y="609"/>
                  </a:lnTo>
                  <a:lnTo>
                    <a:pt x="974" y="610"/>
                  </a:lnTo>
                  <a:lnTo>
                    <a:pt x="972" y="610"/>
                  </a:lnTo>
                  <a:lnTo>
                    <a:pt x="970" y="609"/>
                  </a:lnTo>
                  <a:lnTo>
                    <a:pt x="968" y="608"/>
                  </a:lnTo>
                  <a:lnTo>
                    <a:pt x="967" y="606"/>
                  </a:lnTo>
                  <a:lnTo>
                    <a:pt x="966" y="603"/>
                  </a:lnTo>
                  <a:lnTo>
                    <a:pt x="966" y="134"/>
                  </a:lnTo>
                  <a:lnTo>
                    <a:pt x="966" y="132"/>
                  </a:lnTo>
                  <a:lnTo>
                    <a:pt x="964" y="130"/>
                  </a:lnTo>
                  <a:lnTo>
                    <a:pt x="963" y="128"/>
                  </a:lnTo>
                  <a:lnTo>
                    <a:pt x="961" y="128"/>
                  </a:lnTo>
                  <a:lnTo>
                    <a:pt x="958" y="128"/>
                  </a:lnTo>
                  <a:lnTo>
                    <a:pt x="956" y="128"/>
                  </a:lnTo>
                  <a:lnTo>
                    <a:pt x="955" y="129"/>
                  </a:lnTo>
                  <a:lnTo>
                    <a:pt x="955" y="130"/>
                  </a:lnTo>
                  <a:lnTo>
                    <a:pt x="953" y="132"/>
                  </a:lnTo>
                  <a:lnTo>
                    <a:pt x="916" y="240"/>
                  </a:lnTo>
                  <a:lnTo>
                    <a:pt x="865" y="378"/>
                  </a:lnTo>
                  <a:lnTo>
                    <a:pt x="784" y="603"/>
                  </a:lnTo>
                  <a:lnTo>
                    <a:pt x="782" y="605"/>
                  </a:lnTo>
                  <a:lnTo>
                    <a:pt x="781" y="606"/>
                  </a:lnTo>
                  <a:lnTo>
                    <a:pt x="779" y="607"/>
                  </a:lnTo>
                  <a:lnTo>
                    <a:pt x="776" y="607"/>
                  </a:lnTo>
                  <a:lnTo>
                    <a:pt x="774" y="606"/>
                  </a:lnTo>
                  <a:lnTo>
                    <a:pt x="773" y="605"/>
                  </a:lnTo>
                  <a:lnTo>
                    <a:pt x="772" y="603"/>
                  </a:lnTo>
                  <a:lnTo>
                    <a:pt x="771" y="600"/>
                  </a:lnTo>
                  <a:lnTo>
                    <a:pt x="771" y="466"/>
                  </a:lnTo>
                  <a:lnTo>
                    <a:pt x="771" y="464"/>
                  </a:lnTo>
                  <a:lnTo>
                    <a:pt x="770" y="462"/>
                  </a:lnTo>
                  <a:lnTo>
                    <a:pt x="769" y="461"/>
                  </a:lnTo>
                  <a:lnTo>
                    <a:pt x="767" y="460"/>
                  </a:lnTo>
                  <a:lnTo>
                    <a:pt x="766" y="459"/>
                  </a:lnTo>
                  <a:lnTo>
                    <a:pt x="764" y="459"/>
                  </a:lnTo>
                  <a:lnTo>
                    <a:pt x="762" y="460"/>
                  </a:lnTo>
                  <a:lnTo>
                    <a:pt x="761" y="461"/>
                  </a:lnTo>
                  <a:lnTo>
                    <a:pt x="584" y="614"/>
                  </a:lnTo>
                  <a:lnTo>
                    <a:pt x="583" y="615"/>
                  </a:lnTo>
                  <a:lnTo>
                    <a:pt x="581" y="615"/>
                  </a:lnTo>
                  <a:lnTo>
                    <a:pt x="579" y="616"/>
                  </a:lnTo>
                  <a:lnTo>
                    <a:pt x="576" y="615"/>
                  </a:lnTo>
                  <a:lnTo>
                    <a:pt x="573" y="614"/>
                  </a:lnTo>
                  <a:lnTo>
                    <a:pt x="396" y="461"/>
                  </a:lnTo>
                  <a:lnTo>
                    <a:pt x="393" y="459"/>
                  </a:lnTo>
                  <a:lnTo>
                    <a:pt x="391" y="460"/>
                  </a:lnTo>
                  <a:lnTo>
                    <a:pt x="390" y="460"/>
                  </a:lnTo>
                  <a:lnTo>
                    <a:pt x="388" y="461"/>
                  </a:lnTo>
                  <a:lnTo>
                    <a:pt x="387" y="462"/>
                  </a:lnTo>
                  <a:lnTo>
                    <a:pt x="386" y="464"/>
                  </a:lnTo>
                  <a:lnTo>
                    <a:pt x="386" y="466"/>
                  </a:lnTo>
                  <a:lnTo>
                    <a:pt x="386" y="601"/>
                  </a:lnTo>
                  <a:lnTo>
                    <a:pt x="386" y="603"/>
                  </a:lnTo>
                  <a:lnTo>
                    <a:pt x="384" y="605"/>
                  </a:lnTo>
                  <a:lnTo>
                    <a:pt x="383" y="606"/>
                  </a:lnTo>
                  <a:lnTo>
                    <a:pt x="381" y="607"/>
                  </a:lnTo>
                  <a:lnTo>
                    <a:pt x="379" y="607"/>
                  </a:lnTo>
                  <a:lnTo>
                    <a:pt x="377" y="606"/>
                  </a:lnTo>
                  <a:lnTo>
                    <a:pt x="375" y="605"/>
                  </a:lnTo>
                  <a:lnTo>
                    <a:pt x="374" y="603"/>
                  </a:lnTo>
                  <a:lnTo>
                    <a:pt x="340" y="511"/>
                  </a:lnTo>
                  <a:lnTo>
                    <a:pt x="292" y="378"/>
                  </a:lnTo>
                  <a:lnTo>
                    <a:pt x="242" y="240"/>
                  </a:lnTo>
                  <a:lnTo>
                    <a:pt x="205" y="132"/>
                  </a:lnTo>
                  <a:lnTo>
                    <a:pt x="203" y="130"/>
                  </a:lnTo>
                  <a:lnTo>
                    <a:pt x="202" y="128"/>
                  </a:lnTo>
                  <a:lnTo>
                    <a:pt x="200" y="128"/>
                  </a:lnTo>
                  <a:lnTo>
                    <a:pt x="197" y="128"/>
                  </a:lnTo>
                  <a:lnTo>
                    <a:pt x="195" y="128"/>
                  </a:lnTo>
                  <a:lnTo>
                    <a:pt x="194" y="130"/>
                  </a:lnTo>
                  <a:lnTo>
                    <a:pt x="192" y="132"/>
                  </a:lnTo>
                  <a:lnTo>
                    <a:pt x="192" y="134"/>
                  </a:lnTo>
                  <a:lnTo>
                    <a:pt x="192" y="604"/>
                  </a:lnTo>
                  <a:lnTo>
                    <a:pt x="191" y="606"/>
                  </a:lnTo>
                  <a:lnTo>
                    <a:pt x="190" y="608"/>
                  </a:lnTo>
                  <a:lnTo>
                    <a:pt x="188" y="609"/>
                  </a:lnTo>
                  <a:lnTo>
                    <a:pt x="186" y="610"/>
                  </a:lnTo>
                  <a:lnTo>
                    <a:pt x="184" y="610"/>
                  </a:lnTo>
                  <a:lnTo>
                    <a:pt x="182" y="609"/>
                  </a:lnTo>
                  <a:lnTo>
                    <a:pt x="181" y="609"/>
                  </a:lnTo>
                  <a:lnTo>
                    <a:pt x="180" y="608"/>
                  </a:lnTo>
                  <a:lnTo>
                    <a:pt x="179" y="605"/>
                  </a:lnTo>
                  <a:lnTo>
                    <a:pt x="13" y="5"/>
                  </a:lnTo>
                  <a:lnTo>
                    <a:pt x="12" y="3"/>
                  </a:lnTo>
                  <a:lnTo>
                    <a:pt x="11" y="2"/>
                  </a:lnTo>
                  <a:lnTo>
                    <a:pt x="10" y="1"/>
                  </a:lnTo>
                  <a:lnTo>
                    <a:pt x="8" y="1"/>
                  </a:lnTo>
                  <a:lnTo>
                    <a:pt x="6" y="0"/>
                  </a:lnTo>
                  <a:lnTo>
                    <a:pt x="4" y="1"/>
                  </a:lnTo>
                  <a:lnTo>
                    <a:pt x="2" y="3"/>
                  </a:lnTo>
                  <a:lnTo>
                    <a:pt x="1" y="4"/>
                  </a:lnTo>
                  <a:lnTo>
                    <a:pt x="0" y="7"/>
                  </a:lnTo>
                  <a:lnTo>
                    <a:pt x="0" y="546"/>
                  </a:lnTo>
                  <a:lnTo>
                    <a:pt x="0" y="549"/>
                  </a:lnTo>
                  <a:lnTo>
                    <a:pt x="1" y="552"/>
                  </a:lnTo>
                  <a:lnTo>
                    <a:pt x="3" y="554"/>
                  </a:lnTo>
                  <a:lnTo>
                    <a:pt x="5" y="555"/>
                  </a:lnTo>
                  <a:lnTo>
                    <a:pt x="147" y="644"/>
                  </a:lnTo>
                  <a:lnTo>
                    <a:pt x="150" y="645"/>
                  </a:lnTo>
                  <a:lnTo>
                    <a:pt x="153" y="646"/>
                  </a:lnTo>
                  <a:lnTo>
                    <a:pt x="389" y="646"/>
                  </a:lnTo>
                  <a:lnTo>
                    <a:pt x="392" y="646"/>
                  </a:lnTo>
                  <a:lnTo>
                    <a:pt x="395" y="647"/>
                  </a:lnTo>
                  <a:lnTo>
                    <a:pt x="397" y="649"/>
                  </a:lnTo>
                  <a:lnTo>
                    <a:pt x="398" y="651"/>
                  </a:lnTo>
                  <a:lnTo>
                    <a:pt x="399" y="652"/>
                  </a:lnTo>
                  <a:lnTo>
                    <a:pt x="500" y="909"/>
                  </a:lnTo>
                  <a:lnTo>
                    <a:pt x="501" y="912"/>
                  </a:lnTo>
                  <a:lnTo>
                    <a:pt x="501" y="914"/>
                  </a:lnTo>
                  <a:lnTo>
                    <a:pt x="501" y="917"/>
                  </a:lnTo>
                  <a:lnTo>
                    <a:pt x="500" y="920"/>
                  </a:lnTo>
                  <a:lnTo>
                    <a:pt x="448" y="1028"/>
                  </a:lnTo>
                  <a:lnTo>
                    <a:pt x="447" y="1030"/>
                  </a:lnTo>
                  <a:lnTo>
                    <a:pt x="447" y="1032"/>
                  </a:lnTo>
                  <a:lnTo>
                    <a:pt x="447" y="1036"/>
                  </a:lnTo>
                  <a:lnTo>
                    <a:pt x="519" y="1218"/>
                  </a:lnTo>
                  <a:lnTo>
                    <a:pt x="520" y="1221"/>
                  </a:lnTo>
                  <a:lnTo>
                    <a:pt x="523" y="1223"/>
                  </a:lnTo>
                  <a:lnTo>
                    <a:pt x="526" y="1224"/>
                  </a:lnTo>
                  <a:lnTo>
                    <a:pt x="529" y="1225"/>
                  </a:lnTo>
                  <a:lnTo>
                    <a:pt x="579" y="1225"/>
                  </a:lnTo>
                  <a:lnTo>
                    <a:pt x="629" y="1225"/>
                  </a:lnTo>
                  <a:lnTo>
                    <a:pt x="632" y="1224"/>
                  </a:lnTo>
                  <a:lnTo>
                    <a:pt x="635" y="1223"/>
                  </a:lnTo>
                  <a:lnTo>
                    <a:pt x="637" y="1221"/>
                  </a:lnTo>
                  <a:lnTo>
                    <a:pt x="638" y="1219"/>
                  </a:lnTo>
                  <a:lnTo>
                    <a:pt x="638" y="1218"/>
                  </a:lnTo>
                  <a:lnTo>
                    <a:pt x="710" y="1036"/>
                  </a:lnTo>
                  <a:lnTo>
                    <a:pt x="711" y="1034"/>
                  </a:lnTo>
                  <a:lnTo>
                    <a:pt x="711" y="1032"/>
                  </a:lnTo>
                  <a:lnTo>
                    <a:pt x="710" y="1030"/>
                  </a:lnTo>
                  <a:lnTo>
                    <a:pt x="710" y="1028"/>
                  </a:lnTo>
                  <a:lnTo>
                    <a:pt x="657" y="920"/>
                  </a:lnTo>
                  <a:lnTo>
                    <a:pt x="657" y="917"/>
                  </a:lnTo>
                  <a:lnTo>
                    <a:pt x="656" y="914"/>
                  </a:lnTo>
                  <a:lnTo>
                    <a:pt x="657" y="909"/>
                  </a:lnTo>
                  <a:lnTo>
                    <a:pt x="758" y="652"/>
                  </a:lnTo>
                  <a:lnTo>
                    <a:pt x="760" y="650"/>
                  </a:lnTo>
                  <a:lnTo>
                    <a:pt x="762" y="647"/>
                  </a:lnTo>
                  <a:lnTo>
                    <a:pt x="765" y="646"/>
                  </a:lnTo>
                  <a:lnTo>
                    <a:pt x="768" y="646"/>
                  </a:lnTo>
                  <a:lnTo>
                    <a:pt x="1006" y="646"/>
                  </a:lnTo>
                  <a:lnTo>
                    <a:pt x="1009" y="645"/>
                  </a:lnTo>
                  <a:lnTo>
                    <a:pt x="1011" y="644"/>
                  </a:lnTo>
                  <a:lnTo>
                    <a:pt x="1153" y="555"/>
                  </a:lnTo>
                  <a:lnTo>
                    <a:pt x="1155" y="554"/>
                  </a:lnTo>
                  <a:lnTo>
                    <a:pt x="1156" y="553"/>
                  </a:lnTo>
                  <a:lnTo>
                    <a:pt x="1157" y="552"/>
                  </a:lnTo>
                  <a:lnTo>
                    <a:pt x="1158" y="549"/>
                  </a:lnTo>
                  <a:lnTo>
                    <a:pt x="1158" y="546"/>
                  </a:lnTo>
                  <a:lnTo>
                    <a:pt x="1158" y="7"/>
                  </a:lnTo>
                  <a:lnTo>
                    <a:pt x="1158" y="4"/>
                  </a:lnTo>
                  <a:lnTo>
                    <a:pt x="1156" y="3"/>
                  </a:lnTo>
                  <a:lnTo>
                    <a:pt x="1154" y="1"/>
                  </a:lnTo>
                  <a:lnTo>
                    <a:pt x="1152" y="0"/>
                  </a:lnTo>
                  <a:lnTo>
                    <a:pt x="1150" y="1"/>
                  </a:lnTo>
                  <a:lnTo>
                    <a:pt x="1148" y="1"/>
                  </a:lnTo>
                  <a:lnTo>
                    <a:pt x="1146" y="3"/>
                  </a:lnTo>
                  <a:lnTo>
                    <a:pt x="1145" y="4"/>
                  </a:lnTo>
                  <a:lnTo>
                    <a:pt x="11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3" name="Freeform 7"/>
            <p:cNvSpPr>
              <a:spLocks noEditPoints="1"/>
            </p:cNvSpPr>
            <p:nvPr userDrawn="1"/>
          </p:nvSpPr>
          <p:spPr bwMode="auto">
            <a:xfrm>
              <a:off x="5386388" y="3476625"/>
              <a:ext cx="3533775" cy="933450"/>
            </a:xfrm>
            <a:custGeom>
              <a:avLst/>
              <a:gdLst>
                <a:gd name="T0" fmla="*/ 1976 w 2226"/>
                <a:gd name="T1" fmla="*/ 407 h 588"/>
                <a:gd name="T2" fmla="*/ 1967 w 2226"/>
                <a:gd name="T3" fmla="*/ 463 h 588"/>
                <a:gd name="T4" fmla="*/ 2059 w 2226"/>
                <a:gd name="T5" fmla="*/ 452 h 588"/>
                <a:gd name="T6" fmla="*/ 2077 w 2226"/>
                <a:gd name="T7" fmla="*/ 579 h 588"/>
                <a:gd name="T8" fmla="*/ 2048 w 2226"/>
                <a:gd name="T9" fmla="*/ 537 h 588"/>
                <a:gd name="T10" fmla="*/ 1914 w 2226"/>
                <a:gd name="T11" fmla="*/ 585 h 588"/>
                <a:gd name="T12" fmla="*/ 1811 w 2226"/>
                <a:gd name="T13" fmla="*/ 508 h 588"/>
                <a:gd name="T14" fmla="*/ 1836 w 2226"/>
                <a:gd name="T15" fmla="*/ 383 h 588"/>
                <a:gd name="T16" fmla="*/ 2013 w 2226"/>
                <a:gd name="T17" fmla="*/ 311 h 588"/>
                <a:gd name="T18" fmla="*/ 2045 w 2226"/>
                <a:gd name="T19" fmla="*/ 271 h 588"/>
                <a:gd name="T20" fmla="*/ 1907 w 2226"/>
                <a:gd name="T21" fmla="*/ 300 h 588"/>
                <a:gd name="T22" fmla="*/ 1866 w 2226"/>
                <a:gd name="T23" fmla="*/ 195 h 588"/>
                <a:gd name="T24" fmla="*/ 2086 w 2226"/>
                <a:gd name="T25" fmla="*/ 154 h 588"/>
                <a:gd name="T26" fmla="*/ 2190 w 2226"/>
                <a:gd name="T27" fmla="*/ 214 h 588"/>
                <a:gd name="T28" fmla="*/ 2217 w 2226"/>
                <a:gd name="T29" fmla="*/ 512 h 588"/>
                <a:gd name="T30" fmla="*/ 1994 w 2226"/>
                <a:gd name="T31" fmla="*/ 3 h 588"/>
                <a:gd name="T32" fmla="*/ 1869 w 2226"/>
                <a:gd name="T33" fmla="*/ 7 h 588"/>
                <a:gd name="T34" fmla="*/ 2172 w 2226"/>
                <a:gd name="T35" fmla="*/ 123 h 588"/>
                <a:gd name="T36" fmla="*/ 1190 w 2226"/>
                <a:gd name="T37" fmla="*/ 576 h 588"/>
                <a:gd name="T38" fmla="*/ 1121 w 2226"/>
                <a:gd name="T39" fmla="*/ 502 h 588"/>
                <a:gd name="T40" fmla="*/ 1059 w 2226"/>
                <a:gd name="T41" fmla="*/ 264 h 588"/>
                <a:gd name="T42" fmla="*/ 1170 w 2226"/>
                <a:gd name="T43" fmla="*/ 25 h 588"/>
                <a:gd name="T44" fmla="*/ 1274 w 2226"/>
                <a:gd name="T45" fmla="*/ 156 h 588"/>
                <a:gd name="T46" fmla="*/ 1374 w 2226"/>
                <a:gd name="T47" fmla="*/ 271 h 588"/>
                <a:gd name="T48" fmla="*/ 1291 w 2226"/>
                <a:gd name="T49" fmla="*/ 469 h 588"/>
                <a:gd name="T50" fmla="*/ 1370 w 2226"/>
                <a:gd name="T51" fmla="*/ 564 h 588"/>
                <a:gd name="T52" fmla="*/ 1 w 2226"/>
                <a:gd name="T53" fmla="*/ 3 h 588"/>
                <a:gd name="T54" fmla="*/ 312 w 2226"/>
                <a:gd name="T55" fmla="*/ 389 h 588"/>
                <a:gd name="T56" fmla="*/ 615 w 2226"/>
                <a:gd name="T57" fmla="*/ 572 h 588"/>
                <a:gd name="T58" fmla="*/ 463 w 2226"/>
                <a:gd name="T59" fmla="*/ 222 h 588"/>
                <a:gd name="T60" fmla="*/ 365 w 2226"/>
                <a:gd name="T61" fmla="*/ 579 h 588"/>
                <a:gd name="T62" fmla="*/ 146 w 2226"/>
                <a:gd name="T63" fmla="*/ 223 h 588"/>
                <a:gd name="T64" fmla="*/ 1 w 2226"/>
                <a:gd name="T65" fmla="*/ 576 h 588"/>
                <a:gd name="T66" fmla="*/ 795 w 2226"/>
                <a:gd name="T67" fmla="*/ 421 h 588"/>
                <a:gd name="T68" fmla="*/ 861 w 2226"/>
                <a:gd name="T69" fmla="*/ 482 h 588"/>
                <a:gd name="T70" fmla="*/ 999 w 2226"/>
                <a:gd name="T71" fmla="*/ 448 h 588"/>
                <a:gd name="T72" fmla="*/ 974 w 2226"/>
                <a:gd name="T73" fmla="*/ 574 h 588"/>
                <a:gd name="T74" fmla="*/ 772 w 2226"/>
                <a:gd name="T75" fmla="*/ 575 h 588"/>
                <a:gd name="T76" fmla="*/ 659 w 2226"/>
                <a:gd name="T77" fmla="*/ 476 h 588"/>
                <a:gd name="T78" fmla="*/ 649 w 2226"/>
                <a:gd name="T79" fmla="*/ 300 h 588"/>
                <a:gd name="T80" fmla="*/ 753 w 2226"/>
                <a:gd name="T81" fmla="*/ 177 h 588"/>
                <a:gd name="T82" fmla="*/ 901 w 2226"/>
                <a:gd name="T83" fmla="*/ 155 h 588"/>
                <a:gd name="T84" fmla="*/ 1027 w 2226"/>
                <a:gd name="T85" fmla="*/ 233 h 588"/>
                <a:gd name="T86" fmla="*/ 921 w 2226"/>
                <a:gd name="T87" fmla="*/ 325 h 588"/>
                <a:gd name="T88" fmla="*/ 895 w 2226"/>
                <a:gd name="T89" fmla="*/ 267 h 588"/>
                <a:gd name="T90" fmla="*/ 818 w 2226"/>
                <a:gd name="T91" fmla="*/ 277 h 588"/>
                <a:gd name="T92" fmla="*/ 1595 w 2226"/>
                <a:gd name="T93" fmla="*/ 588 h 588"/>
                <a:gd name="T94" fmla="*/ 1393 w 2226"/>
                <a:gd name="T95" fmla="*/ 532 h 588"/>
                <a:gd name="T96" fmla="*/ 1483 w 2226"/>
                <a:gd name="T97" fmla="*/ 465 h 588"/>
                <a:gd name="T98" fmla="*/ 1638 w 2226"/>
                <a:gd name="T99" fmla="*/ 480 h 588"/>
                <a:gd name="T100" fmla="*/ 1609 w 2226"/>
                <a:gd name="T101" fmla="*/ 434 h 588"/>
                <a:gd name="T102" fmla="*/ 1433 w 2226"/>
                <a:gd name="T103" fmla="*/ 371 h 588"/>
                <a:gd name="T104" fmla="*/ 1410 w 2226"/>
                <a:gd name="T105" fmla="*/ 261 h 588"/>
                <a:gd name="T106" fmla="*/ 1497 w 2226"/>
                <a:gd name="T107" fmla="*/ 166 h 588"/>
                <a:gd name="T108" fmla="*/ 1713 w 2226"/>
                <a:gd name="T109" fmla="*/ 174 h 588"/>
                <a:gd name="T110" fmla="*/ 1716 w 2226"/>
                <a:gd name="T111" fmla="*/ 292 h 588"/>
                <a:gd name="T112" fmla="*/ 1568 w 2226"/>
                <a:gd name="T113" fmla="*/ 256 h 588"/>
                <a:gd name="T114" fmla="*/ 1563 w 2226"/>
                <a:gd name="T115" fmla="*/ 299 h 588"/>
                <a:gd name="T116" fmla="*/ 1752 w 2226"/>
                <a:gd name="T117" fmla="*/ 356 h 588"/>
                <a:gd name="T118" fmla="*/ 1787 w 2226"/>
                <a:gd name="T119" fmla="*/ 458 h 588"/>
                <a:gd name="T120" fmla="*/ 1721 w 2226"/>
                <a:gd name="T121" fmla="*/ 55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26" h="588">
                  <a:moveTo>
                    <a:pt x="2065" y="439"/>
                  </a:moveTo>
                  <a:lnTo>
                    <a:pt x="2065" y="391"/>
                  </a:lnTo>
                  <a:lnTo>
                    <a:pt x="2064" y="389"/>
                  </a:lnTo>
                  <a:lnTo>
                    <a:pt x="2063" y="388"/>
                  </a:lnTo>
                  <a:lnTo>
                    <a:pt x="2061" y="387"/>
                  </a:lnTo>
                  <a:lnTo>
                    <a:pt x="2060" y="387"/>
                  </a:lnTo>
                  <a:lnTo>
                    <a:pt x="2047" y="388"/>
                  </a:lnTo>
                  <a:lnTo>
                    <a:pt x="2035" y="389"/>
                  </a:lnTo>
                  <a:lnTo>
                    <a:pt x="2024" y="390"/>
                  </a:lnTo>
                  <a:lnTo>
                    <a:pt x="2014" y="392"/>
                  </a:lnTo>
                  <a:lnTo>
                    <a:pt x="2004" y="395"/>
                  </a:lnTo>
                  <a:lnTo>
                    <a:pt x="1996" y="397"/>
                  </a:lnTo>
                  <a:lnTo>
                    <a:pt x="1988" y="400"/>
                  </a:lnTo>
                  <a:lnTo>
                    <a:pt x="1981" y="403"/>
                  </a:lnTo>
                  <a:lnTo>
                    <a:pt x="1976" y="407"/>
                  </a:lnTo>
                  <a:lnTo>
                    <a:pt x="1971" y="411"/>
                  </a:lnTo>
                  <a:lnTo>
                    <a:pt x="1966" y="415"/>
                  </a:lnTo>
                  <a:lnTo>
                    <a:pt x="1963" y="420"/>
                  </a:lnTo>
                  <a:lnTo>
                    <a:pt x="1960" y="425"/>
                  </a:lnTo>
                  <a:lnTo>
                    <a:pt x="1958" y="430"/>
                  </a:lnTo>
                  <a:lnTo>
                    <a:pt x="1957" y="435"/>
                  </a:lnTo>
                  <a:lnTo>
                    <a:pt x="1957" y="441"/>
                  </a:lnTo>
                  <a:lnTo>
                    <a:pt x="1957" y="445"/>
                  </a:lnTo>
                  <a:lnTo>
                    <a:pt x="1958" y="448"/>
                  </a:lnTo>
                  <a:lnTo>
                    <a:pt x="1958" y="451"/>
                  </a:lnTo>
                  <a:lnTo>
                    <a:pt x="1959" y="454"/>
                  </a:lnTo>
                  <a:lnTo>
                    <a:pt x="1961" y="457"/>
                  </a:lnTo>
                  <a:lnTo>
                    <a:pt x="1963" y="459"/>
                  </a:lnTo>
                  <a:lnTo>
                    <a:pt x="1965" y="461"/>
                  </a:lnTo>
                  <a:lnTo>
                    <a:pt x="1967" y="463"/>
                  </a:lnTo>
                  <a:lnTo>
                    <a:pt x="1972" y="467"/>
                  </a:lnTo>
                  <a:lnTo>
                    <a:pt x="1975" y="468"/>
                  </a:lnTo>
                  <a:lnTo>
                    <a:pt x="1978" y="469"/>
                  </a:lnTo>
                  <a:lnTo>
                    <a:pt x="1984" y="470"/>
                  </a:lnTo>
                  <a:lnTo>
                    <a:pt x="1991" y="471"/>
                  </a:lnTo>
                  <a:lnTo>
                    <a:pt x="2005" y="470"/>
                  </a:lnTo>
                  <a:lnTo>
                    <a:pt x="2011" y="470"/>
                  </a:lnTo>
                  <a:lnTo>
                    <a:pt x="2017" y="469"/>
                  </a:lnTo>
                  <a:lnTo>
                    <a:pt x="2023" y="468"/>
                  </a:lnTo>
                  <a:lnTo>
                    <a:pt x="2028" y="467"/>
                  </a:lnTo>
                  <a:lnTo>
                    <a:pt x="2037" y="464"/>
                  </a:lnTo>
                  <a:lnTo>
                    <a:pt x="2045" y="461"/>
                  </a:lnTo>
                  <a:lnTo>
                    <a:pt x="2051" y="458"/>
                  </a:lnTo>
                  <a:lnTo>
                    <a:pt x="2056" y="454"/>
                  </a:lnTo>
                  <a:lnTo>
                    <a:pt x="2059" y="452"/>
                  </a:lnTo>
                  <a:lnTo>
                    <a:pt x="2061" y="450"/>
                  </a:lnTo>
                  <a:lnTo>
                    <a:pt x="2063" y="447"/>
                  </a:lnTo>
                  <a:lnTo>
                    <a:pt x="2064" y="443"/>
                  </a:lnTo>
                  <a:lnTo>
                    <a:pt x="2065" y="440"/>
                  </a:lnTo>
                  <a:lnTo>
                    <a:pt x="2065" y="439"/>
                  </a:lnTo>
                  <a:close/>
                  <a:moveTo>
                    <a:pt x="2225" y="572"/>
                  </a:moveTo>
                  <a:lnTo>
                    <a:pt x="2226" y="575"/>
                  </a:lnTo>
                  <a:lnTo>
                    <a:pt x="2225" y="577"/>
                  </a:lnTo>
                  <a:lnTo>
                    <a:pt x="2225" y="578"/>
                  </a:lnTo>
                  <a:lnTo>
                    <a:pt x="2224" y="579"/>
                  </a:lnTo>
                  <a:lnTo>
                    <a:pt x="2221" y="579"/>
                  </a:lnTo>
                  <a:lnTo>
                    <a:pt x="2220" y="579"/>
                  </a:lnTo>
                  <a:lnTo>
                    <a:pt x="2081" y="579"/>
                  </a:lnTo>
                  <a:lnTo>
                    <a:pt x="2079" y="579"/>
                  </a:lnTo>
                  <a:lnTo>
                    <a:pt x="2077" y="579"/>
                  </a:lnTo>
                  <a:lnTo>
                    <a:pt x="2074" y="577"/>
                  </a:lnTo>
                  <a:lnTo>
                    <a:pt x="2073" y="574"/>
                  </a:lnTo>
                  <a:lnTo>
                    <a:pt x="2072" y="572"/>
                  </a:lnTo>
                  <a:lnTo>
                    <a:pt x="2069" y="560"/>
                  </a:lnTo>
                  <a:lnTo>
                    <a:pt x="2067" y="548"/>
                  </a:lnTo>
                  <a:lnTo>
                    <a:pt x="2065" y="537"/>
                  </a:lnTo>
                  <a:lnTo>
                    <a:pt x="2065" y="526"/>
                  </a:lnTo>
                  <a:lnTo>
                    <a:pt x="2064" y="524"/>
                  </a:lnTo>
                  <a:lnTo>
                    <a:pt x="2064" y="522"/>
                  </a:lnTo>
                  <a:lnTo>
                    <a:pt x="2063" y="522"/>
                  </a:lnTo>
                  <a:lnTo>
                    <a:pt x="2062" y="522"/>
                  </a:lnTo>
                  <a:lnTo>
                    <a:pt x="2061" y="523"/>
                  </a:lnTo>
                  <a:lnTo>
                    <a:pt x="2060" y="524"/>
                  </a:lnTo>
                  <a:lnTo>
                    <a:pt x="2054" y="531"/>
                  </a:lnTo>
                  <a:lnTo>
                    <a:pt x="2048" y="537"/>
                  </a:lnTo>
                  <a:lnTo>
                    <a:pt x="2042" y="544"/>
                  </a:lnTo>
                  <a:lnTo>
                    <a:pt x="2035" y="549"/>
                  </a:lnTo>
                  <a:lnTo>
                    <a:pt x="2028" y="555"/>
                  </a:lnTo>
                  <a:lnTo>
                    <a:pt x="2021" y="560"/>
                  </a:lnTo>
                  <a:lnTo>
                    <a:pt x="2013" y="564"/>
                  </a:lnTo>
                  <a:lnTo>
                    <a:pt x="2005" y="569"/>
                  </a:lnTo>
                  <a:lnTo>
                    <a:pt x="1996" y="573"/>
                  </a:lnTo>
                  <a:lnTo>
                    <a:pt x="1987" y="576"/>
                  </a:lnTo>
                  <a:lnTo>
                    <a:pt x="1978" y="579"/>
                  </a:lnTo>
                  <a:lnTo>
                    <a:pt x="1968" y="581"/>
                  </a:lnTo>
                  <a:lnTo>
                    <a:pt x="1958" y="583"/>
                  </a:lnTo>
                  <a:lnTo>
                    <a:pt x="1948" y="584"/>
                  </a:lnTo>
                  <a:lnTo>
                    <a:pt x="1937" y="585"/>
                  </a:lnTo>
                  <a:lnTo>
                    <a:pt x="1925" y="586"/>
                  </a:lnTo>
                  <a:lnTo>
                    <a:pt x="1914" y="585"/>
                  </a:lnTo>
                  <a:lnTo>
                    <a:pt x="1903" y="584"/>
                  </a:lnTo>
                  <a:lnTo>
                    <a:pt x="1892" y="582"/>
                  </a:lnTo>
                  <a:lnTo>
                    <a:pt x="1881" y="579"/>
                  </a:lnTo>
                  <a:lnTo>
                    <a:pt x="1871" y="574"/>
                  </a:lnTo>
                  <a:lnTo>
                    <a:pt x="1861" y="570"/>
                  </a:lnTo>
                  <a:lnTo>
                    <a:pt x="1856" y="567"/>
                  </a:lnTo>
                  <a:lnTo>
                    <a:pt x="1851" y="564"/>
                  </a:lnTo>
                  <a:lnTo>
                    <a:pt x="1843" y="557"/>
                  </a:lnTo>
                  <a:lnTo>
                    <a:pt x="1835" y="549"/>
                  </a:lnTo>
                  <a:lnTo>
                    <a:pt x="1827" y="540"/>
                  </a:lnTo>
                  <a:lnTo>
                    <a:pt x="1824" y="536"/>
                  </a:lnTo>
                  <a:lnTo>
                    <a:pt x="1821" y="531"/>
                  </a:lnTo>
                  <a:lnTo>
                    <a:pt x="1816" y="520"/>
                  </a:lnTo>
                  <a:lnTo>
                    <a:pt x="1813" y="514"/>
                  </a:lnTo>
                  <a:lnTo>
                    <a:pt x="1811" y="508"/>
                  </a:lnTo>
                  <a:lnTo>
                    <a:pt x="1808" y="495"/>
                  </a:lnTo>
                  <a:lnTo>
                    <a:pt x="1806" y="481"/>
                  </a:lnTo>
                  <a:lnTo>
                    <a:pt x="1806" y="474"/>
                  </a:lnTo>
                  <a:lnTo>
                    <a:pt x="1805" y="466"/>
                  </a:lnTo>
                  <a:lnTo>
                    <a:pt x="1806" y="458"/>
                  </a:lnTo>
                  <a:lnTo>
                    <a:pt x="1806" y="449"/>
                  </a:lnTo>
                  <a:lnTo>
                    <a:pt x="1808" y="441"/>
                  </a:lnTo>
                  <a:lnTo>
                    <a:pt x="1809" y="433"/>
                  </a:lnTo>
                  <a:lnTo>
                    <a:pt x="1812" y="425"/>
                  </a:lnTo>
                  <a:lnTo>
                    <a:pt x="1814" y="418"/>
                  </a:lnTo>
                  <a:lnTo>
                    <a:pt x="1818" y="410"/>
                  </a:lnTo>
                  <a:lnTo>
                    <a:pt x="1822" y="403"/>
                  </a:lnTo>
                  <a:lnTo>
                    <a:pt x="1826" y="396"/>
                  </a:lnTo>
                  <a:lnTo>
                    <a:pt x="1831" y="390"/>
                  </a:lnTo>
                  <a:lnTo>
                    <a:pt x="1836" y="383"/>
                  </a:lnTo>
                  <a:lnTo>
                    <a:pt x="1842" y="377"/>
                  </a:lnTo>
                  <a:lnTo>
                    <a:pt x="1848" y="371"/>
                  </a:lnTo>
                  <a:lnTo>
                    <a:pt x="1855" y="365"/>
                  </a:lnTo>
                  <a:lnTo>
                    <a:pt x="1862" y="360"/>
                  </a:lnTo>
                  <a:lnTo>
                    <a:pt x="1869" y="355"/>
                  </a:lnTo>
                  <a:lnTo>
                    <a:pt x="1886" y="345"/>
                  </a:lnTo>
                  <a:lnTo>
                    <a:pt x="1895" y="341"/>
                  </a:lnTo>
                  <a:lnTo>
                    <a:pt x="1905" y="337"/>
                  </a:lnTo>
                  <a:lnTo>
                    <a:pt x="1915" y="333"/>
                  </a:lnTo>
                  <a:lnTo>
                    <a:pt x="1926" y="329"/>
                  </a:lnTo>
                  <a:lnTo>
                    <a:pt x="1948" y="323"/>
                  </a:lnTo>
                  <a:lnTo>
                    <a:pt x="1960" y="320"/>
                  </a:lnTo>
                  <a:lnTo>
                    <a:pt x="1973" y="317"/>
                  </a:lnTo>
                  <a:lnTo>
                    <a:pt x="1999" y="313"/>
                  </a:lnTo>
                  <a:lnTo>
                    <a:pt x="2013" y="311"/>
                  </a:lnTo>
                  <a:lnTo>
                    <a:pt x="2027" y="310"/>
                  </a:lnTo>
                  <a:lnTo>
                    <a:pt x="2057" y="308"/>
                  </a:lnTo>
                  <a:lnTo>
                    <a:pt x="2061" y="307"/>
                  </a:lnTo>
                  <a:lnTo>
                    <a:pt x="2064" y="306"/>
                  </a:lnTo>
                  <a:lnTo>
                    <a:pt x="2065" y="305"/>
                  </a:lnTo>
                  <a:lnTo>
                    <a:pt x="2065" y="302"/>
                  </a:lnTo>
                  <a:lnTo>
                    <a:pt x="2064" y="295"/>
                  </a:lnTo>
                  <a:lnTo>
                    <a:pt x="2063" y="291"/>
                  </a:lnTo>
                  <a:lnTo>
                    <a:pt x="2063" y="288"/>
                  </a:lnTo>
                  <a:lnTo>
                    <a:pt x="2061" y="285"/>
                  </a:lnTo>
                  <a:lnTo>
                    <a:pt x="2060" y="282"/>
                  </a:lnTo>
                  <a:lnTo>
                    <a:pt x="2055" y="277"/>
                  </a:lnTo>
                  <a:lnTo>
                    <a:pt x="2052" y="275"/>
                  </a:lnTo>
                  <a:lnTo>
                    <a:pt x="2049" y="273"/>
                  </a:lnTo>
                  <a:lnTo>
                    <a:pt x="2045" y="271"/>
                  </a:lnTo>
                  <a:lnTo>
                    <a:pt x="2041" y="269"/>
                  </a:lnTo>
                  <a:lnTo>
                    <a:pt x="2031" y="267"/>
                  </a:lnTo>
                  <a:lnTo>
                    <a:pt x="2025" y="267"/>
                  </a:lnTo>
                  <a:lnTo>
                    <a:pt x="2018" y="267"/>
                  </a:lnTo>
                  <a:lnTo>
                    <a:pt x="2009" y="267"/>
                  </a:lnTo>
                  <a:lnTo>
                    <a:pt x="2000" y="268"/>
                  </a:lnTo>
                  <a:lnTo>
                    <a:pt x="1992" y="269"/>
                  </a:lnTo>
                  <a:lnTo>
                    <a:pt x="1983" y="270"/>
                  </a:lnTo>
                  <a:lnTo>
                    <a:pt x="1974" y="272"/>
                  </a:lnTo>
                  <a:lnTo>
                    <a:pt x="1966" y="274"/>
                  </a:lnTo>
                  <a:lnTo>
                    <a:pt x="1958" y="277"/>
                  </a:lnTo>
                  <a:lnTo>
                    <a:pt x="1950" y="280"/>
                  </a:lnTo>
                  <a:lnTo>
                    <a:pt x="1934" y="286"/>
                  </a:lnTo>
                  <a:lnTo>
                    <a:pt x="1920" y="293"/>
                  </a:lnTo>
                  <a:lnTo>
                    <a:pt x="1907" y="300"/>
                  </a:lnTo>
                  <a:lnTo>
                    <a:pt x="1895" y="308"/>
                  </a:lnTo>
                  <a:lnTo>
                    <a:pt x="1893" y="309"/>
                  </a:lnTo>
                  <a:lnTo>
                    <a:pt x="1891" y="309"/>
                  </a:lnTo>
                  <a:lnTo>
                    <a:pt x="1889" y="309"/>
                  </a:lnTo>
                  <a:lnTo>
                    <a:pt x="1888" y="309"/>
                  </a:lnTo>
                  <a:lnTo>
                    <a:pt x="1886" y="307"/>
                  </a:lnTo>
                  <a:lnTo>
                    <a:pt x="1885" y="306"/>
                  </a:lnTo>
                  <a:lnTo>
                    <a:pt x="1830" y="230"/>
                  </a:lnTo>
                  <a:lnTo>
                    <a:pt x="1828" y="227"/>
                  </a:lnTo>
                  <a:lnTo>
                    <a:pt x="1828" y="225"/>
                  </a:lnTo>
                  <a:lnTo>
                    <a:pt x="1829" y="224"/>
                  </a:lnTo>
                  <a:lnTo>
                    <a:pt x="1830" y="221"/>
                  </a:lnTo>
                  <a:lnTo>
                    <a:pt x="1831" y="220"/>
                  </a:lnTo>
                  <a:lnTo>
                    <a:pt x="1847" y="207"/>
                  </a:lnTo>
                  <a:lnTo>
                    <a:pt x="1866" y="195"/>
                  </a:lnTo>
                  <a:lnTo>
                    <a:pt x="1876" y="189"/>
                  </a:lnTo>
                  <a:lnTo>
                    <a:pt x="1887" y="184"/>
                  </a:lnTo>
                  <a:lnTo>
                    <a:pt x="1899" y="178"/>
                  </a:lnTo>
                  <a:lnTo>
                    <a:pt x="1912" y="173"/>
                  </a:lnTo>
                  <a:lnTo>
                    <a:pt x="1925" y="169"/>
                  </a:lnTo>
                  <a:lnTo>
                    <a:pt x="1939" y="165"/>
                  </a:lnTo>
                  <a:lnTo>
                    <a:pt x="1954" y="161"/>
                  </a:lnTo>
                  <a:lnTo>
                    <a:pt x="1970" y="158"/>
                  </a:lnTo>
                  <a:lnTo>
                    <a:pt x="1987" y="155"/>
                  </a:lnTo>
                  <a:lnTo>
                    <a:pt x="2005" y="153"/>
                  </a:lnTo>
                  <a:lnTo>
                    <a:pt x="2023" y="152"/>
                  </a:lnTo>
                  <a:lnTo>
                    <a:pt x="2043" y="152"/>
                  </a:lnTo>
                  <a:lnTo>
                    <a:pt x="2054" y="152"/>
                  </a:lnTo>
                  <a:lnTo>
                    <a:pt x="2065" y="152"/>
                  </a:lnTo>
                  <a:lnTo>
                    <a:pt x="2086" y="154"/>
                  </a:lnTo>
                  <a:lnTo>
                    <a:pt x="2096" y="156"/>
                  </a:lnTo>
                  <a:lnTo>
                    <a:pt x="2105" y="158"/>
                  </a:lnTo>
                  <a:lnTo>
                    <a:pt x="2114" y="160"/>
                  </a:lnTo>
                  <a:lnTo>
                    <a:pt x="2122" y="163"/>
                  </a:lnTo>
                  <a:lnTo>
                    <a:pt x="2130" y="166"/>
                  </a:lnTo>
                  <a:lnTo>
                    <a:pt x="2138" y="169"/>
                  </a:lnTo>
                  <a:lnTo>
                    <a:pt x="2145" y="172"/>
                  </a:lnTo>
                  <a:lnTo>
                    <a:pt x="2152" y="176"/>
                  </a:lnTo>
                  <a:lnTo>
                    <a:pt x="2159" y="181"/>
                  </a:lnTo>
                  <a:lnTo>
                    <a:pt x="2165" y="185"/>
                  </a:lnTo>
                  <a:lnTo>
                    <a:pt x="2170" y="190"/>
                  </a:lnTo>
                  <a:lnTo>
                    <a:pt x="2176" y="196"/>
                  </a:lnTo>
                  <a:lnTo>
                    <a:pt x="2181" y="201"/>
                  </a:lnTo>
                  <a:lnTo>
                    <a:pt x="2186" y="207"/>
                  </a:lnTo>
                  <a:lnTo>
                    <a:pt x="2190" y="214"/>
                  </a:lnTo>
                  <a:lnTo>
                    <a:pt x="2194" y="220"/>
                  </a:lnTo>
                  <a:lnTo>
                    <a:pt x="2197" y="227"/>
                  </a:lnTo>
                  <a:lnTo>
                    <a:pt x="2201" y="235"/>
                  </a:lnTo>
                  <a:lnTo>
                    <a:pt x="2204" y="242"/>
                  </a:lnTo>
                  <a:lnTo>
                    <a:pt x="2206" y="251"/>
                  </a:lnTo>
                  <a:lnTo>
                    <a:pt x="2209" y="259"/>
                  </a:lnTo>
                  <a:lnTo>
                    <a:pt x="2211" y="268"/>
                  </a:lnTo>
                  <a:lnTo>
                    <a:pt x="2212" y="277"/>
                  </a:lnTo>
                  <a:lnTo>
                    <a:pt x="2214" y="287"/>
                  </a:lnTo>
                  <a:lnTo>
                    <a:pt x="2215" y="296"/>
                  </a:lnTo>
                  <a:lnTo>
                    <a:pt x="2215" y="307"/>
                  </a:lnTo>
                  <a:lnTo>
                    <a:pt x="2216" y="317"/>
                  </a:lnTo>
                  <a:lnTo>
                    <a:pt x="2216" y="328"/>
                  </a:lnTo>
                  <a:lnTo>
                    <a:pt x="2216" y="478"/>
                  </a:lnTo>
                  <a:lnTo>
                    <a:pt x="2217" y="512"/>
                  </a:lnTo>
                  <a:lnTo>
                    <a:pt x="2218" y="539"/>
                  </a:lnTo>
                  <a:lnTo>
                    <a:pt x="2220" y="549"/>
                  </a:lnTo>
                  <a:lnTo>
                    <a:pt x="2221" y="559"/>
                  </a:lnTo>
                  <a:lnTo>
                    <a:pt x="2223" y="566"/>
                  </a:lnTo>
                  <a:lnTo>
                    <a:pt x="2225" y="572"/>
                  </a:lnTo>
                  <a:close/>
                  <a:moveTo>
                    <a:pt x="1869" y="7"/>
                  </a:moveTo>
                  <a:lnTo>
                    <a:pt x="1869" y="5"/>
                  </a:lnTo>
                  <a:lnTo>
                    <a:pt x="1870" y="3"/>
                  </a:lnTo>
                  <a:lnTo>
                    <a:pt x="1873" y="0"/>
                  </a:lnTo>
                  <a:lnTo>
                    <a:pt x="1875" y="0"/>
                  </a:lnTo>
                  <a:lnTo>
                    <a:pt x="1877" y="0"/>
                  </a:lnTo>
                  <a:lnTo>
                    <a:pt x="1987" y="0"/>
                  </a:lnTo>
                  <a:lnTo>
                    <a:pt x="1989" y="0"/>
                  </a:lnTo>
                  <a:lnTo>
                    <a:pt x="1991" y="1"/>
                  </a:lnTo>
                  <a:lnTo>
                    <a:pt x="1994" y="3"/>
                  </a:lnTo>
                  <a:lnTo>
                    <a:pt x="1994" y="6"/>
                  </a:lnTo>
                  <a:lnTo>
                    <a:pt x="1995" y="7"/>
                  </a:lnTo>
                  <a:lnTo>
                    <a:pt x="1995" y="121"/>
                  </a:lnTo>
                  <a:lnTo>
                    <a:pt x="1994" y="123"/>
                  </a:lnTo>
                  <a:lnTo>
                    <a:pt x="1993" y="125"/>
                  </a:lnTo>
                  <a:lnTo>
                    <a:pt x="1991" y="128"/>
                  </a:lnTo>
                  <a:lnTo>
                    <a:pt x="1988" y="128"/>
                  </a:lnTo>
                  <a:lnTo>
                    <a:pt x="1987" y="129"/>
                  </a:lnTo>
                  <a:lnTo>
                    <a:pt x="1877" y="129"/>
                  </a:lnTo>
                  <a:lnTo>
                    <a:pt x="1874" y="128"/>
                  </a:lnTo>
                  <a:lnTo>
                    <a:pt x="1872" y="127"/>
                  </a:lnTo>
                  <a:lnTo>
                    <a:pt x="1870" y="125"/>
                  </a:lnTo>
                  <a:lnTo>
                    <a:pt x="1869" y="122"/>
                  </a:lnTo>
                  <a:lnTo>
                    <a:pt x="1869" y="121"/>
                  </a:lnTo>
                  <a:lnTo>
                    <a:pt x="1869" y="7"/>
                  </a:lnTo>
                  <a:close/>
                  <a:moveTo>
                    <a:pt x="2047" y="121"/>
                  </a:moveTo>
                  <a:lnTo>
                    <a:pt x="2047" y="7"/>
                  </a:lnTo>
                  <a:lnTo>
                    <a:pt x="2047" y="5"/>
                  </a:lnTo>
                  <a:lnTo>
                    <a:pt x="2048" y="3"/>
                  </a:lnTo>
                  <a:lnTo>
                    <a:pt x="2051" y="0"/>
                  </a:lnTo>
                  <a:lnTo>
                    <a:pt x="2053" y="0"/>
                  </a:lnTo>
                  <a:lnTo>
                    <a:pt x="2054" y="0"/>
                  </a:lnTo>
                  <a:lnTo>
                    <a:pt x="2165" y="0"/>
                  </a:lnTo>
                  <a:lnTo>
                    <a:pt x="2167" y="0"/>
                  </a:lnTo>
                  <a:lnTo>
                    <a:pt x="2169" y="1"/>
                  </a:lnTo>
                  <a:lnTo>
                    <a:pt x="2171" y="3"/>
                  </a:lnTo>
                  <a:lnTo>
                    <a:pt x="2172" y="6"/>
                  </a:lnTo>
                  <a:lnTo>
                    <a:pt x="2172" y="7"/>
                  </a:lnTo>
                  <a:lnTo>
                    <a:pt x="2172" y="121"/>
                  </a:lnTo>
                  <a:lnTo>
                    <a:pt x="2172" y="123"/>
                  </a:lnTo>
                  <a:lnTo>
                    <a:pt x="2171" y="125"/>
                  </a:lnTo>
                  <a:lnTo>
                    <a:pt x="2169" y="127"/>
                  </a:lnTo>
                  <a:lnTo>
                    <a:pt x="2166" y="128"/>
                  </a:lnTo>
                  <a:lnTo>
                    <a:pt x="2165" y="128"/>
                  </a:lnTo>
                  <a:lnTo>
                    <a:pt x="2054" y="128"/>
                  </a:lnTo>
                  <a:lnTo>
                    <a:pt x="2052" y="128"/>
                  </a:lnTo>
                  <a:lnTo>
                    <a:pt x="2050" y="127"/>
                  </a:lnTo>
                  <a:lnTo>
                    <a:pt x="2048" y="125"/>
                  </a:lnTo>
                  <a:lnTo>
                    <a:pt x="2047" y="122"/>
                  </a:lnTo>
                  <a:lnTo>
                    <a:pt x="2047" y="121"/>
                  </a:lnTo>
                  <a:close/>
                  <a:moveTo>
                    <a:pt x="1274" y="585"/>
                  </a:moveTo>
                  <a:lnTo>
                    <a:pt x="1249" y="584"/>
                  </a:lnTo>
                  <a:lnTo>
                    <a:pt x="1226" y="583"/>
                  </a:lnTo>
                  <a:lnTo>
                    <a:pt x="1207" y="580"/>
                  </a:lnTo>
                  <a:lnTo>
                    <a:pt x="1190" y="576"/>
                  </a:lnTo>
                  <a:lnTo>
                    <a:pt x="1175" y="571"/>
                  </a:lnTo>
                  <a:lnTo>
                    <a:pt x="1168" y="568"/>
                  </a:lnTo>
                  <a:lnTo>
                    <a:pt x="1162" y="565"/>
                  </a:lnTo>
                  <a:lnTo>
                    <a:pt x="1156" y="561"/>
                  </a:lnTo>
                  <a:lnTo>
                    <a:pt x="1151" y="558"/>
                  </a:lnTo>
                  <a:lnTo>
                    <a:pt x="1149" y="556"/>
                  </a:lnTo>
                  <a:lnTo>
                    <a:pt x="1147" y="554"/>
                  </a:lnTo>
                  <a:lnTo>
                    <a:pt x="1143" y="550"/>
                  </a:lnTo>
                  <a:lnTo>
                    <a:pt x="1139" y="545"/>
                  </a:lnTo>
                  <a:lnTo>
                    <a:pt x="1135" y="541"/>
                  </a:lnTo>
                  <a:lnTo>
                    <a:pt x="1130" y="531"/>
                  </a:lnTo>
                  <a:lnTo>
                    <a:pt x="1127" y="525"/>
                  </a:lnTo>
                  <a:lnTo>
                    <a:pt x="1125" y="520"/>
                  </a:lnTo>
                  <a:lnTo>
                    <a:pt x="1122" y="508"/>
                  </a:lnTo>
                  <a:lnTo>
                    <a:pt x="1121" y="502"/>
                  </a:lnTo>
                  <a:lnTo>
                    <a:pt x="1120" y="496"/>
                  </a:lnTo>
                  <a:lnTo>
                    <a:pt x="1119" y="482"/>
                  </a:lnTo>
                  <a:lnTo>
                    <a:pt x="1118" y="468"/>
                  </a:lnTo>
                  <a:lnTo>
                    <a:pt x="1118" y="453"/>
                  </a:lnTo>
                  <a:lnTo>
                    <a:pt x="1118" y="278"/>
                  </a:lnTo>
                  <a:lnTo>
                    <a:pt x="1117" y="276"/>
                  </a:lnTo>
                  <a:lnTo>
                    <a:pt x="1117" y="274"/>
                  </a:lnTo>
                  <a:lnTo>
                    <a:pt x="1114" y="272"/>
                  </a:lnTo>
                  <a:lnTo>
                    <a:pt x="1111" y="271"/>
                  </a:lnTo>
                  <a:lnTo>
                    <a:pt x="1110" y="271"/>
                  </a:lnTo>
                  <a:lnTo>
                    <a:pt x="1067" y="271"/>
                  </a:lnTo>
                  <a:lnTo>
                    <a:pt x="1064" y="270"/>
                  </a:lnTo>
                  <a:lnTo>
                    <a:pt x="1062" y="269"/>
                  </a:lnTo>
                  <a:lnTo>
                    <a:pt x="1060" y="267"/>
                  </a:lnTo>
                  <a:lnTo>
                    <a:pt x="1059" y="264"/>
                  </a:lnTo>
                  <a:lnTo>
                    <a:pt x="1059" y="263"/>
                  </a:lnTo>
                  <a:lnTo>
                    <a:pt x="1059" y="167"/>
                  </a:lnTo>
                  <a:lnTo>
                    <a:pt x="1059" y="164"/>
                  </a:lnTo>
                  <a:lnTo>
                    <a:pt x="1060" y="162"/>
                  </a:lnTo>
                  <a:lnTo>
                    <a:pt x="1063" y="160"/>
                  </a:lnTo>
                  <a:lnTo>
                    <a:pt x="1065" y="159"/>
                  </a:lnTo>
                  <a:lnTo>
                    <a:pt x="1067" y="159"/>
                  </a:lnTo>
                  <a:lnTo>
                    <a:pt x="1110" y="159"/>
                  </a:lnTo>
                  <a:lnTo>
                    <a:pt x="1113" y="159"/>
                  </a:lnTo>
                  <a:lnTo>
                    <a:pt x="1115" y="158"/>
                  </a:lnTo>
                  <a:lnTo>
                    <a:pt x="1117" y="157"/>
                  </a:lnTo>
                  <a:lnTo>
                    <a:pt x="1118" y="156"/>
                  </a:lnTo>
                  <a:lnTo>
                    <a:pt x="1120" y="153"/>
                  </a:lnTo>
                  <a:lnTo>
                    <a:pt x="1121" y="152"/>
                  </a:lnTo>
                  <a:lnTo>
                    <a:pt x="1170" y="25"/>
                  </a:lnTo>
                  <a:lnTo>
                    <a:pt x="1171" y="23"/>
                  </a:lnTo>
                  <a:lnTo>
                    <a:pt x="1173" y="21"/>
                  </a:lnTo>
                  <a:lnTo>
                    <a:pt x="1175" y="20"/>
                  </a:lnTo>
                  <a:lnTo>
                    <a:pt x="1176" y="19"/>
                  </a:lnTo>
                  <a:lnTo>
                    <a:pt x="1179" y="18"/>
                  </a:lnTo>
                  <a:lnTo>
                    <a:pt x="1180" y="18"/>
                  </a:lnTo>
                  <a:lnTo>
                    <a:pt x="1265" y="18"/>
                  </a:lnTo>
                  <a:lnTo>
                    <a:pt x="1268" y="19"/>
                  </a:lnTo>
                  <a:lnTo>
                    <a:pt x="1270" y="19"/>
                  </a:lnTo>
                  <a:lnTo>
                    <a:pt x="1272" y="22"/>
                  </a:lnTo>
                  <a:lnTo>
                    <a:pt x="1273" y="25"/>
                  </a:lnTo>
                  <a:lnTo>
                    <a:pt x="1273" y="26"/>
                  </a:lnTo>
                  <a:lnTo>
                    <a:pt x="1273" y="152"/>
                  </a:lnTo>
                  <a:lnTo>
                    <a:pt x="1273" y="154"/>
                  </a:lnTo>
                  <a:lnTo>
                    <a:pt x="1274" y="156"/>
                  </a:lnTo>
                  <a:lnTo>
                    <a:pt x="1277" y="158"/>
                  </a:lnTo>
                  <a:lnTo>
                    <a:pt x="1279" y="159"/>
                  </a:lnTo>
                  <a:lnTo>
                    <a:pt x="1281" y="159"/>
                  </a:lnTo>
                  <a:lnTo>
                    <a:pt x="1374" y="159"/>
                  </a:lnTo>
                  <a:lnTo>
                    <a:pt x="1376" y="160"/>
                  </a:lnTo>
                  <a:lnTo>
                    <a:pt x="1378" y="161"/>
                  </a:lnTo>
                  <a:lnTo>
                    <a:pt x="1381" y="163"/>
                  </a:lnTo>
                  <a:lnTo>
                    <a:pt x="1381" y="166"/>
                  </a:lnTo>
                  <a:lnTo>
                    <a:pt x="1381" y="167"/>
                  </a:lnTo>
                  <a:lnTo>
                    <a:pt x="1381" y="263"/>
                  </a:lnTo>
                  <a:lnTo>
                    <a:pt x="1381" y="266"/>
                  </a:lnTo>
                  <a:lnTo>
                    <a:pt x="1380" y="268"/>
                  </a:lnTo>
                  <a:lnTo>
                    <a:pt x="1378" y="270"/>
                  </a:lnTo>
                  <a:lnTo>
                    <a:pt x="1375" y="271"/>
                  </a:lnTo>
                  <a:lnTo>
                    <a:pt x="1374" y="271"/>
                  </a:lnTo>
                  <a:lnTo>
                    <a:pt x="1281" y="271"/>
                  </a:lnTo>
                  <a:lnTo>
                    <a:pt x="1278" y="271"/>
                  </a:lnTo>
                  <a:lnTo>
                    <a:pt x="1276" y="272"/>
                  </a:lnTo>
                  <a:lnTo>
                    <a:pt x="1274" y="275"/>
                  </a:lnTo>
                  <a:lnTo>
                    <a:pt x="1273" y="277"/>
                  </a:lnTo>
                  <a:lnTo>
                    <a:pt x="1273" y="278"/>
                  </a:lnTo>
                  <a:lnTo>
                    <a:pt x="1273" y="419"/>
                  </a:lnTo>
                  <a:lnTo>
                    <a:pt x="1274" y="434"/>
                  </a:lnTo>
                  <a:lnTo>
                    <a:pt x="1275" y="446"/>
                  </a:lnTo>
                  <a:lnTo>
                    <a:pt x="1277" y="452"/>
                  </a:lnTo>
                  <a:lnTo>
                    <a:pt x="1279" y="456"/>
                  </a:lnTo>
                  <a:lnTo>
                    <a:pt x="1281" y="460"/>
                  </a:lnTo>
                  <a:lnTo>
                    <a:pt x="1284" y="463"/>
                  </a:lnTo>
                  <a:lnTo>
                    <a:pt x="1287" y="466"/>
                  </a:lnTo>
                  <a:lnTo>
                    <a:pt x="1291" y="469"/>
                  </a:lnTo>
                  <a:lnTo>
                    <a:pt x="1296" y="471"/>
                  </a:lnTo>
                  <a:lnTo>
                    <a:pt x="1301" y="472"/>
                  </a:lnTo>
                  <a:lnTo>
                    <a:pt x="1307" y="473"/>
                  </a:lnTo>
                  <a:lnTo>
                    <a:pt x="1313" y="474"/>
                  </a:lnTo>
                  <a:lnTo>
                    <a:pt x="1320" y="474"/>
                  </a:lnTo>
                  <a:lnTo>
                    <a:pt x="1328" y="475"/>
                  </a:lnTo>
                  <a:lnTo>
                    <a:pt x="1340" y="474"/>
                  </a:lnTo>
                  <a:lnTo>
                    <a:pt x="1351" y="473"/>
                  </a:lnTo>
                  <a:lnTo>
                    <a:pt x="1361" y="472"/>
                  </a:lnTo>
                  <a:lnTo>
                    <a:pt x="1366" y="471"/>
                  </a:lnTo>
                  <a:lnTo>
                    <a:pt x="1367" y="471"/>
                  </a:lnTo>
                  <a:lnTo>
                    <a:pt x="1368" y="471"/>
                  </a:lnTo>
                  <a:lnTo>
                    <a:pt x="1369" y="474"/>
                  </a:lnTo>
                  <a:lnTo>
                    <a:pt x="1370" y="477"/>
                  </a:lnTo>
                  <a:lnTo>
                    <a:pt x="1370" y="564"/>
                  </a:lnTo>
                  <a:lnTo>
                    <a:pt x="1369" y="569"/>
                  </a:lnTo>
                  <a:lnTo>
                    <a:pt x="1369" y="572"/>
                  </a:lnTo>
                  <a:lnTo>
                    <a:pt x="1368" y="575"/>
                  </a:lnTo>
                  <a:lnTo>
                    <a:pt x="1366" y="577"/>
                  </a:lnTo>
                  <a:lnTo>
                    <a:pt x="1364" y="578"/>
                  </a:lnTo>
                  <a:lnTo>
                    <a:pt x="1362" y="579"/>
                  </a:lnTo>
                  <a:lnTo>
                    <a:pt x="1358" y="580"/>
                  </a:lnTo>
                  <a:lnTo>
                    <a:pt x="1340" y="582"/>
                  </a:lnTo>
                  <a:lnTo>
                    <a:pt x="1317" y="583"/>
                  </a:lnTo>
                  <a:lnTo>
                    <a:pt x="1294" y="584"/>
                  </a:lnTo>
                  <a:lnTo>
                    <a:pt x="1274" y="585"/>
                  </a:lnTo>
                  <a:close/>
                  <a:moveTo>
                    <a:pt x="0" y="572"/>
                  </a:moveTo>
                  <a:lnTo>
                    <a:pt x="0" y="7"/>
                  </a:lnTo>
                  <a:lnTo>
                    <a:pt x="0" y="5"/>
                  </a:lnTo>
                  <a:lnTo>
                    <a:pt x="1" y="3"/>
                  </a:lnTo>
                  <a:lnTo>
                    <a:pt x="4" y="1"/>
                  </a:lnTo>
                  <a:lnTo>
                    <a:pt x="6" y="0"/>
                  </a:lnTo>
                  <a:lnTo>
                    <a:pt x="7" y="0"/>
                  </a:lnTo>
                  <a:lnTo>
                    <a:pt x="200" y="0"/>
                  </a:lnTo>
                  <a:lnTo>
                    <a:pt x="202" y="0"/>
                  </a:lnTo>
                  <a:lnTo>
                    <a:pt x="204" y="1"/>
                  </a:lnTo>
                  <a:lnTo>
                    <a:pt x="206" y="2"/>
                  </a:lnTo>
                  <a:lnTo>
                    <a:pt x="207" y="3"/>
                  </a:lnTo>
                  <a:lnTo>
                    <a:pt x="209" y="6"/>
                  </a:lnTo>
                  <a:lnTo>
                    <a:pt x="209" y="7"/>
                  </a:lnTo>
                  <a:lnTo>
                    <a:pt x="307" y="386"/>
                  </a:lnTo>
                  <a:lnTo>
                    <a:pt x="307" y="387"/>
                  </a:lnTo>
                  <a:lnTo>
                    <a:pt x="308" y="388"/>
                  </a:lnTo>
                  <a:lnTo>
                    <a:pt x="310" y="389"/>
                  </a:lnTo>
                  <a:lnTo>
                    <a:pt x="312" y="389"/>
                  </a:lnTo>
                  <a:lnTo>
                    <a:pt x="313" y="387"/>
                  </a:lnTo>
                  <a:lnTo>
                    <a:pt x="313" y="386"/>
                  </a:lnTo>
                  <a:lnTo>
                    <a:pt x="401" y="7"/>
                  </a:lnTo>
                  <a:lnTo>
                    <a:pt x="402" y="5"/>
                  </a:lnTo>
                  <a:lnTo>
                    <a:pt x="403" y="3"/>
                  </a:lnTo>
                  <a:lnTo>
                    <a:pt x="406" y="1"/>
                  </a:lnTo>
                  <a:lnTo>
                    <a:pt x="409" y="0"/>
                  </a:lnTo>
                  <a:lnTo>
                    <a:pt x="410" y="0"/>
                  </a:lnTo>
                  <a:lnTo>
                    <a:pt x="607" y="0"/>
                  </a:lnTo>
                  <a:lnTo>
                    <a:pt x="610" y="0"/>
                  </a:lnTo>
                  <a:lnTo>
                    <a:pt x="611" y="1"/>
                  </a:lnTo>
                  <a:lnTo>
                    <a:pt x="614" y="4"/>
                  </a:lnTo>
                  <a:lnTo>
                    <a:pt x="615" y="6"/>
                  </a:lnTo>
                  <a:lnTo>
                    <a:pt x="615" y="7"/>
                  </a:lnTo>
                  <a:lnTo>
                    <a:pt x="615" y="572"/>
                  </a:lnTo>
                  <a:lnTo>
                    <a:pt x="614" y="575"/>
                  </a:lnTo>
                  <a:lnTo>
                    <a:pt x="613" y="576"/>
                  </a:lnTo>
                  <a:lnTo>
                    <a:pt x="611" y="579"/>
                  </a:lnTo>
                  <a:lnTo>
                    <a:pt x="608" y="579"/>
                  </a:lnTo>
                  <a:lnTo>
                    <a:pt x="607" y="580"/>
                  </a:lnTo>
                  <a:lnTo>
                    <a:pt x="473" y="580"/>
                  </a:lnTo>
                  <a:lnTo>
                    <a:pt x="470" y="579"/>
                  </a:lnTo>
                  <a:lnTo>
                    <a:pt x="468" y="578"/>
                  </a:lnTo>
                  <a:lnTo>
                    <a:pt x="466" y="576"/>
                  </a:lnTo>
                  <a:lnTo>
                    <a:pt x="465" y="573"/>
                  </a:lnTo>
                  <a:lnTo>
                    <a:pt x="465" y="572"/>
                  </a:lnTo>
                  <a:lnTo>
                    <a:pt x="465" y="226"/>
                  </a:lnTo>
                  <a:lnTo>
                    <a:pt x="465" y="224"/>
                  </a:lnTo>
                  <a:lnTo>
                    <a:pt x="464" y="223"/>
                  </a:lnTo>
                  <a:lnTo>
                    <a:pt x="463" y="222"/>
                  </a:lnTo>
                  <a:lnTo>
                    <a:pt x="462" y="222"/>
                  </a:lnTo>
                  <a:lnTo>
                    <a:pt x="461" y="222"/>
                  </a:lnTo>
                  <a:lnTo>
                    <a:pt x="460" y="223"/>
                  </a:lnTo>
                  <a:lnTo>
                    <a:pt x="458" y="226"/>
                  </a:lnTo>
                  <a:lnTo>
                    <a:pt x="452" y="264"/>
                  </a:lnTo>
                  <a:lnTo>
                    <a:pt x="446" y="298"/>
                  </a:lnTo>
                  <a:lnTo>
                    <a:pt x="443" y="314"/>
                  </a:lnTo>
                  <a:lnTo>
                    <a:pt x="440" y="330"/>
                  </a:lnTo>
                  <a:lnTo>
                    <a:pt x="436" y="346"/>
                  </a:lnTo>
                  <a:lnTo>
                    <a:pt x="432" y="362"/>
                  </a:lnTo>
                  <a:lnTo>
                    <a:pt x="373" y="572"/>
                  </a:lnTo>
                  <a:lnTo>
                    <a:pt x="372" y="575"/>
                  </a:lnTo>
                  <a:lnTo>
                    <a:pt x="371" y="577"/>
                  </a:lnTo>
                  <a:lnTo>
                    <a:pt x="368" y="579"/>
                  </a:lnTo>
                  <a:lnTo>
                    <a:pt x="365" y="579"/>
                  </a:lnTo>
                  <a:lnTo>
                    <a:pt x="364" y="580"/>
                  </a:lnTo>
                  <a:lnTo>
                    <a:pt x="241" y="580"/>
                  </a:lnTo>
                  <a:lnTo>
                    <a:pt x="238" y="579"/>
                  </a:lnTo>
                  <a:lnTo>
                    <a:pt x="236" y="578"/>
                  </a:lnTo>
                  <a:lnTo>
                    <a:pt x="234" y="577"/>
                  </a:lnTo>
                  <a:lnTo>
                    <a:pt x="233" y="576"/>
                  </a:lnTo>
                  <a:lnTo>
                    <a:pt x="232" y="573"/>
                  </a:lnTo>
                  <a:lnTo>
                    <a:pt x="231" y="572"/>
                  </a:lnTo>
                  <a:lnTo>
                    <a:pt x="174" y="362"/>
                  </a:lnTo>
                  <a:lnTo>
                    <a:pt x="169" y="345"/>
                  </a:lnTo>
                  <a:lnTo>
                    <a:pt x="165" y="330"/>
                  </a:lnTo>
                  <a:lnTo>
                    <a:pt x="159" y="301"/>
                  </a:lnTo>
                  <a:lnTo>
                    <a:pt x="153" y="268"/>
                  </a:lnTo>
                  <a:lnTo>
                    <a:pt x="146" y="224"/>
                  </a:lnTo>
                  <a:lnTo>
                    <a:pt x="146" y="223"/>
                  </a:lnTo>
                  <a:lnTo>
                    <a:pt x="145" y="222"/>
                  </a:lnTo>
                  <a:lnTo>
                    <a:pt x="142" y="221"/>
                  </a:lnTo>
                  <a:lnTo>
                    <a:pt x="140" y="222"/>
                  </a:lnTo>
                  <a:lnTo>
                    <a:pt x="140" y="223"/>
                  </a:lnTo>
                  <a:lnTo>
                    <a:pt x="139" y="224"/>
                  </a:lnTo>
                  <a:lnTo>
                    <a:pt x="139" y="572"/>
                  </a:lnTo>
                  <a:lnTo>
                    <a:pt x="139" y="575"/>
                  </a:lnTo>
                  <a:lnTo>
                    <a:pt x="138" y="576"/>
                  </a:lnTo>
                  <a:lnTo>
                    <a:pt x="136" y="579"/>
                  </a:lnTo>
                  <a:lnTo>
                    <a:pt x="133" y="579"/>
                  </a:lnTo>
                  <a:lnTo>
                    <a:pt x="132" y="580"/>
                  </a:lnTo>
                  <a:lnTo>
                    <a:pt x="8" y="580"/>
                  </a:lnTo>
                  <a:lnTo>
                    <a:pt x="5" y="579"/>
                  </a:lnTo>
                  <a:lnTo>
                    <a:pt x="3" y="578"/>
                  </a:lnTo>
                  <a:lnTo>
                    <a:pt x="1" y="576"/>
                  </a:lnTo>
                  <a:lnTo>
                    <a:pt x="0" y="573"/>
                  </a:lnTo>
                  <a:lnTo>
                    <a:pt x="0" y="572"/>
                  </a:lnTo>
                  <a:close/>
                  <a:moveTo>
                    <a:pt x="1063" y="408"/>
                  </a:moveTo>
                  <a:lnTo>
                    <a:pt x="1062" y="410"/>
                  </a:lnTo>
                  <a:lnTo>
                    <a:pt x="1062" y="412"/>
                  </a:lnTo>
                  <a:lnTo>
                    <a:pt x="1061" y="413"/>
                  </a:lnTo>
                  <a:lnTo>
                    <a:pt x="1060" y="414"/>
                  </a:lnTo>
                  <a:lnTo>
                    <a:pt x="1058" y="414"/>
                  </a:lnTo>
                  <a:lnTo>
                    <a:pt x="1057" y="414"/>
                  </a:lnTo>
                  <a:lnTo>
                    <a:pt x="801" y="414"/>
                  </a:lnTo>
                  <a:lnTo>
                    <a:pt x="799" y="415"/>
                  </a:lnTo>
                  <a:lnTo>
                    <a:pt x="797" y="415"/>
                  </a:lnTo>
                  <a:lnTo>
                    <a:pt x="796" y="417"/>
                  </a:lnTo>
                  <a:lnTo>
                    <a:pt x="795" y="418"/>
                  </a:lnTo>
                  <a:lnTo>
                    <a:pt x="795" y="421"/>
                  </a:lnTo>
                  <a:lnTo>
                    <a:pt x="795" y="422"/>
                  </a:lnTo>
                  <a:lnTo>
                    <a:pt x="796" y="430"/>
                  </a:lnTo>
                  <a:lnTo>
                    <a:pt x="799" y="438"/>
                  </a:lnTo>
                  <a:lnTo>
                    <a:pt x="801" y="445"/>
                  </a:lnTo>
                  <a:lnTo>
                    <a:pt x="804" y="451"/>
                  </a:lnTo>
                  <a:lnTo>
                    <a:pt x="808" y="457"/>
                  </a:lnTo>
                  <a:lnTo>
                    <a:pt x="812" y="462"/>
                  </a:lnTo>
                  <a:lnTo>
                    <a:pt x="817" y="466"/>
                  </a:lnTo>
                  <a:lnTo>
                    <a:pt x="822" y="470"/>
                  </a:lnTo>
                  <a:lnTo>
                    <a:pt x="827" y="473"/>
                  </a:lnTo>
                  <a:lnTo>
                    <a:pt x="833" y="476"/>
                  </a:lnTo>
                  <a:lnTo>
                    <a:pt x="840" y="478"/>
                  </a:lnTo>
                  <a:lnTo>
                    <a:pt x="846" y="480"/>
                  </a:lnTo>
                  <a:lnTo>
                    <a:pt x="854" y="481"/>
                  </a:lnTo>
                  <a:lnTo>
                    <a:pt x="861" y="482"/>
                  </a:lnTo>
                  <a:lnTo>
                    <a:pt x="878" y="482"/>
                  </a:lnTo>
                  <a:lnTo>
                    <a:pt x="886" y="482"/>
                  </a:lnTo>
                  <a:lnTo>
                    <a:pt x="894" y="481"/>
                  </a:lnTo>
                  <a:lnTo>
                    <a:pt x="903" y="480"/>
                  </a:lnTo>
                  <a:lnTo>
                    <a:pt x="911" y="479"/>
                  </a:lnTo>
                  <a:lnTo>
                    <a:pt x="928" y="475"/>
                  </a:lnTo>
                  <a:lnTo>
                    <a:pt x="943" y="470"/>
                  </a:lnTo>
                  <a:lnTo>
                    <a:pt x="958" y="464"/>
                  </a:lnTo>
                  <a:lnTo>
                    <a:pt x="971" y="459"/>
                  </a:lnTo>
                  <a:lnTo>
                    <a:pt x="983" y="453"/>
                  </a:lnTo>
                  <a:lnTo>
                    <a:pt x="992" y="448"/>
                  </a:lnTo>
                  <a:lnTo>
                    <a:pt x="994" y="447"/>
                  </a:lnTo>
                  <a:lnTo>
                    <a:pt x="996" y="447"/>
                  </a:lnTo>
                  <a:lnTo>
                    <a:pt x="998" y="447"/>
                  </a:lnTo>
                  <a:lnTo>
                    <a:pt x="999" y="448"/>
                  </a:lnTo>
                  <a:lnTo>
                    <a:pt x="1002" y="450"/>
                  </a:lnTo>
                  <a:lnTo>
                    <a:pt x="1050" y="531"/>
                  </a:lnTo>
                  <a:lnTo>
                    <a:pt x="1052" y="535"/>
                  </a:lnTo>
                  <a:lnTo>
                    <a:pt x="1052" y="537"/>
                  </a:lnTo>
                  <a:lnTo>
                    <a:pt x="1051" y="538"/>
                  </a:lnTo>
                  <a:lnTo>
                    <a:pt x="1051" y="540"/>
                  </a:lnTo>
                  <a:lnTo>
                    <a:pt x="1050" y="540"/>
                  </a:lnTo>
                  <a:lnTo>
                    <a:pt x="1048" y="542"/>
                  </a:lnTo>
                  <a:lnTo>
                    <a:pt x="1038" y="547"/>
                  </a:lnTo>
                  <a:lnTo>
                    <a:pt x="1028" y="553"/>
                  </a:lnTo>
                  <a:lnTo>
                    <a:pt x="1018" y="558"/>
                  </a:lnTo>
                  <a:lnTo>
                    <a:pt x="1007" y="562"/>
                  </a:lnTo>
                  <a:lnTo>
                    <a:pt x="996" y="567"/>
                  </a:lnTo>
                  <a:lnTo>
                    <a:pt x="985" y="570"/>
                  </a:lnTo>
                  <a:lnTo>
                    <a:pt x="974" y="574"/>
                  </a:lnTo>
                  <a:lnTo>
                    <a:pt x="963" y="577"/>
                  </a:lnTo>
                  <a:lnTo>
                    <a:pt x="951" y="580"/>
                  </a:lnTo>
                  <a:lnTo>
                    <a:pt x="939" y="582"/>
                  </a:lnTo>
                  <a:lnTo>
                    <a:pt x="927" y="584"/>
                  </a:lnTo>
                  <a:lnTo>
                    <a:pt x="915" y="585"/>
                  </a:lnTo>
                  <a:lnTo>
                    <a:pt x="903" y="587"/>
                  </a:lnTo>
                  <a:lnTo>
                    <a:pt x="891" y="587"/>
                  </a:lnTo>
                  <a:lnTo>
                    <a:pt x="866" y="588"/>
                  </a:lnTo>
                  <a:lnTo>
                    <a:pt x="844" y="588"/>
                  </a:lnTo>
                  <a:lnTo>
                    <a:pt x="823" y="586"/>
                  </a:lnTo>
                  <a:lnTo>
                    <a:pt x="813" y="584"/>
                  </a:lnTo>
                  <a:lnTo>
                    <a:pt x="802" y="583"/>
                  </a:lnTo>
                  <a:lnTo>
                    <a:pt x="792" y="580"/>
                  </a:lnTo>
                  <a:lnTo>
                    <a:pt x="782" y="578"/>
                  </a:lnTo>
                  <a:lnTo>
                    <a:pt x="772" y="575"/>
                  </a:lnTo>
                  <a:lnTo>
                    <a:pt x="762" y="572"/>
                  </a:lnTo>
                  <a:lnTo>
                    <a:pt x="753" y="568"/>
                  </a:lnTo>
                  <a:lnTo>
                    <a:pt x="744" y="564"/>
                  </a:lnTo>
                  <a:lnTo>
                    <a:pt x="735" y="559"/>
                  </a:lnTo>
                  <a:lnTo>
                    <a:pt x="726" y="554"/>
                  </a:lnTo>
                  <a:lnTo>
                    <a:pt x="718" y="549"/>
                  </a:lnTo>
                  <a:lnTo>
                    <a:pt x="710" y="543"/>
                  </a:lnTo>
                  <a:lnTo>
                    <a:pt x="702" y="537"/>
                  </a:lnTo>
                  <a:lnTo>
                    <a:pt x="694" y="530"/>
                  </a:lnTo>
                  <a:lnTo>
                    <a:pt x="687" y="522"/>
                  </a:lnTo>
                  <a:lnTo>
                    <a:pt x="681" y="514"/>
                  </a:lnTo>
                  <a:lnTo>
                    <a:pt x="675" y="505"/>
                  </a:lnTo>
                  <a:lnTo>
                    <a:pt x="669" y="496"/>
                  </a:lnTo>
                  <a:lnTo>
                    <a:pt x="664" y="486"/>
                  </a:lnTo>
                  <a:lnTo>
                    <a:pt x="659" y="476"/>
                  </a:lnTo>
                  <a:lnTo>
                    <a:pt x="654" y="465"/>
                  </a:lnTo>
                  <a:lnTo>
                    <a:pt x="652" y="459"/>
                  </a:lnTo>
                  <a:lnTo>
                    <a:pt x="651" y="454"/>
                  </a:lnTo>
                  <a:lnTo>
                    <a:pt x="647" y="441"/>
                  </a:lnTo>
                  <a:lnTo>
                    <a:pt x="645" y="429"/>
                  </a:lnTo>
                  <a:lnTo>
                    <a:pt x="642" y="415"/>
                  </a:lnTo>
                  <a:lnTo>
                    <a:pt x="642" y="408"/>
                  </a:lnTo>
                  <a:lnTo>
                    <a:pt x="641" y="401"/>
                  </a:lnTo>
                  <a:lnTo>
                    <a:pt x="640" y="386"/>
                  </a:lnTo>
                  <a:lnTo>
                    <a:pt x="640" y="370"/>
                  </a:lnTo>
                  <a:lnTo>
                    <a:pt x="640" y="355"/>
                  </a:lnTo>
                  <a:lnTo>
                    <a:pt x="641" y="340"/>
                  </a:lnTo>
                  <a:lnTo>
                    <a:pt x="643" y="326"/>
                  </a:lnTo>
                  <a:lnTo>
                    <a:pt x="646" y="313"/>
                  </a:lnTo>
                  <a:lnTo>
                    <a:pt x="649" y="300"/>
                  </a:lnTo>
                  <a:lnTo>
                    <a:pt x="653" y="288"/>
                  </a:lnTo>
                  <a:lnTo>
                    <a:pt x="657" y="276"/>
                  </a:lnTo>
                  <a:lnTo>
                    <a:pt x="662" y="265"/>
                  </a:lnTo>
                  <a:lnTo>
                    <a:pt x="668" y="255"/>
                  </a:lnTo>
                  <a:lnTo>
                    <a:pt x="674" y="245"/>
                  </a:lnTo>
                  <a:lnTo>
                    <a:pt x="680" y="236"/>
                  </a:lnTo>
                  <a:lnTo>
                    <a:pt x="687" y="227"/>
                  </a:lnTo>
                  <a:lnTo>
                    <a:pt x="694" y="219"/>
                  </a:lnTo>
                  <a:lnTo>
                    <a:pt x="702" y="212"/>
                  </a:lnTo>
                  <a:lnTo>
                    <a:pt x="710" y="204"/>
                  </a:lnTo>
                  <a:lnTo>
                    <a:pt x="718" y="198"/>
                  </a:lnTo>
                  <a:lnTo>
                    <a:pt x="727" y="192"/>
                  </a:lnTo>
                  <a:lnTo>
                    <a:pt x="735" y="186"/>
                  </a:lnTo>
                  <a:lnTo>
                    <a:pt x="744" y="181"/>
                  </a:lnTo>
                  <a:lnTo>
                    <a:pt x="753" y="177"/>
                  </a:lnTo>
                  <a:lnTo>
                    <a:pt x="762" y="172"/>
                  </a:lnTo>
                  <a:lnTo>
                    <a:pt x="771" y="169"/>
                  </a:lnTo>
                  <a:lnTo>
                    <a:pt x="781" y="165"/>
                  </a:lnTo>
                  <a:lnTo>
                    <a:pt x="790" y="162"/>
                  </a:lnTo>
                  <a:lnTo>
                    <a:pt x="799" y="160"/>
                  </a:lnTo>
                  <a:lnTo>
                    <a:pt x="808" y="158"/>
                  </a:lnTo>
                  <a:lnTo>
                    <a:pt x="817" y="156"/>
                  </a:lnTo>
                  <a:lnTo>
                    <a:pt x="826" y="154"/>
                  </a:lnTo>
                  <a:lnTo>
                    <a:pt x="844" y="152"/>
                  </a:lnTo>
                  <a:lnTo>
                    <a:pt x="852" y="152"/>
                  </a:lnTo>
                  <a:lnTo>
                    <a:pt x="860" y="152"/>
                  </a:lnTo>
                  <a:lnTo>
                    <a:pt x="868" y="152"/>
                  </a:lnTo>
                  <a:lnTo>
                    <a:pt x="876" y="152"/>
                  </a:lnTo>
                  <a:lnTo>
                    <a:pt x="893" y="153"/>
                  </a:lnTo>
                  <a:lnTo>
                    <a:pt x="901" y="155"/>
                  </a:lnTo>
                  <a:lnTo>
                    <a:pt x="910" y="156"/>
                  </a:lnTo>
                  <a:lnTo>
                    <a:pt x="927" y="160"/>
                  </a:lnTo>
                  <a:lnTo>
                    <a:pt x="936" y="162"/>
                  </a:lnTo>
                  <a:lnTo>
                    <a:pt x="944" y="165"/>
                  </a:lnTo>
                  <a:lnTo>
                    <a:pt x="953" y="168"/>
                  </a:lnTo>
                  <a:lnTo>
                    <a:pt x="961" y="172"/>
                  </a:lnTo>
                  <a:lnTo>
                    <a:pt x="969" y="177"/>
                  </a:lnTo>
                  <a:lnTo>
                    <a:pt x="977" y="181"/>
                  </a:lnTo>
                  <a:lnTo>
                    <a:pt x="985" y="187"/>
                  </a:lnTo>
                  <a:lnTo>
                    <a:pt x="993" y="193"/>
                  </a:lnTo>
                  <a:lnTo>
                    <a:pt x="1000" y="199"/>
                  </a:lnTo>
                  <a:lnTo>
                    <a:pt x="1007" y="207"/>
                  </a:lnTo>
                  <a:lnTo>
                    <a:pt x="1014" y="215"/>
                  </a:lnTo>
                  <a:lnTo>
                    <a:pt x="1021" y="223"/>
                  </a:lnTo>
                  <a:lnTo>
                    <a:pt x="1027" y="233"/>
                  </a:lnTo>
                  <a:lnTo>
                    <a:pt x="1032" y="243"/>
                  </a:lnTo>
                  <a:lnTo>
                    <a:pt x="1035" y="248"/>
                  </a:lnTo>
                  <a:lnTo>
                    <a:pt x="1038" y="253"/>
                  </a:lnTo>
                  <a:lnTo>
                    <a:pt x="1043" y="265"/>
                  </a:lnTo>
                  <a:lnTo>
                    <a:pt x="1047" y="278"/>
                  </a:lnTo>
                  <a:lnTo>
                    <a:pt x="1051" y="291"/>
                  </a:lnTo>
                  <a:lnTo>
                    <a:pt x="1054" y="305"/>
                  </a:lnTo>
                  <a:lnTo>
                    <a:pt x="1057" y="320"/>
                  </a:lnTo>
                  <a:lnTo>
                    <a:pt x="1060" y="336"/>
                  </a:lnTo>
                  <a:lnTo>
                    <a:pt x="1061" y="354"/>
                  </a:lnTo>
                  <a:lnTo>
                    <a:pt x="1062" y="372"/>
                  </a:lnTo>
                  <a:lnTo>
                    <a:pt x="1063" y="391"/>
                  </a:lnTo>
                  <a:lnTo>
                    <a:pt x="1063" y="408"/>
                  </a:lnTo>
                  <a:close/>
                  <a:moveTo>
                    <a:pt x="918" y="326"/>
                  </a:moveTo>
                  <a:lnTo>
                    <a:pt x="921" y="325"/>
                  </a:lnTo>
                  <a:lnTo>
                    <a:pt x="922" y="325"/>
                  </a:lnTo>
                  <a:lnTo>
                    <a:pt x="923" y="323"/>
                  </a:lnTo>
                  <a:lnTo>
                    <a:pt x="924" y="322"/>
                  </a:lnTo>
                  <a:lnTo>
                    <a:pt x="925" y="319"/>
                  </a:lnTo>
                  <a:lnTo>
                    <a:pt x="924" y="318"/>
                  </a:lnTo>
                  <a:lnTo>
                    <a:pt x="923" y="311"/>
                  </a:lnTo>
                  <a:lnTo>
                    <a:pt x="922" y="304"/>
                  </a:lnTo>
                  <a:lnTo>
                    <a:pt x="920" y="297"/>
                  </a:lnTo>
                  <a:lnTo>
                    <a:pt x="917" y="291"/>
                  </a:lnTo>
                  <a:lnTo>
                    <a:pt x="915" y="286"/>
                  </a:lnTo>
                  <a:lnTo>
                    <a:pt x="911" y="281"/>
                  </a:lnTo>
                  <a:lnTo>
                    <a:pt x="908" y="277"/>
                  </a:lnTo>
                  <a:lnTo>
                    <a:pt x="904" y="273"/>
                  </a:lnTo>
                  <a:lnTo>
                    <a:pt x="900" y="270"/>
                  </a:lnTo>
                  <a:lnTo>
                    <a:pt x="895" y="267"/>
                  </a:lnTo>
                  <a:lnTo>
                    <a:pt x="890" y="265"/>
                  </a:lnTo>
                  <a:lnTo>
                    <a:pt x="885" y="263"/>
                  </a:lnTo>
                  <a:lnTo>
                    <a:pt x="879" y="262"/>
                  </a:lnTo>
                  <a:lnTo>
                    <a:pt x="873" y="261"/>
                  </a:lnTo>
                  <a:lnTo>
                    <a:pt x="866" y="260"/>
                  </a:lnTo>
                  <a:lnTo>
                    <a:pt x="860" y="260"/>
                  </a:lnTo>
                  <a:lnTo>
                    <a:pt x="854" y="260"/>
                  </a:lnTo>
                  <a:lnTo>
                    <a:pt x="849" y="261"/>
                  </a:lnTo>
                  <a:lnTo>
                    <a:pt x="844" y="262"/>
                  </a:lnTo>
                  <a:lnTo>
                    <a:pt x="839" y="263"/>
                  </a:lnTo>
                  <a:lnTo>
                    <a:pt x="834" y="265"/>
                  </a:lnTo>
                  <a:lnTo>
                    <a:pt x="830" y="267"/>
                  </a:lnTo>
                  <a:lnTo>
                    <a:pt x="826" y="270"/>
                  </a:lnTo>
                  <a:lnTo>
                    <a:pt x="821" y="273"/>
                  </a:lnTo>
                  <a:lnTo>
                    <a:pt x="818" y="277"/>
                  </a:lnTo>
                  <a:lnTo>
                    <a:pt x="814" y="281"/>
                  </a:lnTo>
                  <a:lnTo>
                    <a:pt x="810" y="286"/>
                  </a:lnTo>
                  <a:lnTo>
                    <a:pt x="807" y="291"/>
                  </a:lnTo>
                  <a:lnTo>
                    <a:pt x="804" y="297"/>
                  </a:lnTo>
                  <a:lnTo>
                    <a:pt x="802" y="304"/>
                  </a:lnTo>
                  <a:lnTo>
                    <a:pt x="799" y="311"/>
                  </a:lnTo>
                  <a:lnTo>
                    <a:pt x="797" y="318"/>
                  </a:lnTo>
                  <a:lnTo>
                    <a:pt x="797" y="321"/>
                  </a:lnTo>
                  <a:lnTo>
                    <a:pt x="797" y="323"/>
                  </a:lnTo>
                  <a:lnTo>
                    <a:pt x="798" y="324"/>
                  </a:lnTo>
                  <a:lnTo>
                    <a:pt x="799" y="325"/>
                  </a:lnTo>
                  <a:lnTo>
                    <a:pt x="800" y="326"/>
                  </a:lnTo>
                  <a:lnTo>
                    <a:pt x="802" y="326"/>
                  </a:lnTo>
                  <a:lnTo>
                    <a:pt x="918" y="326"/>
                  </a:lnTo>
                  <a:close/>
                  <a:moveTo>
                    <a:pt x="1595" y="588"/>
                  </a:moveTo>
                  <a:lnTo>
                    <a:pt x="1577" y="588"/>
                  </a:lnTo>
                  <a:lnTo>
                    <a:pt x="1560" y="587"/>
                  </a:lnTo>
                  <a:lnTo>
                    <a:pt x="1543" y="585"/>
                  </a:lnTo>
                  <a:lnTo>
                    <a:pt x="1528" y="584"/>
                  </a:lnTo>
                  <a:lnTo>
                    <a:pt x="1513" y="581"/>
                  </a:lnTo>
                  <a:lnTo>
                    <a:pt x="1499" y="578"/>
                  </a:lnTo>
                  <a:lnTo>
                    <a:pt x="1485" y="575"/>
                  </a:lnTo>
                  <a:lnTo>
                    <a:pt x="1472" y="571"/>
                  </a:lnTo>
                  <a:lnTo>
                    <a:pt x="1460" y="567"/>
                  </a:lnTo>
                  <a:lnTo>
                    <a:pt x="1449" y="563"/>
                  </a:lnTo>
                  <a:lnTo>
                    <a:pt x="1438" y="558"/>
                  </a:lnTo>
                  <a:lnTo>
                    <a:pt x="1427" y="553"/>
                  </a:lnTo>
                  <a:lnTo>
                    <a:pt x="1418" y="548"/>
                  </a:lnTo>
                  <a:lnTo>
                    <a:pt x="1409" y="543"/>
                  </a:lnTo>
                  <a:lnTo>
                    <a:pt x="1393" y="532"/>
                  </a:lnTo>
                  <a:lnTo>
                    <a:pt x="1391" y="531"/>
                  </a:lnTo>
                  <a:lnTo>
                    <a:pt x="1390" y="529"/>
                  </a:lnTo>
                  <a:lnTo>
                    <a:pt x="1389" y="527"/>
                  </a:lnTo>
                  <a:lnTo>
                    <a:pt x="1389" y="525"/>
                  </a:lnTo>
                  <a:lnTo>
                    <a:pt x="1390" y="523"/>
                  </a:lnTo>
                  <a:lnTo>
                    <a:pt x="1391" y="522"/>
                  </a:lnTo>
                  <a:lnTo>
                    <a:pt x="1440" y="446"/>
                  </a:lnTo>
                  <a:lnTo>
                    <a:pt x="1442" y="444"/>
                  </a:lnTo>
                  <a:lnTo>
                    <a:pt x="1443" y="444"/>
                  </a:lnTo>
                  <a:lnTo>
                    <a:pt x="1444" y="443"/>
                  </a:lnTo>
                  <a:lnTo>
                    <a:pt x="1446" y="443"/>
                  </a:lnTo>
                  <a:lnTo>
                    <a:pt x="1448" y="444"/>
                  </a:lnTo>
                  <a:lnTo>
                    <a:pt x="1450" y="445"/>
                  </a:lnTo>
                  <a:lnTo>
                    <a:pt x="1465" y="456"/>
                  </a:lnTo>
                  <a:lnTo>
                    <a:pt x="1483" y="465"/>
                  </a:lnTo>
                  <a:lnTo>
                    <a:pt x="1501" y="473"/>
                  </a:lnTo>
                  <a:lnTo>
                    <a:pt x="1510" y="476"/>
                  </a:lnTo>
                  <a:lnTo>
                    <a:pt x="1520" y="479"/>
                  </a:lnTo>
                  <a:lnTo>
                    <a:pt x="1529" y="482"/>
                  </a:lnTo>
                  <a:lnTo>
                    <a:pt x="1539" y="485"/>
                  </a:lnTo>
                  <a:lnTo>
                    <a:pt x="1558" y="489"/>
                  </a:lnTo>
                  <a:lnTo>
                    <a:pt x="1576" y="491"/>
                  </a:lnTo>
                  <a:lnTo>
                    <a:pt x="1594" y="492"/>
                  </a:lnTo>
                  <a:lnTo>
                    <a:pt x="1604" y="491"/>
                  </a:lnTo>
                  <a:lnTo>
                    <a:pt x="1613" y="490"/>
                  </a:lnTo>
                  <a:lnTo>
                    <a:pt x="1622" y="488"/>
                  </a:lnTo>
                  <a:lnTo>
                    <a:pt x="1629" y="486"/>
                  </a:lnTo>
                  <a:lnTo>
                    <a:pt x="1632" y="484"/>
                  </a:lnTo>
                  <a:lnTo>
                    <a:pt x="1635" y="482"/>
                  </a:lnTo>
                  <a:lnTo>
                    <a:pt x="1638" y="480"/>
                  </a:lnTo>
                  <a:lnTo>
                    <a:pt x="1640" y="477"/>
                  </a:lnTo>
                  <a:lnTo>
                    <a:pt x="1642" y="474"/>
                  </a:lnTo>
                  <a:lnTo>
                    <a:pt x="1643" y="471"/>
                  </a:lnTo>
                  <a:lnTo>
                    <a:pt x="1644" y="468"/>
                  </a:lnTo>
                  <a:lnTo>
                    <a:pt x="1644" y="464"/>
                  </a:lnTo>
                  <a:lnTo>
                    <a:pt x="1644" y="461"/>
                  </a:lnTo>
                  <a:lnTo>
                    <a:pt x="1643" y="457"/>
                  </a:lnTo>
                  <a:lnTo>
                    <a:pt x="1642" y="454"/>
                  </a:lnTo>
                  <a:lnTo>
                    <a:pt x="1641" y="451"/>
                  </a:lnTo>
                  <a:lnTo>
                    <a:pt x="1640" y="449"/>
                  </a:lnTo>
                  <a:lnTo>
                    <a:pt x="1638" y="448"/>
                  </a:lnTo>
                  <a:lnTo>
                    <a:pt x="1636" y="445"/>
                  </a:lnTo>
                  <a:lnTo>
                    <a:pt x="1629" y="441"/>
                  </a:lnTo>
                  <a:lnTo>
                    <a:pt x="1620" y="437"/>
                  </a:lnTo>
                  <a:lnTo>
                    <a:pt x="1609" y="434"/>
                  </a:lnTo>
                  <a:lnTo>
                    <a:pt x="1595" y="432"/>
                  </a:lnTo>
                  <a:lnTo>
                    <a:pt x="1579" y="429"/>
                  </a:lnTo>
                  <a:lnTo>
                    <a:pt x="1551" y="425"/>
                  </a:lnTo>
                  <a:lnTo>
                    <a:pt x="1537" y="422"/>
                  </a:lnTo>
                  <a:lnTo>
                    <a:pt x="1522" y="419"/>
                  </a:lnTo>
                  <a:lnTo>
                    <a:pt x="1508" y="415"/>
                  </a:lnTo>
                  <a:lnTo>
                    <a:pt x="1493" y="411"/>
                  </a:lnTo>
                  <a:lnTo>
                    <a:pt x="1480" y="405"/>
                  </a:lnTo>
                  <a:lnTo>
                    <a:pt x="1466" y="398"/>
                  </a:lnTo>
                  <a:lnTo>
                    <a:pt x="1460" y="395"/>
                  </a:lnTo>
                  <a:lnTo>
                    <a:pt x="1454" y="391"/>
                  </a:lnTo>
                  <a:lnTo>
                    <a:pt x="1448" y="386"/>
                  </a:lnTo>
                  <a:lnTo>
                    <a:pt x="1443" y="382"/>
                  </a:lnTo>
                  <a:lnTo>
                    <a:pt x="1438" y="377"/>
                  </a:lnTo>
                  <a:lnTo>
                    <a:pt x="1433" y="371"/>
                  </a:lnTo>
                  <a:lnTo>
                    <a:pt x="1428" y="366"/>
                  </a:lnTo>
                  <a:lnTo>
                    <a:pt x="1424" y="359"/>
                  </a:lnTo>
                  <a:lnTo>
                    <a:pt x="1420" y="353"/>
                  </a:lnTo>
                  <a:lnTo>
                    <a:pt x="1417" y="346"/>
                  </a:lnTo>
                  <a:lnTo>
                    <a:pt x="1414" y="338"/>
                  </a:lnTo>
                  <a:lnTo>
                    <a:pt x="1411" y="330"/>
                  </a:lnTo>
                  <a:lnTo>
                    <a:pt x="1410" y="322"/>
                  </a:lnTo>
                  <a:lnTo>
                    <a:pt x="1408" y="313"/>
                  </a:lnTo>
                  <a:lnTo>
                    <a:pt x="1408" y="308"/>
                  </a:lnTo>
                  <a:lnTo>
                    <a:pt x="1407" y="304"/>
                  </a:lnTo>
                  <a:lnTo>
                    <a:pt x="1407" y="294"/>
                  </a:lnTo>
                  <a:lnTo>
                    <a:pt x="1407" y="285"/>
                  </a:lnTo>
                  <a:lnTo>
                    <a:pt x="1408" y="277"/>
                  </a:lnTo>
                  <a:lnTo>
                    <a:pt x="1409" y="268"/>
                  </a:lnTo>
                  <a:lnTo>
                    <a:pt x="1410" y="261"/>
                  </a:lnTo>
                  <a:lnTo>
                    <a:pt x="1412" y="253"/>
                  </a:lnTo>
                  <a:lnTo>
                    <a:pt x="1415" y="246"/>
                  </a:lnTo>
                  <a:lnTo>
                    <a:pt x="1417" y="239"/>
                  </a:lnTo>
                  <a:lnTo>
                    <a:pt x="1420" y="232"/>
                  </a:lnTo>
                  <a:lnTo>
                    <a:pt x="1424" y="225"/>
                  </a:lnTo>
                  <a:lnTo>
                    <a:pt x="1428" y="219"/>
                  </a:lnTo>
                  <a:lnTo>
                    <a:pt x="1436" y="208"/>
                  </a:lnTo>
                  <a:lnTo>
                    <a:pt x="1441" y="202"/>
                  </a:lnTo>
                  <a:lnTo>
                    <a:pt x="1446" y="197"/>
                  </a:lnTo>
                  <a:lnTo>
                    <a:pt x="1457" y="188"/>
                  </a:lnTo>
                  <a:lnTo>
                    <a:pt x="1463" y="183"/>
                  </a:lnTo>
                  <a:lnTo>
                    <a:pt x="1469" y="179"/>
                  </a:lnTo>
                  <a:lnTo>
                    <a:pt x="1483" y="172"/>
                  </a:lnTo>
                  <a:lnTo>
                    <a:pt x="1490" y="169"/>
                  </a:lnTo>
                  <a:lnTo>
                    <a:pt x="1497" y="166"/>
                  </a:lnTo>
                  <a:lnTo>
                    <a:pt x="1512" y="161"/>
                  </a:lnTo>
                  <a:lnTo>
                    <a:pt x="1528" y="157"/>
                  </a:lnTo>
                  <a:lnTo>
                    <a:pt x="1544" y="154"/>
                  </a:lnTo>
                  <a:lnTo>
                    <a:pt x="1561" y="152"/>
                  </a:lnTo>
                  <a:lnTo>
                    <a:pt x="1579" y="152"/>
                  </a:lnTo>
                  <a:lnTo>
                    <a:pt x="1595" y="152"/>
                  </a:lnTo>
                  <a:lnTo>
                    <a:pt x="1611" y="153"/>
                  </a:lnTo>
                  <a:lnTo>
                    <a:pt x="1626" y="154"/>
                  </a:lnTo>
                  <a:lnTo>
                    <a:pt x="1641" y="156"/>
                  </a:lnTo>
                  <a:lnTo>
                    <a:pt x="1654" y="158"/>
                  </a:lnTo>
                  <a:lnTo>
                    <a:pt x="1667" y="160"/>
                  </a:lnTo>
                  <a:lnTo>
                    <a:pt x="1679" y="163"/>
                  </a:lnTo>
                  <a:lnTo>
                    <a:pt x="1691" y="167"/>
                  </a:lnTo>
                  <a:lnTo>
                    <a:pt x="1702" y="170"/>
                  </a:lnTo>
                  <a:lnTo>
                    <a:pt x="1713" y="174"/>
                  </a:lnTo>
                  <a:lnTo>
                    <a:pt x="1723" y="179"/>
                  </a:lnTo>
                  <a:lnTo>
                    <a:pt x="1733" y="183"/>
                  </a:lnTo>
                  <a:lnTo>
                    <a:pt x="1742" y="188"/>
                  </a:lnTo>
                  <a:lnTo>
                    <a:pt x="1751" y="194"/>
                  </a:lnTo>
                  <a:lnTo>
                    <a:pt x="1768" y="205"/>
                  </a:lnTo>
                  <a:lnTo>
                    <a:pt x="1770" y="207"/>
                  </a:lnTo>
                  <a:lnTo>
                    <a:pt x="1771" y="209"/>
                  </a:lnTo>
                  <a:lnTo>
                    <a:pt x="1772" y="211"/>
                  </a:lnTo>
                  <a:lnTo>
                    <a:pt x="1772" y="212"/>
                  </a:lnTo>
                  <a:lnTo>
                    <a:pt x="1771" y="215"/>
                  </a:lnTo>
                  <a:lnTo>
                    <a:pt x="1770" y="216"/>
                  </a:lnTo>
                  <a:lnTo>
                    <a:pt x="1722" y="288"/>
                  </a:lnTo>
                  <a:lnTo>
                    <a:pt x="1720" y="290"/>
                  </a:lnTo>
                  <a:lnTo>
                    <a:pt x="1718" y="292"/>
                  </a:lnTo>
                  <a:lnTo>
                    <a:pt x="1716" y="292"/>
                  </a:lnTo>
                  <a:lnTo>
                    <a:pt x="1715" y="292"/>
                  </a:lnTo>
                  <a:lnTo>
                    <a:pt x="1711" y="292"/>
                  </a:lnTo>
                  <a:lnTo>
                    <a:pt x="1708" y="290"/>
                  </a:lnTo>
                  <a:lnTo>
                    <a:pt x="1693" y="282"/>
                  </a:lnTo>
                  <a:lnTo>
                    <a:pt x="1677" y="274"/>
                  </a:lnTo>
                  <a:lnTo>
                    <a:pt x="1662" y="268"/>
                  </a:lnTo>
                  <a:lnTo>
                    <a:pt x="1647" y="263"/>
                  </a:lnTo>
                  <a:lnTo>
                    <a:pt x="1633" y="258"/>
                  </a:lnTo>
                  <a:lnTo>
                    <a:pt x="1619" y="255"/>
                  </a:lnTo>
                  <a:lnTo>
                    <a:pt x="1612" y="254"/>
                  </a:lnTo>
                  <a:lnTo>
                    <a:pt x="1606" y="254"/>
                  </a:lnTo>
                  <a:lnTo>
                    <a:pt x="1593" y="253"/>
                  </a:lnTo>
                  <a:lnTo>
                    <a:pt x="1584" y="253"/>
                  </a:lnTo>
                  <a:lnTo>
                    <a:pt x="1576" y="254"/>
                  </a:lnTo>
                  <a:lnTo>
                    <a:pt x="1568" y="256"/>
                  </a:lnTo>
                  <a:lnTo>
                    <a:pt x="1562" y="259"/>
                  </a:lnTo>
                  <a:lnTo>
                    <a:pt x="1560" y="261"/>
                  </a:lnTo>
                  <a:lnTo>
                    <a:pt x="1557" y="263"/>
                  </a:lnTo>
                  <a:lnTo>
                    <a:pt x="1554" y="267"/>
                  </a:lnTo>
                  <a:lnTo>
                    <a:pt x="1552" y="270"/>
                  </a:lnTo>
                  <a:lnTo>
                    <a:pt x="1551" y="273"/>
                  </a:lnTo>
                  <a:lnTo>
                    <a:pt x="1551" y="276"/>
                  </a:lnTo>
                  <a:lnTo>
                    <a:pt x="1550" y="280"/>
                  </a:lnTo>
                  <a:lnTo>
                    <a:pt x="1551" y="283"/>
                  </a:lnTo>
                  <a:lnTo>
                    <a:pt x="1551" y="286"/>
                  </a:lnTo>
                  <a:lnTo>
                    <a:pt x="1553" y="289"/>
                  </a:lnTo>
                  <a:lnTo>
                    <a:pt x="1555" y="292"/>
                  </a:lnTo>
                  <a:lnTo>
                    <a:pt x="1557" y="295"/>
                  </a:lnTo>
                  <a:lnTo>
                    <a:pt x="1560" y="297"/>
                  </a:lnTo>
                  <a:lnTo>
                    <a:pt x="1563" y="299"/>
                  </a:lnTo>
                  <a:lnTo>
                    <a:pt x="1567" y="301"/>
                  </a:lnTo>
                  <a:lnTo>
                    <a:pt x="1576" y="304"/>
                  </a:lnTo>
                  <a:lnTo>
                    <a:pt x="1587" y="307"/>
                  </a:lnTo>
                  <a:lnTo>
                    <a:pt x="1600" y="309"/>
                  </a:lnTo>
                  <a:lnTo>
                    <a:pt x="1615" y="312"/>
                  </a:lnTo>
                  <a:lnTo>
                    <a:pt x="1642" y="316"/>
                  </a:lnTo>
                  <a:lnTo>
                    <a:pt x="1657" y="318"/>
                  </a:lnTo>
                  <a:lnTo>
                    <a:pt x="1672" y="321"/>
                  </a:lnTo>
                  <a:lnTo>
                    <a:pt x="1686" y="325"/>
                  </a:lnTo>
                  <a:lnTo>
                    <a:pt x="1701" y="329"/>
                  </a:lnTo>
                  <a:lnTo>
                    <a:pt x="1715" y="334"/>
                  </a:lnTo>
                  <a:lnTo>
                    <a:pt x="1728" y="340"/>
                  </a:lnTo>
                  <a:lnTo>
                    <a:pt x="1740" y="348"/>
                  </a:lnTo>
                  <a:lnTo>
                    <a:pt x="1746" y="352"/>
                  </a:lnTo>
                  <a:lnTo>
                    <a:pt x="1752" y="356"/>
                  </a:lnTo>
                  <a:lnTo>
                    <a:pt x="1757" y="361"/>
                  </a:lnTo>
                  <a:lnTo>
                    <a:pt x="1762" y="366"/>
                  </a:lnTo>
                  <a:lnTo>
                    <a:pt x="1766" y="371"/>
                  </a:lnTo>
                  <a:lnTo>
                    <a:pt x="1771" y="377"/>
                  </a:lnTo>
                  <a:lnTo>
                    <a:pt x="1774" y="383"/>
                  </a:lnTo>
                  <a:lnTo>
                    <a:pt x="1778" y="390"/>
                  </a:lnTo>
                  <a:lnTo>
                    <a:pt x="1781" y="397"/>
                  </a:lnTo>
                  <a:lnTo>
                    <a:pt x="1783" y="404"/>
                  </a:lnTo>
                  <a:lnTo>
                    <a:pt x="1785" y="412"/>
                  </a:lnTo>
                  <a:lnTo>
                    <a:pt x="1787" y="420"/>
                  </a:lnTo>
                  <a:lnTo>
                    <a:pt x="1787" y="425"/>
                  </a:lnTo>
                  <a:lnTo>
                    <a:pt x="1787" y="429"/>
                  </a:lnTo>
                  <a:lnTo>
                    <a:pt x="1788" y="438"/>
                  </a:lnTo>
                  <a:lnTo>
                    <a:pt x="1787" y="449"/>
                  </a:lnTo>
                  <a:lnTo>
                    <a:pt x="1787" y="458"/>
                  </a:lnTo>
                  <a:lnTo>
                    <a:pt x="1785" y="468"/>
                  </a:lnTo>
                  <a:lnTo>
                    <a:pt x="1783" y="477"/>
                  </a:lnTo>
                  <a:lnTo>
                    <a:pt x="1781" y="485"/>
                  </a:lnTo>
                  <a:lnTo>
                    <a:pt x="1778" y="494"/>
                  </a:lnTo>
                  <a:lnTo>
                    <a:pt x="1775" y="501"/>
                  </a:lnTo>
                  <a:lnTo>
                    <a:pt x="1771" y="509"/>
                  </a:lnTo>
                  <a:lnTo>
                    <a:pt x="1767" y="516"/>
                  </a:lnTo>
                  <a:lnTo>
                    <a:pt x="1763" y="523"/>
                  </a:lnTo>
                  <a:lnTo>
                    <a:pt x="1758" y="529"/>
                  </a:lnTo>
                  <a:lnTo>
                    <a:pt x="1752" y="535"/>
                  </a:lnTo>
                  <a:lnTo>
                    <a:pt x="1747" y="540"/>
                  </a:lnTo>
                  <a:lnTo>
                    <a:pt x="1741" y="546"/>
                  </a:lnTo>
                  <a:lnTo>
                    <a:pt x="1734" y="550"/>
                  </a:lnTo>
                  <a:lnTo>
                    <a:pt x="1728" y="555"/>
                  </a:lnTo>
                  <a:lnTo>
                    <a:pt x="1721" y="559"/>
                  </a:lnTo>
                  <a:lnTo>
                    <a:pt x="1714" y="563"/>
                  </a:lnTo>
                  <a:lnTo>
                    <a:pt x="1699" y="570"/>
                  </a:lnTo>
                  <a:lnTo>
                    <a:pt x="1683" y="576"/>
                  </a:lnTo>
                  <a:lnTo>
                    <a:pt x="1675" y="578"/>
                  </a:lnTo>
                  <a:lnTo>
                    <a:pt x="1666" y="580"/>
                  </a:lnTo>
                  <a:lnTo>
                    <a:pt x="1649" y="584"/>
                  </a:lnTo>
                  <a:lnTo>
                    <a:pt x="1631" y="586"/>
                  </a:lnTo>
                  <a:lnTo>
                    <a:pt x="1613" y="588"/>
                  </a:lnTo>
                  <a:lnTo>
                    <a:pt x="1595" y="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Tree>
    <p:extLst>
      <p:ext uri="{BB962C8B-B14F-4D97-AF65-F5344CB8AC3E}">
        <p14:creationId xmlns:p14="http://schemas.microsoft.com/office/powerpoint/2010/main" val="1101241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Section header / kiivi">
    <p:bg>
      <p:bgPr>
        <a:solidFill>
          <a:srgbClr val="808176"/>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noFill/>
              </a:defRPr>
            </a:lvl1pPr>
          </a:lstStyle>
          <a:p>
            <a:fld id="{0EFE15CB-DF76-4428-AA1A-F64EDAEF0077}" type="datetime1">
              <a:rPr lang="en-GB" smtClean="0"/>
              <a:t>22/10/2025</a:t>
            </a:fld>
            <a:endParaRPr lang="fi-FI"/>
          </a:p>
        </p:txBody>
      </p:sp>
      <p:sp>
        <p:nvSpPr>
          <p:cNvPr id="5" name="Footer Placeholder 4"/>
          <p:cNvSpPr>
            <a:spLocks noGrp="1"/>
          </p:cNvSpPr>
          <p:nvPr>
            <p:ph type="ftr" sz="quarter" idx="11"/>
          </p:nvPr>
        </p:nvSpPr>
        <p:spPr/>
        <p:txBody>
          <a:bodyPr/>
          <a:lstStyle>
            <a:lvl1pPr>
              <a:defRPr>
                <a:noFill/>
              </a:defRPr>
            </a:lvl1pPr>
          </a:lstStyle>
          <a:p>
            <a:r>
              <a:rPr lang="fi-FI"/>
              <a:t>Presentation name / Author</a:t>
            </a:r>
          </a:p>
        </p:txBody>
      </p:sp>
      <p:sp>
        <p:nvSpPr>
          <p:cNvPr id="6" name="Slide Number Placeholder 5"/>
          <p:cNvSpPr>
            <a:spLocks noGrp="1"/>
          </p:cNvSpPr>
          <p:nvPr>
            <p:ph type="sldNum" sz="quarter" idx="12"/>
          </p:nvPr>
        </p:nvSpPr>
        <p:spPr/>
        <p:txBody>
          <a:bodyPr/>
          <a:lstStyle>
            <a:lvl1pPr>
              <a:defRPr>
                <a:noFill/>
              </a:defRPr>
            </a:lvl1pPr>
          </a:lstStyle>
          <a:p>
            <a:fld id="{49A25110-65A2-4B67-BF3F-8D6D3162EF46}" type="slidenum">
              <a:rPr lang="fi-FI" smtClean="0"/>
              <a:pPr/>
              <a:t>‹#›</a:t>
            </a:fld>
            <a:endParaRPr lang="fi-FI"/>
          </a:p>
        </p:txBody>
      </p:sp>
      <p:sp>
        <p:nvSpPr>
          <p:cNvPr id="10" name="Title 1"/>
          <p:cNvSpPr>
            <a:spLocks noGrp="1"/>
          </p:cNvSpPr>
          <p:nvPr>
            <p:ph type="title"/>
          </p:nvPr>
        </p:nvSpPr>
        <p:spPr>
          <a:xfrm>
            <a:off x="766762" y="3035936"/>
            <a:ext cx="10658475" cy="643253"/>
          </a:xfrm>
        </p:spPr>
        <p:txBody>
          <a:bodyPr anchor="ctr" anchorCtr="0">
            <a:spAutoFit/>
          </a:bodyPr>
          <a:lstStyle>
            <a:lvl1pPr algn="l">
              <a:lnSpc>
                <a:spcPct val="95000"/>
              </a:lnSpc>
              <a:defRPr sz="4400" b="0" cap="none" spc="0" baseline="0">
                <a:solidFill>
                  <a:schemeClr val="bg1"/>
                </a:solidFill>
              </a:defRPr>
            </a:lvl1pPr>
          </a:lstStyle>
          <a:p>
            <a:r>
              <a:rPr lang="en-US"/>
              <a:t>Click to edit Master title style</a:t>
            </a:r>
            <a:endParaRPr lang="fi-FI" dirty="0"/>
          </a:p>
        </p:txBody>
      </p:sp>
      <p:grpSp>
        <p:nvGrpSpPr>
          <p:cNvPr id="11" name="Group 10"/>
          <p:cNvGrpSpPr>
            <a:grpSpLocks noChangeAspect="1"/>
          </p:cNvGrpSpPr>
          <p:nvPr userDrawn="1"/>
        </p:nvGrpSpPr>
        <p:grpSpPr>
          <a:xfrm>
            <a:off x="335360" y="6093296"/>
            <a:ext cx="1243838" cy="432000"/>
            <a:chOff x="3279775" y="2451101"/>
            <a:chExt cx="5640388" cy="1958974"/>
          </a:xfrm>
          <a:solidFill>
            <a:schemeClr val="bg1"/>
          </a:solidFill>
        </p:grpSpPr>
        <p:sp>
          <p:nvSpPr>
            <p:cNvPr id="12" name="Freeform 6"/>
            <p:cNvSpPr>
              <a:spLocks/>
            </p:cNvSpPr>
            <p:nvPr userDrawn="1"/>
          </p:nvSpPr>
          <p:spPr bwMode="auto">
            <a:xfrm>
              <a:off x="3279775" y="2451101"/>
              <a:ext cx="1838325" cy="1944687"/>
            </a:xfrm>
            <a:custGeom>
              <a:avLst/>
              <a:gdLst>
                <a:gd name="T0" fmla="*/ 978 w 1158"/>
                <a:gd name="T1" fmla="*/ 608 h 1225"/>
                <a:gd name="T2" fmla="*/ 974 w 1158"/>
                <a:gd name="T3" fmla="*/ 610 h 1225"/>
                <a:gd name="T4" fmla="*/ 968 w 1158"/>
                <a:gd name="T5" fmla="*/ 608 h 1225"/>
                <a:gd name="T6" fmla="*/ 966 w 1158"/>
                <a:gd name="T7" fmla="*/ 134 h 1225"/>
                <a:gd name="T8" fmla="*/ 963 w 1158"/>
                <a:gd name="T9" fmla="*/ 128 h 1225"/>
                <a:gd name="T10" fmla="*/ 956 w 1158"/>
                <a:gd name="T11" fmla="*/ 128 h 1225"/>
                <a:gd name="T12" fmla="*/ 953 w 1158"/>
                <a:gd name="T13" fmla="*/ 132 h 1225"/>
                <a:gd name="T14" fmla="*/ 784 w 1158"/>
                <a:gd name="T15" fmla="*/ 603 h 1225"/>
                <a:gd name="T16" fmla="*/ 779 w 1158"/>
                <a:gd name="T17" fmla="*/ 607 h 1225"/>
                <a:gd name="T18" fmla="*/ 773 w 1158"/>
                <a:gd name="T19" fmla="*/ 605 h 1225"/>
                <a:gd name="T20" fmla="*/ 771 w 1158"/>
                <a:gd name="T21" fmla="*/ 466 h 1225"/>
                <a:gd name="T22" fmla="*/ 769 w 1158"/>
                <a:gd name="T23" fmla="*/ 461 h 1225"/>
                <a:gd name="T24" fmla="*/ 764 w 1158"/>
                <a:gd name="T25" fmla="*/ 459 h 1225"/>
                <a:gd name="T26" fmla="*/ 584 w 1158"/>
                <a:gd name="T27" fmla="*/ 614 h 1225"/>
                <a:gd name="T28" fmla="*/ 579 w 1158"/>
                <a:gd name="T29" fmla="*/ 616 h 1225"/>
                <a:gd name="T30" fmla="*/ 396 w 1158"/>
                <a:gd name="T31" fmla="*/ 461 h 1225"/>
                <a:gd name="T32" fmla="*/ 390 w 1158"/>
                <a:gd name="T33" fmla="*/ 460 h 1225"/>
                <a:gd name="T34" fmla="*/ 386 w 1158"/>
                <a:gd name="T35" fmla="*/ 464 h 1225"/>
                <a:gd name="T36" fmla="*/ 386 w 1158"/>
                <a:gd name="T37" fmla="*/ 603 h 1225"/>
                <a:gd name="T38" fmla="*/ 381 w 1158"/>
                <a:gd name="T39" fmla="*/ 607 h 1225"/>
                <a:gd name="T40" fmla="*/ 375 w 1158"/>
                <a:gd name="T41" fmla="*/ 605 h 1225"/>
                <a:gd name="T42" fmla="*/ 292 w 1158"/>
                <a:gd name="T43" fmla="*/ 378 h 1225"/>
                <a:gd name="T44" fmla="*/ 203 w 1158"/>
                <a:gd name="T45" fmla="*/ 130 h 1225"/>
                <a:gd name="T46" fmla="*/ 197 w 1158"/>
                <a:gd name="T47" fmla="*/ 128 h 1225"/>
                <a:gd name="T48" fmla="*/ 192 w 1158"/>
                <a:gd name="T49" fmla="*/ 132 h 1225"/>
                <a:gd name="T50" fmla="*/ 191 w 1158"/>
                <a:gd name="T51" fmla="*/ 606 h 1225"/>
                <a:gd name="T52" fmla="*/ 186 w 1158"/>
                <a:gd name="T53" fmla="*/ 610 h 1225"/>
                <a:gd name="T54" fmla="*/ 181 w 1158"/>
                <a:gd name="T55" fmla="*/ 609 h 1225"/>
                <a:gd name="T56" fmla="*/ 13 w 1158"/>
                <a:gd name="T57" fmla="*/ 5 h 1225"/>
                <a:gd name="T58" fmla="*/ 10 w 1158"/>
                <a:gd name="T59" fmla="*/ 1 h 1225"/>
                <a:gd name="T60" fmla="*/ 4 w 1158"/>
                <a:gd name="T61" fmla="*/ 1 h 1225"/>
                <a:gd name="T62" fmla="*/ 0 w 1158"/>
                <a:gd name="T63" fmla="*/ 7 h 1225"/>
                <a:gd name="T64" fmla="*/ 1 w 1158"/>
                <a:gd name="T65" fmla="*/ 552 h 1225"/>
                <a:gd name="T66" fmla="*/ 147 w 1158"/>
                <a:gd name="T67" fmla="*/ 644 h 1225"/>
                <a:gd name="T68" fmla="*/ 389 w 1158"/>
                <a:gd name="T69" fmla="*/ 646 h 1225"/>
                <a:gd name="T70" fmla="*/ 397 w 1158"/>
                <a:gd name="T71" fmla="*/ 649 h 1225"/>
                <a:gd name="T72" fmla="*/ 500 w 1158"/>
                <a:gd name="T73" fmla="*/ 909 h 1225"/>
                <a:gd name="T74" fmla="*/ 501 w 1158"/>
                <a:gd name="T75" fmla="*/ 917 h 1225"/>
                <a:gd name="T76" fmla="*/ 447 w 1158"/>
                <a:gd name="T77" fmla="*/ 1030 h 1225"/>
                <a:gd name="T78" fmla="*/ 519 w 1158"/>
                <a:gd name="T79" fmla="*/ 1218 h 1225"/>
                <a:gd name="T80" fmla="*/ 526 w 1158"/>
                <a:gd name="T81" fmla="*/ 1224 h 1225"/>
                <a:gd name="T82" fmla="*/ 629 w 1158"/>
                <a:gd name="T83" fmla="*/ 1225 h 1225"/>
                <a:gd name="T84" fmla="*/ 637 w 1158"/>
                <a:gd name="T85" fmla="*/ 1221 h 1225"/>
                <a:gd name="T86" fmla="*/ 710 w 1158"/>
                <a:gd name="T87" fmla="*/ 1036 h 1225"/>
                <a:gd name="T88" fmla="*/ 710 w 1158"/>
                <a:gd name="T89" fmla="*/ 1030 h 1225"/>
                <a:gd name="T90" fmla="*/ 657 w 1158"/>
                <a:gd name="T91" fmla="*/ 917 h 1225"/>
                <a:gd name="T92" fmla="*/ 758 w 1158"/>
                <a:gd name="T93" fmla="*/ 652 h 1225"/>
                <a:gd name="T94" fmla="*/ 765 w 1158"/>
                <a:gd name="T95" fmla="*/ 646 h 1225"/>
                <a:gd name="T96" fmla="*/ 1009 w 1158"/>
                <a:gd name="T97" fmla="*/ 645 h 1225"/>
                <a:gd name="T98" fmla="*/ 1155 w 1158"/>
                <a:gd name="T99" fmla="*/ 554 h 1225"/>
                <a:gd name="T100" fmla="*/ 1158 w 1158"/>
                <a:gd name="T101" fmla="*/ 549 h 1225"/>
                <a:gd name="T102" fmla="*/ 1158 w 1158"/>
                <a:gd name="T103" fmla="*/ 4 h 1225"/>
                <a:gd name="T104" fmla="*/ 1152 w 1158"/>
                <a:gd name="T105" fmla="*/ 0 h 1225"/>
                <a:gd name="T106" fmla="*/ 1146 w 1158"/>
                <a:gd name="T107" fmla="*/ 3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8" h="1225">
                  <a:moveTo>
                    <a:pt x="1145" y="5"/>
                  </a:moveTo>
                  <a:lnTo>
                    <a:pt x="979" y="605"/>
                  </a:lnTo>
                  <a:lnTo>
                    <a:pt x="978" y="608"/>
                  </a:lnTo>
                  <a:lnTo>
                    <a:pt x="977" y="608"/>
                  </a:lnTo>
                  <a:lnTo>
                    <a:pt x="976" y="609"/>
                  </a:lnTo>
                  <a:lnTo>
                    <a:pt x="974" y="610"/>
                  </a:lnTo>
                  <a:lnTo>
                    <a:pt x="972" y="610"/>
                  </a:lnTo>
                  <a:lnTo>
                    <a:pt x="970" y="609"/>
                  </a:lnTo>
                  <a:lnTo>
                    <a:pt x="968" y="608"/>
                  </a:lnTo>
                  <a:lnTo>
                    <a:pt x="967" y="606"/>
                  </a:lnTo>
                  <a:lnTo>
                    <a:pt x="966" y="603"/>
                  </a:lnTo>
                  <a:lnTo>
                    <a:pt x="966" y="134"/>
                  </a:lnTo>
                  <a:lnTo>
                    <a:pt x="966" y="132"/>
                  </a:lnTo>
                  <a:lnTo>
                    <a:pt x="964" y="130"/>
                  </a:lnTo>
                  <a:lnTo>
                    <a:pt x="963" y="128"/>
                  </a:lnTo>
                  <a:lnTo>
                    <a:pt x="961" y="128"/>
                  </a:lnTo>
                  <a:lnTo>
                    <a:pt x="958" y="128"/>
                  </a:lnTo>
                  <a:lnTo>
                    <a:pt x="956" y="128"/>
                  </a:lnTo>
                  <a:lnTo>
                    <a:pt x="955" y="129"/>
                  </a:lnTo>
                  <a:lnTo>
                    <a:pt x="955" y="130"/>
                  </a:lnTo>
                  <a:lnTo>
                    <a:pt x="953" y="132"/>
                  </a:lnTo>
                  <a:lnTo>
                    <a:pt x="916" y="240"/>
                  </a:lnTo>
                  <a:lnTo>
                    <a:pt x="865" y="378"/>
                  </a:lnTo>
                  <a:lnTo>
                    <a:pt x="784" y="603"/>
                  </a:lnTo>
                  <a:lnTo>
                    <a:pt x="782" y="605"/>
                  </a:lnTo>
                  <a:lnTo>
                    <a:pt x="781" y="606"/>
                  </a:lnTo>
                  <a:lnTo>
                    <a:pt x="779" y="607"/>
                  </a:lnTo>
                  <a:lnTo>
                    <a:pt x="776" y="607"/>
                  </a:lnTo>
                  <a:lnTo>
                    <a:pt x="774" y="606"/>
                  </a:lnTo>
                  <a:lnTo>
                    <a:pt x="773" y="605"/>
                  </a:lnTo>
                  <a:lnTo>
                    <a:pt x="772" y="603"/>
                  </a:lnTo>
                  <a:lnTo>
                    <a:pt x="771" y="600"/>
                  </a:lnTo>
                  <a:lnTo>
                    <a:pt x="771" y="466"/>
                  </a:lnTo>
                  <a:lnTo>
                    <a:pt x="771" y="464"/>
                  </a:lnTo>
                  <a:lnTo>
                    <a:pt x="770" y="462"/>
                  </a:lnTo>
                  <a:lnTo>
                    <a:pt x="769" y="461"/>
                  </a:lnTo>
                  <a:lnTo>
                    <a:pt x="767" y="460"/>
                  </a:lnTo>
                  <a:lnTo>
                    <a:pt x="766" y="459"/>
                  </a:lnTo>
                  <a:lnTo>
                    <a:pt x="764" y="459"/>
                  </a:lnTo>
                  <a:lnTo>
                    <a:pt x="762" y="460"/>
                  </a:lnTo>
                  <a:lnTo>
                    <a:pt x="761" y="461"/>
                  </a:lnTo>
                  <a:lnTo>
                    <a:pt x="584" y="614"/>
                  </a:lnTo>
                  <a:lnTo>
                    <a:pt x="583" y="615"/>
                  </a:lnTo>
                  <a:lnTo>
                    <a:pt x="581" y="615"/>
                  </a:lnTo>
                  <a:lnTo>
                    <a:pt x="579" y="616"/>
                  </a:lnTo>
                  <a:lnTo>
                    <a:pt x="576" y="615"/>
                  </a:lnTo>
                  <a:lnTo>
                    <a:pt x="573" y="614"/>
                  </a:lnTo>
                  <a:lnTo>
                    <a:pt x="396" y="461"/>
                  </a:lnTo>
                  <a:lnTo>
                    <a:pt x="393" y="459"/>
                  </a:lnTo>
                  <a:lnTo>
                    <a:pt x="391" y="460"/>
                  </a:lnTo>
                  <a:lnTo>
                    <a:pt x="390" y="460"/>
                  </a:lnTo>
                  <a:lnTo>
                    <a:pt x="388" y="461"/>
                  </a:lnTo>
                  <a:lnTo>
                    <a:pt x="387" y="462"/>
                  </a:lnTo>
                  <a:lnTo>
                    <a:pt x="386" y="464"/>
                  </a:lnTo>
                  <a:lnTo>
                    <a:pt x="386" y="466"/>
                  </a:lnTo>
                  <a:lnTo>
                    <a:pt x="386" y="601"/>
                  </a:lnTo>
                  <a:lnTo>
                    <a:pt x="386" y="603"/>
                  </a:lnTo>
                  <a:lnTo>
                    <a:pt x="384" y="605"/>
                  </a:lnTo>
                  <a:lnTo>
                    <a:pt x="383" y="606"/>
                  </a:lnTo>
                  <a:lnTo>
                    <a:pt x="381" y="607"/>
                  </a:lnTo>
                  <a:lnTo>
                    <a:pt x="379" y="607"/>
                  </a:lnTo>
                  <a:lnTo>
                    <a:pt x="377" y="606"/>
                  </a:lnTo>
                  <a:lnTo>
                    <a:pt x="375" y="605"/>
                  </a:lnTo>
                  <a:lnTo>
                    <a:pt x="374" y="603"/>
                  </a:lnTo>
                  <a:lnTo>
                    <a:pt x="340" y="511"/>
                  </a:lnTo>
                  <a:lnTo>
                    <a:pt x="292" y="378"/>
                  </a:lnTo>
                  <a:lnTo>
                    <a:pt x="242" y="240"/>
                  </a:lnTo>
                  <a:lnTo>
                    <a:pt x="205" y="132"/>
                  </a:lnTo>
                  <a:lnTo>
                    <a:pt x="203" y="130"/>
                  </a:lnTo>
                  <a:lnTo>
                    <a:pt x="202" y="128"/>
                  </a:lnTo>
                  <a:lnTo>
                    <a:pt x="200" y="128"/>
                  </a:lnTo>
                  <a:lnTo>
                    <a:pt x="197" y="128"/>
                  </a:lnTo>
                  <a:lnTo>
                    <a:pt x="195" y="128"/>
                  </a:lnTo>
                  <a:lnTo>
                    <a:pt x="194" y="130"/>
                  </a:lnTo>
                  <a:lnTo>
                    <a:pt x="192" y="132"/>
                  </a:lnTo>
                  <a:lnTo>
                    <a:pt x="192" y="134"/>
                  </a:lnTo>
                  <a:lnTo>
                    <a:pt x="192" y="604"/>
                  </a:lnTo>
                  <a:lnTo>
                    <a:pt x="191" y="606"/>
                  </a:lnTo>
                  <a:lnTo>
                    <a:pt x="190" y="608"/>
                  </a:lnTo>
                  <a:lnTo>
                    <a:pt x="188" y="609"/>
                  </a:lnTo>
                  <a:lnTo>
                    <a:pt x="186" y="610"/>
                  </a:lnTo>
                  <a:lnTo>
                    <a:pt x="184" y="610"/>
                  </a:lnTo>
                  <a:lnTo>
                    <a:pt x="182" y="609"/>
                  </a:lnTo>
                  <a:lnTo>
                    <a:pt x="181" y="609"/>
                  </a:lnTo>
                  <a:lnTo>
                    <a:pt x="180" y="608"/>
                  </a:lnTo>
                  <a:lnTo>
                    <a:pt x="179" y="605"/>
                  </a:lnTo>
                  <a:lnTo>
                    <a:pt x="13" y="5"/>
                  </a:lnTo>
                  <a:lnTo>
                    <a:pt x="12" y="3"/>
                  </a:lnTo>
                  <a:lnTo>
                    <a:pt x="11" y="2"/>
                  </a:lnTo>
                  <a:lnTo>
                    <a:pt x="10" y="1"/>
                  </a:lnTo>
                  <a:lnTo>
                    <a:pt x="8" y="1"/>
                  </a:lnTo>
                  <a:lnTo>
                    <a:pt x="6" y="0"/>
                  </a:lnTo>
                  <a:lnTo>
                    <a:pt x="4" y="1"/>
                  </a:lnTo>
                  <a:lnTo>
                    <a:pt x="2" y="3"/>
                  </a:lnTo>
                  <a:lnTo>
                    <a:pt x="1" y="4"/>
                  </a:lnTo>
                  <a:lnTo>
                    <a:pt x="0" y="7"/>
                  </a:lnTo>
                  <a:lnTo>
                    <a:pt x="0" y="546"/>
                  </a:lnTo>
                  <a:lnTo>
                    <a:pt x="0" y="549"/>
                  </a:lnTo>
                  <a:lnTo>
                    <a:pt x="1" y="552"/>
                  </a:lnTo>
                  <a:lnTo>
                    <a:pt x="3" y="554"/>
                  </a:lnTo>
                  <a:lnTo>
                    <a:pt x="5" y="555"/>
                  </a:lnTo>
                  <a:lnTo>
                    <a:pt x="147" y="644"/>
                  </a:lnTo>
                  <a:lnTo>
                    <a:pt x="150" y="645"/>
                  </a:lnTo>
                  <a:lnTo>
                    <a:pt x="153" y="646"/>
                  </a:lnTo>
                  <a:lnTo>
                    <a:pt x="389" y="646"/>
                  </a:lnTo>
                  <a:lnTo>
                    <a:pt x="392" y="646"/>
                  </a:lnTo>
                  <a:lnTo>
                    <a:pt x="395" y="647"/>
                  </a:lnTo>
                  <a:lnTo>
                    <a:pt x="397" y="649"/>
                  </a:lnTo>
                  <a:lnTo>
                    <a:pt x="398" y="651"/>
                  </a:lnTo>
                  <a:lnTo>
                    <a:pt x="399" y="652"/>
                  </a:lnTo>
                  <a:lnTo>
                    <a:pt x="500" y="909"/>
                  </a:lnTo>
                  <a:lnTo>
                    <a:pt x="501" y="912"/>
                  </a:lnTo>
                  <a:lnTo>
                    <a:pt x="501" y="914"/>
                  </a:lnTo>
                  <a:lnTo>
                    <a:pt x="501" y="917"/>
                  </a:lnTo>
                  <a:lnTo>
                    <a:pt x="500" y="920"/>
                  </a:lnTo>
                  <a:lnTo>
                    <a:pt x="448" y="1028"/>
                  </a:lnTo>
                  <a:lnTo>
                    <a:pt x="447" y="1030"/>
                  </a:lnTo>
                  <a:lnTo>
                    <a:pt x="447" y="1032"/>
                  </a:lnTo>
                  <a:lnTo>
                    <a:pt x="447" y="1036"/>
                  </a:lnTo>
                  <a:lnTo>
                    <a:pt x="519" y="1218"/>
                  </a:lnTo>
                  <a:lnTo>
                    <a:pt x="520" y="1221"/>
                  </a:lnTo>
                  <a:lnTo>
                    <a:pt x="523" y="1223"/>
                  </a:lnTo>
                  <a:lnTo>
                    <a:pt x="526" y="1224"/>
                  </a:lnTo>
                  <a:lnTo>
                    <a:pt x="529" y="1225"/>
                  </a:lnTo>
                  <a:lnTo>
                    <a:pt x="579" y="1225"/>
                  </a:lnTo>
                  <a:lnTo>
                    <a:pt x="629" y="1225"/>
                  </a:lnTo>
                  <a:lnTo>
                    <a:pt x="632" y="1224"/>
                  </a:lnTo>
                  <a:lnTo>
                    <a:pt x="635" y="1223"/>
                  </a:lnTo>
                  <a:lnTo>
                    <a:pt x="637" y="1221"/>
                  </a:lnTo>
                  <a:lnTo>
                    <a:pt x="638" y="1219"/>
                  </a:lnTo>
                  <a:lnTo>
                    <a:pt x="638" y="1218"/>
                  </a:lnTo>
                  <a:lnTo>
                    <a:pt x="710" y="1036"/>
                  </a:lnTo>
                  <a:lnTo>
                    <a:pt x="711" y="1034"/>
                  </a:lnTo>
                  <a:lnTo>
                    <a:pt x="711" y="1032"/>
                  </a:lnTo>
                  <a:lnTo>
                    <a:pt x="710" y="1030"/>
                  </a:lnTo>
                  <a:lnTo>
                    <a:pt x="710" y="1028"/>
                  </a:lnTo>
                  <a:lnTo>
                    <a:pt x="657" y="920"/>
                  </a:lnTo>
                  <a:lnTo>
                    <a:pt x="657" y="917"/>
                  </a:lnTo>
                  <a:lnTo>
                    <a:pt x="656" y="914"/>
                  </a:lnTo>
                  <a:lnTo>
                    <a:pt x="657" y="909"/>
                  </a:lnTo>
                  <a:lnTo>
                    <a:pt x="758" y="652"/>
                  </a:lnTo>
                  <a:lnTo>
                    <a:pt x="760" y="650"/>
                  </a:lnTo>
                  <a:lnTo>
                    <a:pt x="762" y="647"/>
                  </a:lnTo>
                  <a:lnTo>
                    <a:pt x="765" y="646"/>
                  </a:lnTo>
                  <a:lnTo>
                    <a:pt x="768" y="646"/>
                  </a:lnTo>
                  <a:lnTo>
                    <a:pt x="1006" y="646"/>
                  </a:lnTo>
                  <a:lnTo>
                    <a:pt x="1009" y="645"/>
                  </a:lnTo>
                  <a:lnTo>
                    <a:pt x="1011" y="644"/>
                  </a:lnTo>
                  <a:lnTo>
                    <a:pt x="1153" y="555"/>
                  </a:lnTo>
                  <a:lnTo>
                    <a:pt x="1155" y="554"/>
                  </a:lnTo>
                  <a:lnTo>
                    <a:pt x="1156" y="553"/>
                  </a:lnTo>
                  <a:lnTo>
                    <a:pt x="1157" y="552"/>
                  </a:lnTo>
                  <a:lnTo>
                    <a:pt x="1158" y="549"/>
                  </a:lnTo>
                  <a:lnTo>
                    <a:pt x="1158" y="546"/>
                  </a:lnTo>
                  <a:lnTo>
                    <a:pt x="1158" y="7"/>
                  </a:lnTo>
                  <a:lnTo>
                    <a:pt x="1158" y="4"/>
                  </a:lnTo>
                  <a:lnTo>
                    <a:pt x="1156" y="3"/>
                  </a:lnTo>
                  <a:lnTo>
                    <a:pt x="1154" y="1"/>
                  </a:lnTo>
                  <a:lnTo>
                    <a:pt x="1152" y="0"/>
                  </a:lnTo>
                  <a:lnTo>
                    <a:pt x="1150" y="1"/>
                  </a:lnTo>
                  <a:lnTo>
                    <a:pt x="1148" y="1"/>
                  </a:lnTo>
                  <a:lnTo>
                    <a:pt x="1146" y="3"/>
                  </a:lnTo>
                  <a:lnTo>
                    <a:pt x="1145" y="4"/>
                  </a:lnTo>
                  <a:lnTo>
                    <a:pt x="11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3" name="Freeform 7"/>
            <p:cNvSpPr>
              <a:spLocks noEditPoints="1"/>
            </p:cNvSpPr>
            <p:nvPr userDrawn="1"/>
          </p:nvSpPr>
          <p:spPr bwMode="auto">
            <a:xfrm>
              <a:off x="5386388" y="3476625"/>
              <a:ext cx="3533775" cy="933450"/>
            </a:xfrm>
            <a:custGeom>
              <a:avLst/>
              <a:gdLst>
                <a:gd name="T0" fmla="*/ 1976 w 2226"/>
                <a:gd name="T1" fmla="*/ 407 h 588"/>
                <a:gd name="T2" fmla="*/ 1967 w 2226"/>
                <a:gd name="T3" fmla="*/ 463 h 588"/>
                <a:gd name="T4" fmla="*/ 2059 w 2226"/>
                <a:gd name="T5" fmla="*/ 452 h 588"/>
                <a:gd name="T6" fmla="*/ 2077 w 2226"/>
                <a:gd name="T7" fmla="*/ 579 h 588"/>
                <a:gd name="T8" fmla="*/ 2048 w 2226"/>
                <a:gd name="T9" fmla="*/ 537 h 588"/>
                <a:gd name="T10" fmla="*/ 1914 w 2226"/>
                <a:gd name="T11" fmla="*/ 585 h 588"/>
                <a:gd name="T12" fmla="*/ 1811 w 2226"/>
                <a:gd name="T13" fmla="*/ 508 h 588"/>
                <a:gd name="T14" fmla="*/ 1836 w 2226"/>
                <a:gd name="T15" fmla="*/ 383 h 588"/>
                <a:gd name="T16" fmla="*/ 2013 w 2226"/>
                <a:gd name="T17" fmla="*/ 311 h 588"/>
                <a:gd name="T18" fmla="*/ 2045 w 2226"/>
                <a:gd name="T19" fmla="*/ 271 h 588"/>
                <a:gd name="T20" fmla="*/ 1907 w 2226"/>
                <a:gd name="T21" fmla="*/ 300 h 588"/>
                <a:gd name="T22" fmla="*/ 1866 w 2226"/>
                <a:gd name="T23" fmla="*/ 195 h 588"/>
                <a:gd name="T24" fmla="*/ 2086 w 2226"/>
                <a:gd name="T25" fmla="*/ 154 h 588"/>
                <a:gd name="T26" fmla="*/ 2190 w 2226"/>
                <a:gd name="T27" fmla="*/ 214 h 588"/>
                <a:gd name="T28" fmla="*/ 2217 w 2226"/>
                <a:gd name="T29" fmla="*/ 512 h 588"/>
                <a:gd name="T30" fmla="*/ 1994 w 2226"/>
                <a:gd name="T31" fmla="*/ 3 h 588"/>
                <a:gd name="T32" fmla="*/ 1869 w 2226"/>
                <a:gd name="T33" fmla="*/ 7 h 588"/>
                <a:gd name="T34" fmla="*/ 2172 w 2226"/>
                <a:gd name="T35" fmla="*/ 123 h 588"/>
                <a:gd name="T36" fmla="*/ 1190 w 2226"/>
                <a:gd name="T37" fmla="*/ 576 h 588"/>
                <a:gd name="T38" fmla="*/ 1121 w 2226"/>
                <a:gd name="T39" fmla="*/ 502 h 588"/>
                <a:gd name="T40" fmla="*/ 1059 w 2226"/>
                <a:gd name="T41" fmla="*/ 264 h 588"/>
                <a:gd name="T42" fmla="*/ 1170 w 2226"/>
                <a:gd name="T43" fmla="*/ 25 h 588"/>
                <a:gd name="T44" fmla="*/ 1274 w 2226"/>
                <a:gd name="T45" fmla="*/ 156 h 588"/>
                <a:gd name="T46" fmla="*/ 1374 w 2226"/>
                <a:gd name="T47" fmla="*/ 271 h 588"/>
                <a:gd name="T48" fmla="*/ 1291 w 2226"/>
                <a:gd name="T49" fmla="*/ 469 h 588"/>
                <a:gd name="T50" fmla="*/ 1370 w 2226"/>
                <a:gd name="T51" fmla="*/ 564 h 588"/>
                <a:gd name="T52" fmla="*/ 1 w 2226"/>
                <a:gd name="T53" fmla="*/ 3 h 588"/>
                <a:gd name="T54" fmla="*/ 312 w 2226"/>
                <a:gd name="T55" fmla="*/ 389 h 588"/>
                <a:gd name="T56" fmla="*/ 615 w 2226"/>
                <a:gd name="T57" fmla="*/ 572 h 588"/>
                <a:gd name="T58" fmla="*/ 463 w 2226"/>
                <a:gd name="T59" fmla="*/ 222 h 588"/>
                <a:gd name="T60" fmla="*/ 365 w 2226"/>
                <a:gd name="T61" fmla="*/ 579 h 588"/>
                <a:gd name="T62" fmla="*/ 146 w 2226"/>
                <a:gd name="T63" fmla="*/ 223 h 588"/>
                <a:gd name="T64" fmla="*/ 1 w 2226"/>
                <a:gd name="T65" fmla="*/ 576 h 588"/>
                <a:gd name="T66" fmla="*/ 795 w 2226"/>
                <a:gd name="T67" fmla="*/ 421 h 588"/>
                <a:gd name="T68" fmla="*/ 861 w 2226"/>
                <a:gd name="T69" fmla="*/ 482 h 588"/>
                <a:gd name="T70" fmla="*/ 999 w 2226"/>
                <a:gd name="T71" fmla="*/ 448 h 588"/>
                <a:gd name="T72" fmla="*/ 974 w 2226"/>
                <a:gd name="T73" fmla="*/ 574 h 588"/>
                <a:gd name="T74" fmla="*/ 772 w 2226"/>
                <a:gd name="T75" fmla="*/ 575 h 588"/>
                <a:gd name="T76" fmla="*/ 659 w 2226"/>
                <a:gd name="T77" fmla="*/ 476 h 588"/>
                <a:gd name="T78" fmla="*/ 649 w 2226"/>
                <a:gd name="T79" fmla="*/ 300 h 588"/>
                <a:gd name="T80" fmla="*/ 753 w 2226"/>
                <a:gd name="T81" fmla="*/ 177 h 588"/>
                <a:gd name="T82" fmla="*/ 901 w 2226"/>
                <a:gd name="T83" fmla="*/ 155 h 588"/>
                <a:gd name="T84" fmla="*/ 1027 w 2226"/>
                <a:gd name="T85" fmla="*/ 233 h 588"/>
                <a:gd name="T86" fmla="*/ 921 w 2226"/>
                <a:gd name="T87" fmla="*/ 325 h 588"/>
                <a:gd name="T88" fmla="*/ 895 w 2226"/>
                <a:gd name="T89" fmla="*/ 267 h 588"/>
                <a:gd name="T90" fmla="*/ 818 w 2226"/>
                <a:gd name="T91" fmla="*/ 277 h 588"/>
                <a:gd name="T92" fmla="*/ 1595 w 2226"/>
                <a:gd name="T93" fmla="*/ 588 h 588"/>
                <a:gd name="T94" fmla="*/ 1393 w 2226"/>
                <a:gd name="T95" fmla="*/ 532 h 588"/>
                <a:gd name="T96" fmla="*/ 1483 w 2226"/>
                <a:gd name="T97" fmla="*/ 465 h 588"/>
                <a:gd name="T98" fmla="*/ 1638 w 2226"/>
                <a:gd name="T99" fmla="*/ 480 h 588"/>
                <a:gd name="T100" fmla="*/ 1609 w 2226"/>
                <a:gd name="T101" fmla="*/ 434 h 588"/>
                <a:gd name="T102" fmla="*/ 1433 w 2226"/>
                <a:gd name="T103" fmla="*/ 371 h 588"/>
                <a:gd name="T104" fmla="*/ 1410 w 2226"/>
                <a:gd name="T105" fmla="*/ 261 h 588"/>
                <a:gd name="T106" fmla="*/ 1497 w 2226"/>
                <a:gd name="T107" fmla="*/ 166 h 588"/>
                <a:gd name="T108" fmla="*/ 1713 w 2226"/>
                <a:gd name="T109" fmla="*/ 174 h 588"/>
                <a:gd name="T110" fmla="*/ 1716 w 2226"/>
                <a:gd name="T111" fmla="*/ 292 h 588"/>
                <a:gd name="T112" fmla="*/ 1568 w 2226"/>
                <a:gd name="T113" fmla="*/ 256 h 588"/>
                <a:gd name="T114" fmla="*/ 1563 w 2226"/>
                <a:gd name="T115" fmla="*/ 299 h 588"/>
                <a:gd name="T116" fmla="*/ 1752 w 2226"/>
                <a:gd name="T117" fmla="*/ 356 h 588"/>
                <a:gd name="T118" fmla="*/ 1787 w 2226"/>
                <a:gd name="T119" fmla="*/ 458 h 588"/>
                <a:gd name="T120" fmla="*/ 1721 w 2226"/>
                <a:gd name="T121" fmla="*/ 55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26" h="588">
                  <a:moveTo>
                    <a:pt x="2065" y="439"/>
                  </a:moveTo>
                  <a:lnTo>
                    <a:pt x="2065" y="391"/>
                  </a:lnTo>
                  <a:lnTo>
                    <a:pt x="2064" y="389"/>
                  </a:lnTo>
                  <a:lnTo>
                    <a:pt x="2063" y="388"/>
                  </a:lnTo>
                  <a:lnTo>
                    <a:pt x="2061" y="387"/>
                  </a:lnTo>
                  <a:lnTo>
                    <a:pt x="2060" y="387"/>
                  </a:lnTo>
                  <a:lnTo>
                    <a:pt x="2047" y="388"/>
                  </a:lnTo>
                  <a:lnTo>
                    <a:pt x="2035" y="389"/>
                  </a:lnTo>
                  <a:lnTo>
                    <a:pt x="2024" y="390"/>
                  </a:lnTo>
                  <a:lnTo>
                    <a:pt x="2014" y="392"/>
                  </a:lnTo>
                  <a:lnTo>
                    <a:pt x="2004" y="395"/>
                  </a:lnTo>
                  <a:lnTo>
                    <a:pt x="1996" y="397"/>
                  </a:lnTo>
                  <a:lnTo>
                    <a:pt x="1988" y="400"/>
                  </a:lnTo>
                  <a:lnTo>
                    <a:pt x="1981" y="403"/>
                  </a:lnTo>
                  <a:lnTo>
                    <a:pt x="1976" y="407"/>
                  </a:lnTo>
                  <a:lnTo>
                    <a:pt x="1971" y="411"/>
                  </a:lnTo>
                  <a:lnTo>
                    <a:pt x="1966" y="415"/>
                  </a:lnTo>
                  <a:lnTo>
                    <a:pt x="1963" y="420"/>
                  </a:lnTo>
                  <a:lnTo>
                    <a:pt x="1960" y="425"/>
                  </a:lnTo>
                  <a:lnTo>
                    <a:pt x="1958" y="430"/>
                  </a:lnTo>
                  <a:lnTo>
                    <a:pt x="1957" y="435"/>
                  </a:lnTo>
                  <a:lnTo>
                    <a:pt x="1957" y="441"/>
                  </a:lnTo>
                  <a:lnTo>
                    <a:pt x="1957" y="445"/>
                  </a:lnTo>
                  <a:lnTo>
                    <a:pt x="1958" y="448"/>
                  </a:lnTo>
                  <a:lnTo>
                    <a:pt x="1958" y="451"/>
                  </a:lnTo>
                  <a:lnTo>
                    <a:pt x="1959" y="454"/>
                  </a:lnTo>
                  <a:lnTo>
                    <a:pt x="1961" y="457"/>
                  </a:lnTo>
                  <a:lnTo>
                    <a:pt x="1963" y="459"/>
                  </a:lnTo>
                  <a:lnTo>
                    <a:pt x="1965" y="461"/>
                  </a:lnTo>
                  <a:lnTo>
                    <a:pt x="1967" y="463"/>
                  </a:lnTo>
                  <a:lnTo>
                    <a:pt x="1972" y="467"/>
                  </a:lnTo>
                  <a:lnTo>
                    <a:pt x="1975" y="468"/>
                  </a:lnTo>
                  <a:lnTo>
                    <a:pt x="1978" y="469"/>
                  </a:lnTo>
                  <a:lnTo>
                    <a:pt x="1984" y="470"/>
                  </a:lnTo>
                  <a:lnTo>
                    <a:pt x="1991" y="471"/>
                  </a:lnTo>
                  <a:lnTo>
                    <a:pt x="2005" y="470"/>
                  </a:lnTo>
                  <a:lnTo>
                    <a:pt x="2011" y="470"/>
                  </a:lnTo>
                  <a:lnTo>
                    <a:pt x="2017" y="469"/>
                  </a:lnTo>
                  <a:lnTo>
                    <a:pt x="2023" y="468"/>
                  </a:lnTo>
                  <a:lnTo>
                    <a:pt x="2028" y="467"/>
                  </a:lnTo>
                  <a:lnTo>
                    <a:pt x="2037" y="464"/>
                  </a:lnTo>
                  <a:lnTo>
                    <a:pt x="2045" y="461"/>
                  </a:lnTo>
                  <a:lnTo>
                    <a:pt x="2051" y="458"/>
                  </a:lnTo>
                  <a:lnTo>
                    <a:pt x="2056" y="454"/>
                  </a:lnTo>
                  <a:lnTo>
                    <a:pt x="2059" y="452"/>
                  </a:lnTo>
                  <a:lnTo>
                    <a:pt x="2061" y="450"/>
                  </a:lnTo>
                  <a:lnTo>
                    <a:pt x="2063" y="447"/>
                  </a:lnTo>
                  <a:lnTo>
                    <a:pt x="2064" y="443"/>
                  </a:lnTo>
                  <a:lnTo>
                    <a:pt x="2065" y="440"/>
                  </a:lnTo>
                  <a:lnTo>
                    <a:pt x="2065" y="439"/>
                  </a:lnTo>
                  <a:close/>
                  <a:moveTo>
                    <a:pt x="2225" y="572"/>
                  </a:moveTo>
                  <a:lnTo>
                    <a:pt x="2226" y="575"/>
                  </a:lnTo>
                  <a:lnTo>
                    <a:pt x="2225" y="577"/>
                  </a:lnTo>
                  <a:lnTo>
                    <a:pt x="2225" y="578"/>
                  </a:lnTo>
                  <a:lnTo>
                    <a:pt x="2224" y="579"/>
                  </a:lnTo>
                  <a:lnTo>
                    <a:pt x="2221" y="579"/>
                  </a:lnTo>
                  <a:lnTo>
                    <a:pt x="2220" y="579"/>
                  </a:lnTo>
                  <a:lnTo>
                    <a:pt x="2081" y="579"/>
                  </a:lnTo>
                  <a:lnTo>
                    <a:pt x="2079" y="579"/>
                  </a:lnTo>
                  <a:lnTo>
                    <a:pt x="2077" y="579"/>
                  </a:lnTo>
                  <a:lnTo>
                    <a:pt x="2074" y="577"/>
                  </a:lnTo>
                  <a:lnTo>
                    <a:pt x="2073" y="574"/>
                  </a:lnTo>
                  <a:lnTo>
                    <a:pt x="2072" y="572"/>
                  </a:lnTo>
                  <a:lnTo>
                    <a:pt x="2069" y="560"/>
                  </a:lnTo>
                  <a:lnTo>
                    <a:pt x="2067" y="548"/>
                  </a:lnTo>
                  <a:lnTo>
                    <a:pt x="2065" y="537"/>
                  </a:lnTo>
                  <a:lnTo>
                    <a:pt x="2065" y="526"/>
                  </a:lnTo>
                  <a:lnTo>
                    <a:pt x="2064" y="524"/>
                  </a:lnTo>
                  <a:lnTo>
                    <a:pt x="2064" y="522"/>
                  </a:lnTo>
                  <a:lnTo>
                    <a:pt x="2063" y="522"/>
                  </a:lnTo>
                  <a:lnTo>
                    <a:pt x="2062" y="522"/>
                  </a:lnTo>
                  <a:lnTo>
                    <a:pt x="2061" y="523"/>
                  </a:lnTo>
                  <a:lnTo>
                    <a:pt x="2060" y="524"/>
                  </a:lnTo>
                  <a:lnTo>
                    <a:pt x="2054" y="531"/>
                  </a:lnTo>
                  <a:lnTo>
                    <a:pt x="2048" y="537"/>
                  </a:lnTo>
                  <a:lnTo>
                    <a:pt x="2042" y="544"/>
                  </a:lnTo>
                  <a:lnTo>
                    <a:pt x="2035" y="549"/>
                  </a:lnTo>
                  <a:lnTo>
                    <a:pt x="2028" y="555"/>
                  </a:lnTo>
                  <a:lnTo>
                    <a:pt x="2021" y="560"/>
                  </a:lnTo>
                  <a:lnTo>
                    <a:pt x="2013" y="564"/>
                  </a:lnTo>
                  <a:lnTo>
                    <a:pt x="2005" y="569"/>
                  </a:lnTo>
                  <a:lnTo>
                    <a:pt x="1996" y="573"/>
                  </a:lnTo>
                  <a:lnTo>
                    <a:pt x="1987" y="576"/>
                  </a:lnTo>
                  <a:lnTo>
                    <a:pt x="1978" y="579"/>
                  </a:lnTo>
                  <a:lnTo>
                    <a:pt x="1968" y="581"/>
                  </a:lnTo>
                  <a:lnTo>
                    <a:pt x="1958" y="583"/>
                  </a:lnTo>
                  <a:lnTo>
                    <a:pt x="1948" y="584"/>
                  </a:lnTo>
                  <a:lnTo>
                    <a:pt x="1937" y="585"/>
                  </a:lnTo>
                  <a:lnTo>
                    <a:pt x="1925" y="586"/>
                  </a:lnTo>
                  <a:lnTo>
                    <a:pt x="1914" y="585"/>
                  </a:lnTo>
                  <a:lnTo>
                    <a:pt x="1903" y="584"/>
                  </a:lnTo>
                  <a:lnTo>
                    <a:pt x="1892" y="582"/>
                  </a:lnTo>
                  <a:lnTo>
                    <a:pt x="1881" y="579"/>
                  </a:lnTo>
                  <a:lnTo>
                    <a:pt x="1871" y="574"/>
                  </a:lnTo>
                  <a:lnTo>
                    <a:pt x="1861" y="570"/>
                  </a:lnTo>
                  <a:lnTo>
                    <a:pt x="1856" y="567"/>
                  </a:lnTo>
                  <a:lnTo>
                    <a:pt x="1851" y="564"/>
                  </a:lnTo>
                  <a:lnTo>
                    <a:pt x="1843" y="557"/>
                  </a:lnTo>
                  <a:lnTo>
                    <a:pt x="1835" y="549"/>
                  </a:lnTo>
                  <a:lnTo>
                    <a:pt x="1827" y="540"/>
                  </a:lnTo>
                  <a:lnTo>
                    <a:pt x="1824" y="536"/>
                  </a:lnTo>
                  <a:lnTo>
                    <a:pt x="1821" y="531"/>
                  </a:lnTo>
                  <a:lnTo>
                    <a:pt x="1816" y="520"/>
                  </a:lnTo>
                  <a:lnTo>
                    <a:pt x="1813" y="514"/>
                  </a:lnTo>
                  <a:lnTo>
                    <a:pt x="1811" y="508"/>
                  </a:lnTo>
                  <a:lnTo>
                    <a:pt x="1808" y="495"/>
                  </a:lnTo>
                  <a:lnTo>
                    <a:pt x="1806" y="481"/>
                  </a:lnTo>
                  <a:lnTo>
                    <a:pt x="1806" y="474"/>
                  </a:lnTo>
                  <a:lnTo>
                    <a:pt x="1805" y="466"/>
                  </a:lnTo>
                  <a:lnTo>
                    <a:pt x="1806" y="458"/>
                  </a:lnTo>
                  <a:lnTo>
                    <a:pt x="1806" y="449"/>
                  </a:lnTo>
                  <a:lnTo>
                    <a:pt x="1808" y="441"/>
                  </a:lnTo>
                  <a:lnTo>
                    <a:pt x="1809" y="433"/>
                  </a:lnTo>
                  <a:lnTo>
                    <a:pt x="1812" y="425"/>
                  </a:lnTo>
                  <a:lnTo>
                    <a:pt x="1814" y="418"/>
                  </a:lnTo>
                  <a:lnTo>
                    <a:pt x="1818" y="410"/>
                  </a:lnTo>
                  <a:lnTo>
                    <a:pt x="1822" y="403"/>
                  </a:lnTo>
                  <a:lnTo>
                    <a:pt x="1826" y="396"/>
                  </a:lnTo>
                  <a:lnTo>
                    <a:pt x="1831" y="390"/>
                  </a:lnTo>
                  <a:lnTo>
                    <a:pt x="1836" y="383"/>
                  </a:lnTo>
                  <a:lnTo>
                    <a:pt x="1842" y="377"/>
                  </a:lnTo>
                  <a:lnTo>
                    <a:pt x="1848" y="371"/>
                  </a:lnTo>
                  <a:lnTo>
                    <a:pt x="1855" y="365"/>
                  </a:lnTo>
                  <a:lnTo>
                    <a:pt x="1862" y="360"/>
                  </a:lnTo>
                  <a:lnTo>
                    <a:pt x="1869" y="355"/>
                  </a:lnTo>
                  <a:lnTo>
                    <a:pt x="1886" y="345"/>
                  </a:lnTo>
                  <a:lnTo>
                    <a:pt x="1895" y="341"/>
                  </a:lnTo>
                  <a:lnTo>
                    <a:pt x="1905" y="337"/>
                  </a:lnTo>
                  <a:lnTo>
                    <a:pt x="1915" y="333"/>
                  </a:lnTo>
                  <a:lnTo>
                    <a:pt x="1926" y="329"/>
                  </a:lnTo>
                  <a:lnTo>
                    <a:pt x="1948" y="323"/>
                  </a:lnTo>
                  <a:lnTo>
                    <a:pt x="1960" y="320"/>
                  </a:lnTo>
                  <a:lnTo>
                    <a:pt x="1973" y="317"/>
                  </a:lnTo>
                  <a:lnTo>
                    <a:pt x="1999" y="313"/>
                  </a:lnTo>
                  <a:lnTo>
                    <a:pt x="2013" y="311"/>
                  </a:lnTo>
                  <a:lnTo>
                    <a:pt x="2027" y="310"/>
                  </a:lnTo>
                  <a:lnTo>
                    <a:pt x="2057" y="308"/>
                  </a:lnTo>
                  <a:lnTo>
                    <a:pt x="2061" y="307"/>
                  </a:lnTo>
                  <a:lnTo>
                    <a:pt x="2064" y="306"/>
                  </a:lnTo>
                  <a:lnTo>
                    <a:pt x="2065" y="305"/>
                  </a:lnTo>
                  <a:lnTo>
                    <a:pt x="2065" y="302"/>
                  </a:lnTo>
                  <a:lnTo>
                    <a:pt x="2064" y="295"/>
                  </a:lnTo>
                  <a:lnTo>
                    <a:pt x="2063" y="291"/>
                  </a:lnTo>
                  <a:lnTo>
                    <a:pt x="2063" y="288"/>
                  </a:lnTo>
                  <a:lnTo>
                    <a:pt x="2061" y="285"/>
                  </a:lnTo>
                  <a:lnTo>
                    <a:pt x="2060" y="282"/>
                  </a:lnTo>
                  <a:lnTo>
                    <a:pt x="2055" y="277"/>
                  </a:lnTo>
                  <a:lnTo>
                    <a:pt x="2052" y="275"/>
                  </a:lnTo>
                  <a:lnTo>
                    <a:pt x="2049" y="273"/>
                  </a:lnTo>
                  <a:lnTo>
                    <a:pt x="2045" y="271"/>
                  </a:lnTo>
                  <a:lnTo>
                    <a:pt x="2041" y="269"/>
                  </a:lnTo>
                  <a:lnTo>
                    <a:pt x="2031" y="267"/>
                  </a:lnTo>
                  <a:lnTo>
                    <a:pt x="2025" y="267"/>
                  </a:lnTo>
                  <a:lnTo>
                    <a:pt x="2018" y="267"/>
                  </a:lnTo>
                  <a:lnTo>
                    <a:pt x="2009" y="267"/>
                  </a:lnTo>
                  <a:lnTo>
                    <a:pt x="2000" y="268"/>
                  </a:lnTo>
                  <a:lnTo>
                    <a:pt x="1992" y="269"/>
                  </a:lnTo>
                  <a:lnTo>
                    <a:pt x="1983" y="270"/>
                  </a:lnTo>
                  <a:lnTo>
                    <a:pt x="1974" y="272"/>
                  </a:lnTo>
                  <a:lnTo>
                    <a:pt x="1966" y="274"/>
                  </a:lnTo>
                  <a:lnTo>
                    <a:pt x="1958" y="277"/>
                  </a:lnTo>
                  <a:lnTo>
                    <a:pt x="1950" y="280"/>
                  </a:lnTo>
                  <a:lnTo>
                    <a:pt x="1934" y="286"/>
                  </a:lnTo>
                  <a:lnTo>
                    <a:pt x="1920" y="293"/>
                  </a:lnTo>
                  <a:lnTo>
                    <a:pt x="1907" y="300"/>
                  </a:lnTo>
                  <a:lnTo>
                    <a:pt x="1895" y="308"/>
                  </a:lnTo>
                  <a:lnTo>
                    <a:pt x="1893" y="309"/>
                  </a:lnTo>
                  <a:lnTo>
                    <a:pt x="1891" y="309"/>
                  </a:lnTo>
                  <a:lnTo>
                    <a:pt x="1889" y="309"/>
                  </a:lnTo>
                  <a:lnTo>
                    <a:pt x="1888" y="309"/>
                  </a:lnTo>
                  <a:lnTo>
                    <a:pt x="1886" y="307"/>
                  </a:lnTo>
                  <a:lnTo>
                    <a:pt x="1885" y="306"/>
                  </a:lnTo>
                  <a:lnTo>
                    <a:pt x="1830" y="230"/>
                  </a:lnTo>
                  <a:lnTo>
                    <a:pt x="1828" y="227"/>
                  </a:lnTo>
                  <a:lnTo>
                    <a:pt x="1828" y="225"/>
                  </a:lnTo>
                  <a:lnTo>
                    <a:pt x="1829" y="224"/>
                  </a:lnTo>
                  <a:lnTo>
                    <a:pt x="1830" y="221"/>
                  </a:lnTo>
                  <a:lnTo>
                    <a:pt x="1831" y="220"/>
                  </a:lnTo>
                  <a:lnTo>
                    <a:pt x="1847" y="207"/>
                  </a:lnTo>
                  <a:lnTo>
                    <a:pt x="1866" y="195"/>
                  </a:lnTo>
                  <a:lnTo>
                    <a:pt x="1876" y="189"/>
                  </a:lnTo>
                  <a:lnTo>
                    <a:pt x="1887" y="184"/>
                  </a:lnTo>
                  <a:lnTo>
                    <a:pt x="1899" y="178"/>
                  </a:lnTo>
                  <a:lnTo>
                    <a:pt x="1912" y="173"/>
                  </a:lnTo>
                  <a:lnTo>
                    <a:pt x="1925" y="169"/>
                  </a:lnTo>
                  <a:lnTo>
                    <a:pt x="1939" y="165"/>
                  </a:lnTo>
                  <a:lnTo>
                    <a:pt x="1954" y="161"/>
                  </a:lnTo>
                  <a:lnTo>
                    <a:pt x="1970" y="158"/>
                  </a:lnTo>
                  <a:lnTo>
                    <a:pt x="1987" y="155"/>
                  </a:lnTo>
                  <a:lnTo>
                    <a:pt x="2005" y="153"/>
                  </a:lnTo>
                  <a:lnTo>
                    <a:pt x="2023" y="152"/>
                  </a:lnTo>
                  <a:lnTo>
                    <a:pt x="2043" y="152"/>
                  </a:lnTo>
                  <a:lnTo>
                    <a:pt x="2054" y="152"/>
                  </a:lnTo>
                  <a:lnTo>
                    <a:pt x="2065" y="152"/>
                  </a:lnTo>
                  <a:lnTo>
                    <a:pt x="2086" y="154"/>
                  </a:lnTo>
                  <a:lnTo>
                    <a:pt x="2096" y="156"/>
                  </a:lnTo>
                  <a:lnTo>
                    <a:pt x="2105" y="158"/>
                  </a:lnTo>
                  <a:lnTo>
                    <a:pt x="2114" y="160"/>
                  </a:lnTo>
                  <a:lnTo>
                    <a:pt x="2122" y="163"/>
                  </a:lnTo>
                  <a:lnTo>
                    <a:pt x="2130" y="166"/>
                  </a:lnTo>
                  <a:lnTo>
                    <a:pt x="2138" y="169"/>
                  </a:lnTo>
                  <a:lnTo>
                    <a:pt x="2145" y="172"/>
                  </a:lnTo>
                  <a:lnTo>
                    <a:pt x="2152" y="176"/>
                  </a:lnTo>
                  <a:lnTo>
                    <a:pt x="2159" y="181"/>
                  </a:lnTo>
                  <a:lnTo>
                    <a:pt x="2165" y="185"/>
                  </a:lnTo>
                  <a:lnTo>
                    <a:pt x="2170" y="190"/>
                  </a:lnTo>
                  <a:lnTo>
                    <a:pt x="2176" y="196"/>
                  </a:lnTo>
                  <a:lnTo>
                    <a:pt x="2181" y="201"/>
                  </a:lnTo>
                  <a:lnTo>
                    <a:pt x="2186" y="207"/>
                  </a:lnTo>
                  <a:lnTo>
                    <a:pt x="2190" y="214"/>
                  </a:lnTo>
                  <a:lnTo>
                    <a:pt x="2194" y="220"/>
                  </a:lnTo>
                  <a:lnTo>
                    <a:pt x="2197" y="227"/>
                  </a:lnTo>
                  <a:lnTo>
                    <a:pt x="2201" y="235"/>
                  </a:lnTo>
                  <a:lnTo>
                    <a:pt x="2204" y="242"/>
                  </a:lnTo>
                  <a:lnTo>
                    <a:pt x="2206" y="251"/>
                  </a:lnTo>
                  <a:lnTo>
                    <a:pt x="2209" y="259"/>
                  </a:lnTo>
                  <a:lnTo>
                    <a:pt x="2211" y="268"/>
                  </a:lnTo>
                  <a:lnTo>
                    <a:pt x="2212" y="277"/>
                  </a:lnTo>
                  <a:lnTo>
                    <a:pt x="2214" y="287"/>
                  </a:lnTo>
                  <a:lnTo>
                    <a:pt x="2215" y="296"/>
                  </a:lnTo>
                  <a:lnTo>
                    <a:pt x="2215" y="307"/>
                  </a:lnTo>
                  <a:lnTo>
                    <a:pt x="2216" y="317"/>
                  </a:lnTo>
                  <a:lnTo>
                    <a:pt x="2216" y="328"/>
                  </a:lnTo>
                  <a:lnTo>
                    <a:pt x="2216" y="478"/>
                  </a:lnTo>
                  <a:lnTo>
                    <a:pt x="2217" y="512"/>
                  </a:lnTo>
                  <a:lnTo>
                    <a:pt x="2218" y="539"/>
                  </a:lnTo>
                  <a:lnTo>
                    <a:pt x="2220" y="549"/>
                  </a:lnTo>
                  <a:lnTo>
                    <a:pt x="2221" y="559"/>
                  </a:lnTo>
                  <a:lnTo>
                    <a:pt x="2223" y="566"/>
                  </a:lnTo>
                  <a:lnTo>
                    <a:pt x="2225" y="572"/>
                  </a:lnTo>
                  <a:close/>
                  <a:moveTo>
                    <a:pt x="1869" y="7"/>
                  </a:moveTo>
                  <a:lnTo>
                    <a:pt x="1869" y="5"/>
                  </a:lnTo>
                  <a:lnTo>
                    <a:pt x="1870" y="3"/>
                  </a:lnTo>
                  <a:lnTo>
                    <a:pt x="1873" y="0"/>
                  </a:lnTo>
                  <a:lnTo>
                    <a:pt x="1875" y="0"/>
                  </a:lnTo>
                  <a:lnTo>
                    <a:pt x="1877" y="0"/>
                  </a:lnTo>
                  <a:lnTo>
                    <a:pt x="1987" y="0"/>
                  </a:lnTo>
                  <a:lnTo>
                    <a:pt x="1989" y="0"/>
                  </a:lnTo>
                  <a:lnTo>
                    <a:pt x="1991" y="1"/>
                  </a:lnTo>
                  <a:lnTo>
                    <a:pt x="1994" y="3"/>
                  </a:lnTo>
                  <a:lnTo>
                    <a:pt x="1994" y="6"/>
                  </a:lnTo>
                  <a:lnTo>
                    <a:pt x="1995" y="7"/>
                  </a:lnTo>
                  <a:lnTo>
                    <a:pt x="1995" y="121"/>
                  </a:lnTo>
                  <a:lnTo>
                    <a:pt x="1994" y="123"/>
                  </a:lnTo>
                  <a:lnTo>
                    <a:pt x="1993" y="125"/>
                  </a:lnTo>
                  <a:lnTo>
                    <a:pt x="1991" y="128"/>
                  </a:lnTo>
                  <a:lnTo>
                    <a:pt x="1988" y="128"/>
                  </a:lnTo>
                  <a:lnTo>
                    <a:pt x="1987" y="129"/>
                  </a:lnTo>
                  <a:lnTo>
                    <a:pt x="1877" y="129"/>
                  </a:lnTo>
                  <a:lnTo>
                    <a:pt x="1874" y="128"/>
                  </a:lnTo>
                  <a:lnTo>
                    <a:pt x="1872" y="127"/>
                  </a:lnTo>
                  <a:lnTo>
                    <a:pt x="1870" y="125"/>
                  </a:lnTo>
                  <a:lnTo>
                    <a:pt x="1869" y="122"/>
                  </a:lnTo>
                  <a:lnTo>
                    <a:pt x="1869" y="121"/>
                  </a:lnTo>
                  <a:lnTo>
                    <a:pt x="1869" y="7"/>
                  </a:lnTo>
                  <a:close/>
                  <a:moveTo>
                    <a:pt x="2047" y="121"/>
                  </a:moveTo>
                  <a:lnTo>
                    <a:pt x="2047" y="7"/>
                  </a:lnTo>
                  <a:lnTo>
                    <a:pt x="2047" y="5"/>
                  </a:lnTo>
                  <a:lnTo>
                    <a:pt x="2048" y="3"/>
                  </a:lnTo>
                  <a:lnTo>
                    <a:pt x="2051" y="0"/>
                  </a:lnTo>
                  <a:lnTo>
                    <a:pt x="2053" y="0"/>
                  </a:lnTo>
                  <a:lnTo>
                    <a:pt x="2054" y="0"/>
                  </a:lnTo>
                  <a:lnTo>
                    <a:pt x="2165" y="0"/>
                  </a:lnTo>
                  <a:lnTo>
                    <a:pt x="2167" y="0"/>
                  </a:lnTo>
                  <a:lnTo>
                    <a:pt x="2169" y="1"/>
                  </a:lnTo>
                  <a:lnTo>
                    <a:pt x="2171" y="3"/>
                  </a:lnTo>
                  <a:lnTo>
                    <a:pt x="2172" y="6"/>
                  </a:lnTo>
                  <a:lnTo>
                    <a:pt x="2172" y="7"/>
                  </a:lnTo>
                  <a:lnTo>
                    <a:pt x="2172" y="121"/>
                  </a:lnTo>
                  <a:lnTo>
                    <a:pt x="2172" y="123"/>
                  </a:lnTo>
                  <a:lnTo>
                    <a:pt x="2171" y="125"/>
                  </a:lnTo>
                  <a:lnTo>
                    <a:pt x="2169" y="127"/>
                  </a:lnTo>
                  <a:lnTo>
                    <a:pt x="2166" y="128"/>
                  </a:lnTo>
                  <a:lnTo>
                    <a:pt x="2165" y="128"/>
                  </a:lnTo>
                  <a:lnTo>
                    <a:pt x="2054" y="128"/>
                  </a:lnTo>
                  <a:lnTo>
                    <a:pt x="2052" y="128"/>
                  </a:lnTo>
                  <a:lnTo>
                    <a:pt x="2050" y="127"/>
                  </a:lnTo>
                  <a:lnTo>
                    <a:pt x="2048" y="125"/>
                  </a:lnTo>
                  <a:lnTo>
                    <a:pt x="2047" y="122"/>
                  </a:lnTo>
                  <a:lnTo>
                    <a:pt x="2047" y="121"/>
                  </a:lnTo>
                  <a:close/>
                  <a:moveTo>
                    <a:pt x="1274" y="585"/>
                  </a:moveTo>
                  <a:lnTo>
                    <a:pt x="1249" y="584"/>
                  </a:lnTo>
                  <a:lnTo>
                    <a:pt x="1226" y="583"/>
                  </a:lnTo>
                  <a:lnTo>
                    <a:pt x="1207" y="580"/>
                  </a:lnTo>
                  <a:lnTo>
                    <a:pt x="1190" y="576"/>
                  </a:lnTo>
                  <a:lnTo>
                    <a:pt x="1175" y="571"/>
                  </a:lnTo>
                  <a:lnTo>
                    <a:pt x="1168" y="568"/>
                  </a:lnTo>
                  <a:lnTo>
                    <a:pt x="1162" y="565"/>
                  </a:lnTo>
                  <a:lnTo>
                    <a:pt x="1156" y="561"/>
                  </a:lnTo>
                  <a:lnTo>
                    <a:pt x="1151" y="558"/>
                  </a:lnTo>
                  <a:lnTo>
                    <a:pt x="1149" y="556"/>
                  </a:lnTo>
                  <a:lnTo>
                    <a:pt x="1147" y="554"/>
                  </a:lnTo>
                  <a:lnTo>
                    <a:pt x="1143" y="550"/>
                  </a:lnTo>
                  <a:lnTo>
                    <a:pt x="1139" y="545"/>
                  </a:lnTo>
                  <a:lnTo>
                    <a:pt x="1135" y="541"/>
                  </a:lnTo>
                  <a:lnTo>
                    <a:pt x="1130" y="531"/>
                  </a:lnTo>
                  <a:lnTo>
                    <a:pt x="1127" y="525"/>
                  </a:lnTo>
                  <a:lnTo>
                    <a:pt x="1125" y="520"/>
                  </a:lnTo>
                  <a:lnTo>
                    <a:pt x="1122" y="508"/>
                  </a:lnTo>
                  <a:lnTo>
                    <a:pt x="1121" y="502"/>
                  </a:lnTo>
                  <a:lnTo>
                    <a:pt x="1120" y="496"/>
                  </a:lnTo>
                  <a:lnTo>
                    <a:pt x="1119" y="482"/>
                  </a:lnTo>
                  <a:lnTo>
                    <a:pt x="1118" y="468"/>
                  </a:lnTo>
                  <a:lnTo>
                    <a:pt x="1118" y="453"/>
                  </a:lnTo>
                  <a:lnTo>
                    <a:pt x="1118" y="278"/>
                  </a:lnTo>
                  <a:lnTo>
                    <a:pt x="1117" y="276"/>
                  </a:lnTo>
                  <a:lnTo>
                    <a:pt x="1117" y="274"/>
                  </a:lnTo>
                  <a:lnTo>
                    <a:pt x="1114" y="272"/>
                  </a:lnTo>
                  <a:lnTo>
                    <a:pt x="1111" y="271"/>
                  </a:lnTo>
                  <a:lnTo>
                    <a:pt x="1110" y="271"/>
                  </a:lnTo>
                  <a:lnTo>
                    <a:pt x="1067" y="271"/>
                  </a:lnTo>
                  <a:lnTo>
                    <a:pt x="1064" y="270"/>
                  </a:lnTo>
                  <a:lnTo>
                    <a:pt x="1062" y="269"/>
                  </a:lnTo>
                  <a:lnTo>
                    <a:pt x="1060" y="267"/>
                  </a:lnTo>
                  <a:lnTo>
                    <a:pt x="1059" y="264"/>
                  </a:lnTo>
                  <a:lnTo>
                    <a:pt x="1059" y="263"/>
                  </a:lnTo>
                  <a:lnTo>
                    <a:pt x="1059" y="167"/>
                  </a:lnTo>
                  <a:lnTo>
                    <a:pt x="1059" y="164"/>
                  </a:lnTo>
                  <a:lnTo>
                    <a:pt x="1060" y="162"/>
                  </a:lnTo>
                  <a:lnTo>
                    <a:pt x="1063" y="160"/>
                  </a:lnTo>
                  <a:lnTo>
                    <a:pt x="1065" y="159"/>
                  </a:lnTo>
                  <a:lnTo>
                    <a:pt x="1067" y="159"/>
                  </a:lnTo>
                  <a:lnTo>
                    <a:pt x="1110" y="159"/>
                  </a:lnTo>
                  <a:lnTo>
                    <a:pt x="1113" y="159"/>
                  </a:lnTo>
                  <a:lnTo>
                    <a:pt x="1115" y="158"/>
                  </a:lnTo>
                  <a:lnTo>
                    <a:pt x="1117" y="157"/>
                  </a:lnTo>
                  <a:lnTo>
                    <a:pt x="1118" y="156"/>
                  </a:lnTo>
                  <a:lnTo>
                    <a:pt x="1120" y="153"/>
                  </a:lnTo>
                  <a:lnTo>
                    <a:pt x="1121" y="152"/>
                  </a:lnTo>
                  <a:lnTo>
                    <a:pt x="1170" y="25"/>
                  </a:lnTo>
                  <a:lnTo>
                    <a:pt x="1171" y="23"/>
                  </a:lnTo>
                  <a:lnTo>
                    <a:pt x="1173" y="21"/>
                  </a:lnTo>
                  <a:lnTo>
                    <a:pt x="1175" y="20"/>
                  </a:lnTo>
                  <a:lnTo>
                    <a:pt x="1176" y="19"/>
                  </a:lnTo>
                  <a:lnTo>
                    <a:pt x="1179" y="18"/>
                  </a:lnTo>
                  <a:lnTo>
                    <a:pt x="1180" y="18"/>
                  </a:lnTo>
                  <a:lnTo>
                    <a:pt x="1265" y="18"/>
                  </a:lnTo>
                  <a:lnTo>
                    <a:pt x="1268" y="19"/>
                  </a:lnTo>
                  <a:lnTo>
                    <a:pt x="1270" y="19"/>
                  </a:lnTo>
                  <a:lnTo>
                    <a:pt x="1272" y="22"/>
                  </a:lnTo>
                  <a:lnTo>
                    <a:pt x="1273" y="25"/>
                  </a:lnTo>
                  <a:lnTo>
                    <a:pt x="1273" y="26"/>
                  </a:lnTo>
                  <a:lnTo>
                    <a:pt x="1273" y="152"/>
                  </a:lnTo>
                  <a:lnTo>
                    <a:pt x="1273" y="154"/>
                  </a:lnTo>
                  <a:lnTo>
                    <a:pt x="1274" y="156"/>
                  </a:lnTo>
                  <a:lnTo>
                    <a:pt x="1277" y="158"/>
                  </a:lnTo>
                  <a:lnTo>
                    <a:pt x="1279" y="159"/>
                  </a:lnTo>
                  <a:lnTo>
                    <a:pt x="1281" y="159"/>
                  </a:lnTo>
                  <a:lnTo>
                    <a:pt x="1374" y="159"/>
                  </a:lnTo>
                  <a:lnTo>
                    <a:pt x="1376" y="160"/>
                  </a:lnTo>
                  <a:lnTo>
                    <a:pt x="1378" y="161"/>
                  </a:lnTo>
                  <a:lnTo>
                    <a:pt x="1381" y="163"/>
                  </a:lnTo>
                  <a:lnTo>
                    <a:pt x="1381" y="166"/>
                  </a:lnTo>
                  <a:lnTo>
                    <a:pt x="1381" y="167"/>
                  </a:lnTo>
                  <a:lnTo>
                    <a:pt x="1381" y="263"/>
                  </a:lnTo>
                  <a:lnTo>
                    <a:pt x="1381" y="266"/>
                  </a:lnTo>
                  <a:lnTo>
                    <a:pt x="1380" y="268"/>
                  </a:lnTo>
                  <a:lnTo>
                    <a:pt x="1378" y="270"/>
                  </a:lnTo>
                  <a:lnTo>
                    <a:pt x="1375" y="271"/>
                  </a:lnTo>
                  <a:lnTo>
                    <a:pt x="1374" y="271"/>
                  </a:lnTo>
                  <a:lnTo>
                    <a:pt x="1281" y="271"/>
                  </a:lnTo>
                  <a:lnTo>
                    <a:pt x="1278" y="271"/>
                  </a:lnTo>
                  <a:lnTo>
                    <a:pt x="1276" y="272"/>
                  </a:lnTo>
                  <a:lnTo>
                    <a:pt x="1274" y="275"/>
                  </a:lnTo>
                  <a:lnTo>
                    <a:pt x="1273" y="277"/>
                  </a:lnTo>
                  <a:lnTo>
                    <a:pt x="1273" y="278"/>
                  </a:lnTo>
                  <a:lnTo>
                    <a:pt x="1273" y="419"/>
                  </a:lnTo>
                  <a:lnTo>
                    <a:pt x="1274" y="434"/>
                  </a:lnTo>
                  <a:lnTo>
                    <a:pt x="1275" y="446"/>
                  </a:lnTo>
                  <a:lnTo>
                    <a:pt x="1277" y="452"/>
                  </a:lnTo>
                  <a:lnTo>
                    <a:pt x="1279" y="456"/>
                  </a:lnTo>
                  <a:lnTo>
                    <a:pt x="1281" y="460"/>
                  </a:lnTo>
                  <a:lnTo>
                    <a:pt x="1284" y="463"/>
                  </a:lnTo>
                  <a:lnTo>
                    <a:pt x="1287" y="466"/>
                  </a:lnTo>
                  <a:lnTo>
                    <a:pt x="1291" y="469"/>
                  </a:lnTo>
                  <a:lnTo>
                    <a:pt x="1296" y="471"/>
                  </a:lnTo>
                  <a:lnTo>
                    <a:pt x="1301" y="472"/>
                  </a:lnTo>
                  <a:lnTo>
                    <a:pt x="1307" y="473"/>
                  </a:lnTo>
                  <a:lnTo>
                    <a:pt x="1313" y="474"/>
                  </a:lnTo>
                  <a:lnTo>
                    <a:pt x="1320" y="474"/>
                  </a:lnTo>
                  <a:lnTo>
                    <a:pt x="1328" y="475"/>
                  </a:lnTo>
                  <a:lnTo>
                    <a:pt x="1340" y="474"/>
                  </a:lnTo>
                  <a:lnTo>
                    <a:pt x="1351" y="473"/>
                  </a:lnTo>
                  <a:lnTo>
                    <a:pt x="1361" y="472"/>
                  </a:lnTo>
                  <a:lnTo>
                    <a:pt x="1366" y="471"/>
                  </a:lnTo>
                  <a:lnTo>
                    <a:pt x="1367" y="471"/>
                  </a:lnTo>
                  <a:lnTo>
                    <a:pt x="1368" y="471"/>
                  </a:lnTo>
                  <a:lnTo>
                    <a:pt x="1369" y="474"/>
                  </a:lnTo>
                  <a:lnTo>
                    <a:pt x="1370" y="477"/>
                  </a:lnTo>
                  <a:lnTo>
                    <a:pt x="1370" y="564"/>
                  </a:lnTo>
                  <a:lnTo>
                    <a:pt x="1369" y="569"/>
                  </a:lnTo>
                  <a:lnTo>
                    <a:pt x="1369" y="572"/>
                  </a:lnTo>
                  <a:lnTo>
                    <a:pt x="1368" y="575"/>
                  </a:lnTo>
                  <a:lnTo>
                    <a:pt x="1366" y="577"/>
                  </a:lnTo>
                  <a:lnTo>
                    <a:pt x="1364" y="578"/>
                  </a:lnTo>
                  <a:lnTo>
                    <a:pt x="1362" y="579"/>
                  </a:lnTo>
                  <a:lnTo>
                    <a:pt x="1358" y="580"/>
                  </a:lnTo>
                  <a:lnTo>
                    <a:pt x="1340" y="582"/>
                  </a:lnTo>
                  <a:lnTo>
                    <a:pt x="1317" y="583"/>
                  </a:lnTo>
                  <a:lnTo>
                    <a:pt x="1294" y="584"/>
                  </a:lnTo>
                  <a:lnTo>
                    <a:pt x="1274" y="585"/>
                  </a:lnTo>
                  <a:close/>
                  <a:moveTo>
                    <a:pt x="0" y="572"/>
                  </a:moveTo>
                  <a:lnTo>
                    <a:pt x="0" y="7"/>
                  </a:lnTo>
                  <a:lnTo>
                    <a:pt x="0" y="5"/>
                  </a:lnTo>
                  <a:lnTo>
                    <a:pt x="1" y="3"/>
                  </a:lnTo>
                  <a:lnTo>
                    <a:pt x="4" y="1"/>
                  </a:lnTo>
                  <a:lnTo>
                    <a:pt x="6" y="0"/>
                  </a:lnTo>
                  <a:lnTo>
                    <a:pt x="7" y="0"/>
                  </a:lnTo>
                  <a:lnTo>
                    <a:pt x="200" y="0"/>
                  </a:lnTo>
                  <a:lnTo>
                    <a:pt x="202" y="0"/>
                  </a:lnTo>
                  <a:lnTo>
                    <a:pt x="204" y="1"/>
                  </a:lnTo>
                  <a:lnTo>
                    <a:pt x="206" y="2"/>
                  </a:lnTo>
                  <a:lnTo>
                    <a:pt x="207" y="3"/>
                  </a:lnTo>
                  <a:lnTo>
                    <a:pt x="209" y="6"/>
                  </a:lnTo>
                  <a:lnTo>
                    <a:pt x="209" y="7"/>
                  </a:lnTo>
                  <a:lnTo>
                    <a:pt x="307" y="386"/>
                  </a:lnTo>
                  <a:lnTo>
                    <a:pt x="307" y="387"/>
                  </a:lnTo>
                  <a:lnTo>
                    <a:pt x="308" y="388"/>
                  </a:lnTo>
                  <a:lnTo>
                    <a:pt x="310" y="389"/>
                  </a:lnTo>
                  <a:lnTo>
                    <a:pt x="312" y="389"/>
                  </a:lnTo>
                  <a:lnTo>
                    <a:pt x="313" y="387"/>
                  </a:lnTo>
                  <a:lnTo>
                    <a:pt x="313" y="386"/>
                  </a:lnTo>
                  <a:lnTo>
                    <a:pt x="401" y="7"/>
                  </a:lnTo>
                  <a:lnTo>
                    <a:pt x="402" y="5"/>
                  </a:lnTo>
                  <a:lnTo>
                    <a:pt x="403" y="3"/>
                  </a:lnTo>
                  <a:lnTo>
                    <a:pt x="406" y="1"/>
                  </a:lnTo>
                  <a:lnTo>
                    <a:pt x="409" y="0"/>
                  </a:lnTo>
                  <a:lnTo>
                    <a:pt x="410" y="0"/>
                  </a:lnTo>
                  <a:lnTo>
                    <a:pt x="607" y="0"/>
                  </a:lnTo>
                  <a:lnTo>
                    <a:pt x="610" y="0"/>
                  </a:lnTo>
                  <a:lnTo>
                    <a:pt x="611" y="1"/>
                  </a:lnTo>
                  <a:lnTo>
                    <a:pt x="614" y="4"/>
                  </a:lnTo>
                  <a:lnTo>
                    <a:pt x="615" y="6"/>
                  </a:lnTo>
                  <a:lnTo>
                    <a:pt x="615" y="7"/>
                  </a:lnTo>
                  <a:lnTo>
                    <a:pt x="615" y="572"/>
                  </a:lnTo>
                  <a:lnTo>
                    <a:pt x="614" y="575"/>
                  </a:lnTo>
                  <a:lnTo>
                    <a:pt x="613" y="576"/>
                  </a:lnTo>
                  <a:lnTo>
                    <a:pt x="611" y="579"/>
                  </a:lnTo>
                  <a:lnTo>
                    <a:pt x="608" y="579"/>
                  </a:lnTo>
                  <a:lnTo>
                    <a:pt x="607" y="580"/>
                  </a:lnTo>
                  <a:lnTo>
                    <a:pt x="473" y="580"/>
                  </a:lnTo>
                  <a:lnTo>
                    <a:pt x="470" y="579"/>
                  </a:lnTo>
                  <a:lnTo>
                    <a:pt x="468" y="578"/>
                  </a:lnTo>
                  <a:lnTo>
                    <a:pt x="466" y="576"/>
                  </a:lnTo>
                  <a:lnTo>
                    <a:pt x="465" y="573"/>
                  </a:lnTo>
                  <a:lnTo>
                    <a:pt x="465" y="572"/>
                  </a:lnTo>
                  <a:lnTo>
                    <a:pt x="465" y="226"/>
                  </a:lnTo>
                  <a:lnTo>
                    <a:pt x="465" y="224"/>
                  </a:lnTo>
                  <a:lnTo>
                    <a:pt x="464" y="223"/>
                  </a:lnTo>
                  <a:lnTo>
                    <a:pt x="463" y="222"/>
                  </a:lnTo>
                  <a:lnTo>
                    <a:pt x="462" y="222"/>
                  </a:lnTo>
                  <a:lnTo>
                    <a:pt x="461" y="222"/>
                  </a:lnTo>
                  <a:lnTo>
                    <a:pt x="460" y="223"/>
                  </a:lnTo>
                  <a:lnTo>
                    <a:pt x="458" y="226"/>
                  </a:lnTo>
                  <a:lnTo>
                    <a:pt x="452" y="264"/>
                  </a:lnTo>
                  <a:lnTo>
                    <a:pt x="446" y="298"/>
                  </a:lnTo>
                  <a:lnTo>
                    <a:pt x="443" y="314"/>
                  </a:lnTo>
                  <a:lnTo>
                    <a:pt x="440" y="330"/>
                  </a:lnTo>
                  <a:lnTo>
                    <a:pt x="436" y="346"/>
                  </a:lnTo>
                  <a:lnTo>
                    <a:pt x="432" y="362"/>
                  </a:lnTo>
                  <a:lnTo>
                    <a:pt x="373" y="572"/>
                  </a:lnTo>
                  <a:lnTo>
                    <a:pt x="372" y="575"/>
                  </a:lnTo>
                  <a:lnTo>
                    <a:pt x="371" y="577"/>
                  </a:lnTo>
                  <a:lnTo>
                    <a:pt x="368" y="579"/>
                  </a:lnTo>
                  <a:lnTo>
                    <a:pt x="365" y="579"/>
                  </a:lnTo>
                  <a:lnTo>
                    <a:pt x="364" y="580"/>
                  </a:lnTo>
                  <a:lnTo>
                    <a:pt x="241" y="580"/>
                  </a:lnTo>
                  <a:lnTo>
                    <a:pt x="238" y="579"/>
                  </a:lnTo>
                  <a:lnTo>
                    <a:pt x="236" y="578"/>
                  </a:lnTo>
                  <a:lnTo>
                    <a:pt x="234" y="577"/>
                  </a:lnTo>
                  <a:lnTo>
                    <a:pt x="233" y="576"/>
                  </a:lnTo>
                  <a:lnTo>
                    <a:pt x="232" y="573"/>
                  </a:lnTo>
                  <a:lnTo>
                    <a:pt x="231" y="572"/>
                  </a:lnTo>
                  <a:lnTo>
                    <a:pt x="174" y="362"/>
                  </a:lnTo>
                  <a:lnTo>
                    <a:pt x="169" y="345"/>
                  </a:lnTo>
                  <a:lnTo>
                    <a:pt x="165" y="330"/>
                  </a:lnTo>
                  <a:lnTo>
                    <a:pt x="159" y="301"/>
                  </a:lnTo>
                  <a:lnTo>
                    <a:pt x="153" y="268"/>
                  </a:lnTo>
                  <a:lnTo>
                    <a:pt x="146" y="224"/>
                  </a:lnTo>
                  <a:lnTo>
                    <a:pt x="146" y="223"/>
                  </a:lnTo>
                  <a:lnTo>
                    <a:pt x="145" y="222"/>
                  </a:lnTo>
                  <a:lnTo>
                    <a:pt x="142" y="221"/>
                  </a:lnTo>
                  <a:lnTo>
                    <a:pt x="140" y="222"/>
                  </a:lnTo>
                  <a:lnTo>
                    <a:pt x="140" y="223"/>
                  </a:lnTo>
                  <a:lnTo>
                    <a:pt x="139" y="224"/>
                  </a:lnTo>
                  <a:lnTo>
                    <a:pt x="139" y="572"/>
                  </a:lnTo>
                  <a:lnTo>
                    <a:pt x="139" y="575"/>
                  </a:lnTo>
                  <a:lnTo>
                    <a:pt x="138" y="576"/>
                  </a:lnTo>
                  <a:lnTo>
                    <a:pt x="136" y="579"/>
                  </a:lnTo>
                  <a:lnTo>
                    <a:pt x="133" y="579"/>
                  </a:lnTo>
                  <a:lnTo>
                    <a:pt x="132" y="580"/>
                  </a:lnTo>
                  <a:lnTo>
                    <a:pt x="8" y="580"/>
                  </a:lnTo>
                  <a:lnTo>
                    <a:pt x="5" y="579"/>
                  </a:lnTo>
                  <a:lnTo>
                    <a:pt x="3" y="578"/>
                  </a:lnTo>
                  <a:lnTo>
                    <a:pt x="1" y="576"/>
                  </a:lnTo>
                  <a:lnTo>
                    <a:pt x="0" y="573"/>
                  </a:lnTo>
                  <a:lnTo>
                    <a:pt x="0" y="572"/>
                  </a:lnTo>
                  <a:close/>
                  <a:moveTo>
                    <a:pt x="1063" y="408"/>
                  </a:moveTo>
                  <a:lnTo>
                    <a:pt x="1062" y="410"/>
                  </a:lnTo>
                  <a:lnTo>
                    <a:pt x="1062" y="412"/>
                  </a:lnTo>
                  <a:lnTo>
                    <a:pt x="1061" y="413"/>
                  </a:lnTo>
                  <a:lnTo>
                    <a:pt x="1060" y="414"/>
                  </a:lnTo>
                  <a:lnTo>
                    <a:pt x="1058" y="414"/>
                  </a:lnTo>
                  <a:lnTo>
                    <a:pt x="1057" y="414"/>
                  </a:lnTo>
                  <a:lnTo>
                    <a:pt x="801" y="414"/>
                  </a:lnTo>
                  <a:lnTo>
                    <a:pt x="799" y="415"/>
                  </a:lnTo>
                  <a:lnTo>
                    <a:pt x="797" y="415"/>
                  </a:lnTo>
                  <a:lnTo>
                    <a:pt x="796" y="417"/>
                  </a:lnTo>
                  <a:lnTo>
                    <a:pt x="795" y="418"/>
                  </a:lnTo>
                  <a:lnTo>
                    <a:pt x="795" y="421"/>
                  </a:lnTo>
                  <a:lnTo>
                    <a:pt x="795" y="422"/>
                  </a:lnTo>
                  <a:lnTo>
                    <a:pt x="796" y="430"/>
                  </a:lnTo>
                  <a:lnTo>
                    <a:pt x="799" y="438"/>
                  </a:lnTo>
                  <a:lnTo>
                    <a:pt x="801" y="445"/>
                  </a:lnTo>
                  <a:lnTo>
                    <a:pt x="804" y="451"/>
                  </a:lnTo>
                  <a:lnTo>
                    <a:pt x="808" y="457"/>
                  </a:lnTo>
                  <a:lnTo>
                    <a:pt x="812" y="462"/>
                  </a:lnTo>
                  <a:lnTo>
                    <a:pt x="817" y="466"/>
                  </a:lnTo>
                  <a:lnTo>
                    <a:pt x="822" y="470"/>
                  </a:lnTo>
                  <a:lnTo>
                    <a:pt x="827" y="473"/>
                  </a:lnTo>
                  <a:lnTo>
                    <a:pt x="833" y="476"/>
                  </a:lnTo>
                  <a:lnTo>
                    <a:pt x="840" y="478"/>
                  </a:lnTo>
                  <a:lnTo>
                    <a:pt x="846" y="480"/>
                  </a:lnTo>
                  <a:lnTo>
                    <a:pt x="854" y="481"/>
                  </a:lnTo>
                  <a:lnTo>
                    <a:pt x="861" y="482"/>
                  </a:lnTo>
                  <a:lnTo>
                    <a:pt x="878" y="482"/>
                  </a:lnTo>
                  <a:lnTo>
                    <a:pt x="886" y="482"/>
                  </a:lnTo>
                  <a:lnTo>
                    <a:pt x="894" y="481"/>
                  </a:lnTo>
                  <a:lnTo>
                    <a:pt x="903" y="480"/>
                  </a:lnTo>
                  <a:lnTo>
                    <a:pt x="911" y="479"/>
                  </a:lnTo>
                  <a:lnTo>
                    <a:pt x="928" y="475"/>
                  </a:lnTo>
                  <a:lnTo>
                    <a:pt x="943" y="470"/>
                  </a:lnTo>
                  <a:lnTo>
                    <a:pt x="958" y="464"/>
                  </a:lnTo>
                  <a:lnTo>
                    <a:pt x="971" y="459"/>
                  </a:lnTo>
                  <a:lnTo>
                    <a:pt x="983" y="453"/>
                  </a:lnTo>
                  <a:lnTo>
                    <a:pt x="992" y="448"/>
                  </a:lnTo>
                  <a:lnTo>
                    <a:pt x="994" y="447"/>
                  </a:lnTo>
                  <a:lnTo>
                    <a:pt x="996" y="447"/>
                  </a:lnTo>
                  <a:lnTo>
                    <a:pt x="998" y="447"/>
                  </a:lnTo>
                  <a:lnTo>
                    <a:pt x="999" y="448"/>
                  </a:lnTo>
                  <a:lnTo>
                    <a:pt x="1002" y="450"/>
                  </a:lnTo>
                  <a:lnTo>
                    <a:pt x="1050" y="531"/>
                  </a:lnTo>
                  <a:lnTo>
                    <a:pt x="1052" y="535"/>
                  </a:lnTo>
                  <a:lnTo>
                    <a:pt x="1052" y="537"/>
                  </a:lnTo>
                  <a:lnTo>
                    <a:pt x="1051" y="538"/>
                  </a:lnTo>
                  <a:lnTo>
                    <a:pt x="1051" y="540"/>
                  </a:lnTo>
                  <a:lnTo>
                    <a:pt x="1050" y="540"/>
                  </a:lnTo>
                  <a:lnTo>
                    <a:pt x="1048" y="542"/>
                  </a:lnTo>
                  <a:lnTo>
                    <a:pt x="1038" y="547"/>
                  </a:lnTo>
                  <a:lnTo>
                    <a:pt x="1028" y="553"/>
                  </a:lnTo>
                  <a:lnTo>
                    <a:pt x="1018" y="558"/>
                  </a:lnTo>
                  <a:lnTo>
                    <a:pt x="1007" y="562"/>
                  </a:lnTo>
                  <a:lnTo>
                    <a:pt x="996" y="567"/>
                  </a:lnTo>
                  <a:lnTo>
                    <a:pt x="985" y="570"/>
                  </a:lnTo>
                  <a:lnTo>
                    <a:pt x="974" y="574"/>
                  </a:lnTo>
                  <a:lnTo>
                    <a:pt x="963" y="577"/>
                  </a:lnTo>
                  <a:lnTo>
                    <a:pt x="951" y="580"/>
                  </a:lnTo>
                  <a:lnTo>
                    <a:pt x="939" y="582"/>
                  </a:lnTo>
                  <a:lnTo>
                    <a:pt x="927" y="584"/>
                  </a:lnTo>
                  <a:lnTo>
                    <a:pt x="915" y="585"/>
                  </a:lnTo>
                  <a:lnTo>
                    <a:pt x="903" y="587"/>
                  </a:lnTo>
                  <a:lnTo>
                    <a:pt x="891" y="587"/>
                  </a:lnTo>
                  <a:lnTo>
                    <a:pt x="866" y="588"/>
                  </a:lnTo>
                  <a:lnTo>
                    <a:pt x="844" y="588"/>
                  </a:lnTo>
                  <a:lnTo>
                    <a:pt x="823" y="586"/>
                  </a:lnTo>
                  <a:lnTo>
                    <a:pt x="813" y="584"/>
                  </a:lnTo>
                  <a:lnTo>
                    <a:pt x="802" y="583"/>
                  </a:lnTo>
                  <a:lnTo>
                    <a:pt x="792" y="580"/>
                  </a:lnTo>
                  <a:lnTo>
                    <a:pt x="782" y="578"/>
                  </a:lnTo>
                  <a:lnTo>
                    <a:pt x="772" y="575"/>
                  </a:lnTo>
                  <a:lnTo>
                    <a:pt x="762" y="572"/>
                  </a:lnTo>
                  <a:lnTo>
                    <a:pt x="753" y="568"/>
                  </a:lnTo>
                  <a:lnTo>
                    <a:pt x="744" y="564"/>
                  </a:lnTo>
                  <a:lnTo>
                    <a:pt x="735" y="559"/>
                  </a:lnTo>
                  <a:lnTo>
                    <a:pt x="726" y="554"/>
                  </a:lnTo>
                  <a:lnTo>
                    <a:pt x="718" y="549"/>
                  </a:lnTo>
                  <a:lnTo>
                    <a:pt x="710" y="543"/>
                  </a:lnTo>
                  <a:lnTo>
                    <a:pt x="702" y="537"/>
                  </a:lnTo>
                  <a:lnTo>
                    <a:pt x="694" y="530"/>
                  </a:lnTo>
                  <a:lnTo>
                    <a:pt x="687" y="522"/>
                  </a:lnTo>
                  <a:lnTo>
                    <a:pt x="681" y="514"/>
                  </a:lnTo>
                  <a:lnTo>
                    <a:pt x="675" y="505"/>
                  </a:lnTo>
                  <a:lnTo>
                    <a:pt x="669" y="496"/>
                  </a:lnTo>
                  <a:lnTo>
                    <a:pt x="664" y="486"/>
                  </a:lnTo>
                  <a:lnTo>
                    <a:pt x="659" y="476"/>
                  </a:lnTo>
                  <a:lnTo>
                    <a:pt x="654" y="465"/>
                  </a:lnTo>
                  <a:lnTo>
                    <a:pt x="652" y="459"/>
                  </a:lnTo>
                  <a:lnTo>
                    <a:pt x="651" y="454"/>
                  </a:lnTo>
                  <a:lnTo>
                    <a:pt x="647" y="441"/>
                  </a:lnTo>
                  <a:lnTo>
                    <a:pt x="645" y="429"/>
                  </a:lnTo>
                  <a:lnTo>
                    <a:pt x="642" y="415"/>
                  </a:lnTo>
                  <a:lnTo>
                    <a:pt x="642" y="408"/>
                  </a:lnTo>
                  <a:lnTo>
                    <a:pt x="641" y="401"/>
                  </a:lnTo>
                  <a:lnTo>
                    <a:pt x="640" y="386"/>
                  </a:lnTo>
                  <a:lnTo>
                    <a:pt x="640" y="370"/>
                  </a:lnTo>
                  <a:lnTo>
                    <a:pt x="640" y="355"/>
                  </a:lnTo>
                  <a:lnTo>
                    <a:pt x="641" y="340"/>
                  </a:lnTo>
                  <a:lnTo>
                    <a:pt x="643" y="326"/>
                  </a:lnTo>
                  <a:lnTo>
                    <a:pt x="646" y="313"/>
                  </a:lnTo>
                  <a:lnTo>
                    <a:pt x="649" y="300"/>
                  </a:lnTo>
                  <a:lnTo>
                    <a:pt x="653" y="288"/>
                  </a:lnTo>
                  <a:lnTo>
                    <a:pt x="657" y="276"/>
                  </a:lnTo>
                  <a:lnTo>
                    <a:pt x="662" y="265"/>
                  </a:lnTo>
                  <a:lnTo>
                    <a:pt x="668" y="255"/>
                  </a:lnTo>
                  <a:lnTo>
                    <a:pt x="674" y="245"/>
                  </a:lnTo>
                  <a:lnTo>
                    <a:pt x="680" y="236"/>
                  </a:lnTo>
                  <a:lnTo>
                    <a:pt x="687" y="227"/>
                  </a:lnTo>
                  <a:lnTo>
                    <a:pt x="694" y="219"/>
                  </a:lnTo>
                  <a:lnTo>
                    <a:pt x="702" y="212"/>
                  </a:lnTo>
                  <a:lnTo>
                    <a:pt x="710" y="204"/>
                  </a:lnTo>
                  <a:lnTo>
                    <a:pt x="718" y="198"/>
                  </a:lnTo>
                  <a:lnTo>
                    <a:pt x="727" y="192"/>
                  </a:lnTo>
                  <a:lnTo>
                    <a:pt x="735" y="186"/>
                  </a:lnTo>
                  <a:lnTo>
                    <a:pt x="744" y="181"/>
                  </a:lnTo>
                  <a:lnTo>
                    <a:pt x="753" y="177"/>
                  </a:lnTo>
                  <a:lnTo>
                    <a:pt x="762" y="172"/>
                  </a:lnTo>
                  <a:lnTo>
                    <a:pt x="771" y="169"/>
                  </a:lnTo>
                  <a:lnTo>
                    <a:pt x="781" y="165"/>
                  </a:lnTo>
                  <a:lnTo>
                    <a:pt x="790" y="162"/>
                  </a:lnTo>
                  <a:lnTo>
                    <a:pt x="799" y="160"/>
                  </a:lnTo>
                  <a:lnTo>
                    <a:pt x="808" y="158"/>
                  </a:lnTo>
                  <a:lnTo>
                    <a:pt x="817" y="156"/>
                  </a:lnTo>
                  <a:lnTo>
                    <a:pt x="826" y="154"/>
                  </a:lnTo>
                  <a:lnTo>
                    <a:pt x="844" y="152"/>
                  </a:lnTo>
                  <a:lnTo>
                    <a:pt x="852" y="152"/>
                  </a:lnTo>
                  <a:lnTo>
                    <a:pt x="860" y="152"/>
                  </a:lnTo>
                  <a:lnTo>
                    <a:pt x="868" y="152"/>
                  </a:lnTo>
                  <a:lnTo>
                    <a:pt x="876" y="152"/>
                  </a:lnTo>
                  <a:lnTo>
                    <a:pt x="893" y="153"/>
                  </a:lnTo>
                  <a:lnTo>
                    <a:pt x="901" y="155"/>
                  </a:lnTo>
                  <a:lnTo>
                    <a:pt x="910" y="156"/>
                  </a:lnTo>
                  <a:lnTo>
                    <a:pt x="927" y="160"/>
                  </a:lnTo>
                  <a:lnTo>
                    <a:pt x="936" y="162"/>
                  </a:lnTo>
                  <a:lnTo>
                    <a:pt x="944" y="165"/>
                  </a:lnTo>
                  <a:lnTo>
                    <a:pt x="953" y="168"/>
                  </a:lnTo>
                  <a:lnTo>
                    <a:pt x="961" y="172"/>
                  </a:lnTo>
                  <a:lnTo>
                    <a:pt x="969" y="177"/>
                  </a:lnTo>
                  <a:lnTo>
                    <a:pt x="977" y="181"/>
                  </a:lnTo>
                  <a:lnTo>
                    <a:pt x="985" y="187"/>
                  </a:lnTo>
                  <a:lnTo>
                    <a:pt x="993" y="193"/>
                  </a:lnTo>
                  <a:lnTo>
                    <a:pt x="1000" y="199"/>
                  </a:lnTo>
                  <a:lnTo>
                    <a:pt x="1007" y="207"/>
                  </a:lnTo>
                  <a:lnTo>
                    <a:pt x="1014" y="215"/>
                  </a:lnTo>
                  <a:lnTo>
                    <a:pt x="1021" y="223"/>
                  </a:lnTo>
                  <a:lnTo>
                    <a:pt x="1027" y="233"/>
                  </a:lnTo>
                  <a:lnTo>
                    <a:pt x="1032" y="243"/>
                  </a:lnTo>
                  <a:lnTo>
                    <a:pt x="1035" y="248"/>
                  </a:lnTo>
                  <a:lnTo>
                    <a:pt x="1038" y="253"/>
                  </a:lnTo>
                  <a:lnTo>
                    <a:pt x="1043" y="265"/>
                  </a:lnTo>
                  <a:lnTo>
                    <a:pt x="1047" y="278"/>
                  </a:lnTo>
                  <a:lnTo>
                    <a:pt x="1051" y="291"/>
                  </a:lnTo>
                  <a:lnTo>
                    <a:pt x="1054" y="305"/>
                  </a:lnTo>
                  <a:lnTo>
                    <a:pt x="1057" y="320"/>
                  </a:lnTo>
                  <a:lnTo>
                    <a:pt x="1060" y="336"/>
                  </a:lnTo>
                  <a:lnTo>
                    <a:pt x="1061" y="354"/>
                  </a:lnTo>
                  <a:lnTo>
                    <a:pt x="1062" y="372"/>
                  </a:lnTo>
                  <a:lnTo>
                    <a:pt x="1063" y="391"/>
                  </a:lnTo>
                  <a:lnTo>
                    <a:pt x="1063" y="408"/>
                  </a:lnTo>
                  <a:close/>
                  <a:moveTo>
                    <a:pt x="918" y="326"/>
                  </a:moveTo>
                  <a:lnTo>
                    <a:pt x="921" y="325"/>
                  </a:lnTo>
                  <a:lnTo>
                    <a:pt x="922" y="325"/>
                  </a:lnTo>
                  <a:lnTo>
                    <a:pt x="923" y="323"/>
                  </a:lnTo>
                  <a:lnTo>
                    <a:pt x="924" y="322"/>
                  </a:lnTo>
                  <a:lnTo>
                    <a:pt x="925" y="319"/>
                  </a:lnTo>
                  <a:lnTo>
                    <a:pt x="924" y="318"/>
                  </a:lnTo>
                  <a:lnTo>
                    <a:pt x="923" y="311"/>
                  </a:lnTo>
                  <a:lnTo>
                    <a:pt x="922" y="304"/>
                  </a:lnTo>
                  <a:lnTo>
                    <a:pt x="920" y="297"/>
                  </a:lnTo>
                  <a:lnTo>
                    <a:pt x="917" y="291"/>
                  </a:lnTo>
                  <a:lnTo>
                    <a:pt x="915" y="286"/>
                  </a:lnTo>
                  <a:lnTo>
                    <a:pt x="911" y="281"/>
                  </a:lnTo>
                  <a:lnTo>
                    <a:pt x="908" y="277"/>
                  </a:lnTo>
                  <a:lnTo>
                    <a:pt x="904" y="273"/>
                  </a:lnTo>
                  <a:lnTo>
                    <a:pt x="900" y="270"/>
                  </a:lnTo>
                  <a:lnTo>
                    <a:pt x="895" y="267"/>
                  </a:lnTo>
                  <a:lnTo>
                    <a:pt x="890" y="265"/>
                  </a:lnTo>
                  <a:lnTo>
                    <a:pt x="885" y="263"/>
                  </a:lnTo>
                  <a:lnTo>
                    <a:pt x="879" y="262"/>
                  </a:lnTo>
                  <a:lnTo>
                    <a:pt x="873" y="261"/>
                  </a:lnTo>
                  <a:lnTo>
                    <a:pt x="866" y="260"/>
                  </a:lnTo>
                  <a:lnTo>
                    <a:pt x="860" y="260"/>
                  </a:lnTo>
                  <a:lnTo>
                    <a:pt x="854" y="260"/>
                  </a:lnTo>
                  <a:lnTo>
                    <a:pt x="849" y="261"/>
                  </a:lnTo>
                  <a:lnTo>
                    <a:pt x="844" y="262"/>
                  </a:lnTo>
                  <a:lnTo>
                    <a:pt x="839" y="263"/>
                  </a:lnTo>
                  <a:lnTo>
                    <a:pt x="834" y="265"/>
                  </a:lnTo>
                  <a:lnTo>
                    <a:pt x="830" y="267"/>
                  </a:lnTo>
                  <a:lnTo>
                    <a:pt x="826" y="270"/>
                  </a:lnTo>
                  <a:lnTo>
                    <a:pt x="821" y="273"/>
                  </a:lnTo>
                  <a:lnTo>
                    <a:pt x="818" y="277"/>
                  </a:lnTo>
                  <a:lnTo>
                    <a:pt x="814" y="281"/>
                  </a:lnTo>
                  <a:lnTo>
                    <a:pt x="810" y="286"/>
                  </a:lnTo>
                  <a:lnTo>
                    <a:pt x="807" y="291"/>
                  </a:lnTo>
                  <a:lnTo>
                    <a:pt x="804" y="297"/>
                  </a:lnTo>
                  <a:lnTo>
                    <a:pt x="802" y="304"/>
                  </a:lnTo>
                  <a:lnTo>
                    <a:pt x="799" y="311"/>
                  </a:lnTo>
                  <a:lnTo>
                    <a:pt x="797" y="318"/>
                  </a:lnTo>
                  <a:lnTo>
                    <a:pt x="797" y="321"/>
                  </a:lnTo>
                  <a:lnTo>
                    <a:pt x="797" y="323"/>
                  </a:lnTo>
                  <a:lnTo>
                    <a:pt x="798" y="324"/>
                  </a:lnTo>
                  <a:lnTo>
                    <a:pt x="799" y="325"/>
                  </a:lnTo>
                  <a:lnTo>
                    <a:pt x="800" y="326"/>
                  </a:lnTo>
                  <a:lnTo>
                    <a:pt x="802" y="326"/>
                  </a:lnTo>
                  <a:lnTo>
                    <a:pt x="918" y="326"/>
                  </a:lnTo>
                  <a:close/>
                  <a:moveTo>
                    <a:pt x="1595" y="588"/>
                  </a:moveTo>
                  <a:lnTo>
                    <a:pt x="1577" y="588"/>
                  </a:lnTo>
                  <a:lnTo>
                    <a:pt x="1560" y="587"/>
                  </a:lnTo>
                  <a:lnTo>
                    <a:pt x="1543" y="585"/>
                  </a:lnTo>
                  <a:lnTo>
                    <a:pt x="1528" y="584"/>
                  </a:lnTo>
                  <a:lnTo>
                    <a:pt x="1513" y="581"/>
                  </a:lnTo>
                  <a:lnTo>
                    <a:pt x="1499" y="578"/>
                  </a:lnTo>
                  <a:lnTo>
                    <a:pt x="1485" y="575"/>
                  </a:lnTo>
                  <a:lnTo>
                    <a:pt x="1472" y="571"/>
                  </a:lnTo>
                  <a:lnTo>
                    <a:pt x="1460" y="567"/>
                  </a:lnTo>
                  <a:lnTo>
                    <a:pt x="1449" y="563"/>
                  </a:lnTo>
                  <a:lnTo>
                    <a:pt x="1438" y="558"/>
                  </a:lnTo>
                  <a:lnTo>
                    <a:pt x="1427" y="553"/>
                  </a:lnTo>
                  <a:lnTo>
                    <a:pt x="1418" y="548"/>
                  </a:lnTo>
                  <a:lnTo>
                    <a:pt x="1409" y="543"/>
                  </a:lnTo>
                  <a:lnTo>
                    <a:pt x="1393" y="532"/>
                  </a:lnTo>
                  <a:lnTo>
                    <a:pt x="1391" y="531"/>
                  </a:lnTo>
                  <a:lnTo>
                    <a:pt x="1390" y="529"/>
                  </a:lnTo>
                  <a:lnTo>
                    <a:pt x="1389" y="527"/>
                  </a:lnTo>
                  <a:lnTo>
                    <a:pt x="1389" y="525"/>
                  </a:lnTo>
                  <a:lnTo>
                    <a:pt x="1390" y="523"/>
                  </a:lnTo>
                  <a:lnTo>
                    <a:pt x="1391" y="522"/>
                  </a:lnTo>
                  <a:lnTo>
                    <a:pt x="1440" y="446"/>
                  </a:lnTo>
                  <a:lnTo>
                    <a:pt x="1442" y="444"/>
                  </a:lnTo>
                  <a:lnTo>
                    <a:pt x="1443" y="444"/>
                  </a:lnTo>
                  <a:lnTo>
                    <a:pt x="1444" y="443"/>
                  </a:lnTo>
                  <a:lnTo>
                    <a:pt x="1446" y="443"/>
                  </a:lnTo>
                  <a:lnTo>
                    <a:pt x="1448" y="444"/>
                  </a:lnTo>
                  <a:lnTo>
                    <a:pt x="1450" y="445"/>
                  </a:lnTo>
                  <a:lnTo>
                    <a:pt x="1465" y="456"/>
                  </a:lnTo>
                  <a:lnTo>
                    <a:pt x="1483" y="465"/>
                  </a:lnTo>
                  <a:lnTo>
                    <a:pt x="1501" y="473"/>
                  </a:lnTo>
                  <a:lnTo>
                    <a:pt x="1510" y="476"/>
                  </a:lnTo>
                  <a:lnTo>
                    <a:pt x="1520" y="479"/>
                  </a:lnTo>
                  <a:lnTo>
                    <a:pt x="1529" y="482"/>
                  </a:lnTo>
                  <a:lnTo>
                    <a:pt x="1539" y="485"/>
                  </a:lnTo>
                  <a:lnTo>
                    <a:pt x="1558" y="489"/>
                  </a:lnTo>
                  <a:lnTo>
                    <a:pt x="1576" y="491"/>
                  </a:lnTo>
                  <a:lnTo>
                    <a:pt x="1594" y="492"/>
                  </a:lnTo>
                  <a:lnTo>
                    <a:pt x="1604" y="491"/>
                  </a:lnTo>
                  <a:lnTo>
                    <a:pt x="1613" y="490"/>
                  </a:lnTo>
                  <a:lnTo>
                    <a:pt x="1622" y="488"/>
                  </a:lnTo>
                  <a:lnTo>
                    <a:pt x="1629" y="486"/>
                  </a:lnTo>
                  <a:lnTo>
                    <a:pt x="1632" y="484"/>
                  </a:lnTo>
                  <a:lnTo>
                    <a:pt x="1635" y="482"/>
                  </a:lnTo>
                  <a:lnTo>
                    <a:pt x="1638" y="480"/>
                  </a:lnTo>
                  <a:lnTo>
                    <a:pt x="1640" y="477"/>
                  </a:lnTo>
                  <a:lnTo>
                    <a:pt x="1642" y="474"/>
                  </a:lnTo>
                  <a:lnTo>
                    <a:pt x="1643" y="471"/>
                  </a:lnTo>
                  <a:lnTo>
                    <a:pt x="1644" y="468"/>
                  </a:lnTo>
                  <a:lnTo>
                    <a:pt x="1644" y="464"/>
                  </a:lnTo>
                  <a:lnTo>
                    <a:pt x="1644" y="461"/>
                  </a:lnTo>
                  <a:lnTo>
                    <a:pt x="1643" y="457"/>
                  </a:lnTo>
                  <a:lnTo>
                    <a:pt x="1642" y="454"/>
                  </a:lnTo>
                  <a:lnTo>
                    <a:pt x="1641" y="451"/>
                  </a:lnTo>
                  <a:lnTo>
                    <a:pt x="1640" y="449"/>
                  </a:lnTo>
                  <a:lnTo>
                    <a:pt x="1638" y="448"/>
                  </a:lnTo>
                  <a:lnTo>
                    <a:pt x="1636" y="445"/>
                  </a:lnTo>
                  <a:lnTo>
                    <a:pt x="1629" y="441"/>
                  </a:lnTo>
                  <a:lnTo>
                    <a:pt x="1620" y="437"/>
                  </a:lnTo>
                  <a:lnTo>
                    <a:pt x="1609" y="434"/>
                  </a:lnTo>
                  <a:lnTo>
                    <a:pt x="1595" y="432"/>
                  </a:lnTo>
                  <a:lnTo>
                    <a:pt x="1579" y="429"/>
                  </a:lnTo>
                  <a:lnTo>
                    <a:pt x="1551" y="425"/>
                  </a:lnTo>
                  <a:lnTo>
                    <a:pt x="1537" y="422"/>
                  </a:lnTo>
                  <a:lnTo>
                    <a:pt x="1522" y="419"/>
                  </a:lnTo>
                  <a:lnTo>
                    <a:pt x="1508" y="415"/>
                  </a:lnTo>
                  <a:lnTo>
                    <a:pt x="1493" y="411"/>
                  </a:lnTo>
                  <a:lnTo>
                    <a:pt x="1480" y="405"/>
                  </a:lnTo>
                  <a:lnTo>
                    <a:pt x="1466" y="398"/>
                  </a:lnTo>
                  <a:lnTo>
                    <a:pt x="1460" y="395"/>
                  </a:lnTo>
                  <a:lnTo>
                    <a:pt x="1454" y="391"/>
                  </a:lnTo>
                  <a:lnTo>
                    <a:pt x="1448" y="386"/>
                  </a:lnTo>
                  <a:lnTo>
                    <a:pt x="1443" y="382"/>
                  </a:lnTo>
                  <a:lnTo>
                    <a:pt x="1438" y="377"/>
                  </a:lnTo>
                  <a:lnTo>
                    <a:pt x="1433" y="371"/>
                  </a:lnTo>
                  <a:lnTo>
                    <a:pt x="1428" y="366"/>
                  </a:lnTo>
                  <a:lnTo>
                    <a:pt x="1424" y="359"/>
                  </a:lnTo>
                  <a:lnTo>
                    <a:pt x="1420" y="353"/>
                  </a:lnTo>
                  <a:lnTo>
                    <a:pt x="1417" y="346"/>
                  </a:lnTo>
                  <a:lnTo>
                    <a:pt x="1414" y="338"/>
                  </a:lnTo>
                  <a:lnTo>
                    <a:pt x="1411" y="330"/>
                  </a:lnTo>
                  <a:lnTo>
                    <a:pt x="1410" y="322"/>
                  </a:lnTo>
                  <a:lnTo>
                    <a:pt x="1408" y="313"/>
                  </a:lnTo>
                  <a:lnTo>
                    <a:pt x="1408" y="308"/>
                  </a:lnTo>
                  <a:lnTo>
                    <a:pt x="1407" y="304"/>
                  </a:lnTo>
                  <a:lnTo>
                    <a:pt x="1407" y="294"/>
                  </a:lnTo>
                  <a:lnTo>
                    <a:pt x="1407" y="285"/>
                  </a:lnTo>
                  <a:lnTo>
                    <a:pt x="1408" y="277"/>
                  </a:lnTo>
                  <a:lnTo>
                    <a:pt x="1409" y="268"/>
                  </a:lnTo>
                  <a:lnTo>
                    <a:pt x="1410" y="261"/>
                  </a:lnTo>
                  <a:lnTo>
                    <a:pt x="1412" y="253"/>
                  </a:lnTo>
                  <a:lnTo>
                    <a:pt x="1415" y="246"/>
                  </a:lnTo>
                  <a:lnTo>
                    <a:pt x="1417" y="239"/>
                  </a:lnTo>
                  <a:lnTo>
                    <a:pt x="1420" y="232"/>
                  </a:lnTo>
                  <a:lnTo>
                    <a:pt x="1424" y="225"/>
                  </a:lnTo>
                  <a:lnTo>
                    <a:pt x="1428" y="219"/>
                  </a:lnTo>
                  <a:lnTo>
                    <a:pt x="1436" y="208"/>
                  </a:lnTo>
                  <a:lnTo>
                    <a:pt x="1441" y="202"/>
                  </a:lnTo>
                  <a:lnTo>
                    <a:pt x="1446" y="197"/>
                  </a:lnTo>
                  <a:lnTo>
                    <a:pt x="1457" y="188"/>
                  </a:lnTo>
                  <a:lnTo>
                    <a:pt x="1463" y="183"/>
                  </a:lnTo>
                  <a:lnTo>
                    <a:pt x="1469" y="179"/>
                  </a:lnTo>
                  <a:lnTo>
                    <a:pt x="1483" y="172"/>
                  </a:lnTo>
                  <a:lnTo>
                    <a:pt x="1490" y="169"/>
                  </a:lnTo>
                  <a:lnTo>
                    <a:pt x="1497" y="166"/>
                  </a:lnTo>
                  <a:lnTo>
                    <a:pt x="1512" y="161"/>
                  </a:lnTo>
                  <a:lnTo>
                    <a:pt x="1528" y="157"/>
                  </a:lnTo>
                  <a:lnTo>
                    <a:pt x="1544" y="154"/>
                  </a:lnTo>
                  <a:lnTo>
                    <a:pt x="1561" y="152"/>
                  </a:lnTo>
                  <a:lnTo>
                    <a:pt x="1579" y="152"/>
                  </a:lnTo>
                  <a:lnTo>
                    <a:pt x="1595" y="152"/>
                  </a:lnTo>
                  <a:lnTo>
                    <a:pt x="1611" y="153"/>
                  </a:lnTo>
                  <a:lnTo>
                    <a:pt x="1626" y="154"/>
                  </a:lnTo>
                  <a:lnTo>
                    <a:pt x="1641" y="156"/>
                  </a:lnTo>
                  <a:lnTo>
                    <a:pt x="1654" y="158"/>
                  </a:lnTo>
                  <a:lnTo>
                    <a:pt x="1667" y="160"/>
                  </a:lnTo>
                  <a:lnTo>
                    <a:pt x="1679" y="163"/>
                  </a:lnTo>
                  <a:lnTo>
                    <a:pt x="1691" y="167"/>
                  </a:lnTo>
                  <a:lnTo>
                    <a:pt x="1702" y="170"/>
                  </a:lnTo>
                  <a:lnTo>
                    <a:pt x="1713" y="174"/>
                  </a:lnTo>
                  <a:lnTo>
                    <a:pt x="1723" y="179"/>
                  </a:lnTo>
                  <a:lnTo>
                    <a:pt x="1733" y="183"/>
                  </a:lnTo>
                  <a:lnTo>
                    <a:pt x="1742" y="188"/>
                  </a:lnTo>
                  <a:lnTo>
                    <a:pt x="1751" y="194"/>
                  </a:lnTo>
                  <a:lnTo>
                    <a:pt x="1768" y="205"/>
                  </a:lnTo>
                  <a:lnTo>
                    <a:pt x="1770" y="207"/>
                  </a:lnTo>
                  <a:lnTo>
                    <a:pt x="1771" y="209"/>
                  </a:lnTo>
                  <a:lnTo>
                    <a:pt x="1772" y="211"/>
                  </a:lnTo>
                  <a:lnTo>
                    <a:pt x="1772" y="212"/>
                  </a:lnTo>
                  <a:lnTo>
                    <a:pt x="1771" y="215"/>
                  </a:lnTo>
                  <a:lnTo>
                    <a:pt x="1770" y="216"/>
                  </a:lnTo>
                  <a:lnTo>
                    <a:pt x="1722" y="288"/>
                  </a:lnTo>
                  <a:lnTo>
                    <a:pt x="1720" y="290"/>
                  </a:lnTo>
                  <a:lnTo>
                    <a:pt x="1718" y="292"/>
                  </a:lnTo>
                  <a:lnTo>
                    <a:pt x="1716" y="292"/>
                  </a:lnTo>
                  <a:lnTo>
                    <a:pt x="1715" y="292"/>
                  </a:lnTo>
                  <a:lnTo>
                    <a:pt x="1711" y="292"/>
                  </a:lnTo>
                  <a:lnTo>
                    <a:pt x="1708" y="290"/>
                  </a:lnTo>
                  <a:lnTo>
                    <a:pt x="1693" y="282"/>
                  </a:lnTo>
                  <a:lnTo>
                    <a:pt x="1677" y="274"/>
                  </a:lnTo>
                  <a:lnTo>
                    <a:pt x="1662" y="268"/>
                  </a:lnTo>
                  <a:lnTo>
                    <a:pt x="1647" y="263"/>
                  </a:lnTo>
                  <a:lnTo>
                    <a:pt x="1633" y="258"/>
                  </a:lnTo>
                  <a:lnTo>
                    <a:pt x="1619" y="255"/>
                  </a:lnTo>
                  <a:lnTo>
                    <a:pt x="1612" y="254"/>
                  </a:lnTo>
                  <a:lnTo>
                    <a:pt x="1606" y="254"/>
                  </a:lnTo>
                  <a:lnTo>
                    <a:pt x="1593" y="253"/>
                  </a:lnTo>
                  <a:lnTo>
                    <a:pt x="1584" y="253"/>
                  </a:lnTo>
                  <a:lnTo>
                    <a:pt x="1576" y="254"/>
                  </a:lnTo>
                  <a:lnTo>
                    <a:pt x="1568" y="256"/>
                  </a:lnTo>
                  <a:lnTo>
                    <a:pt x="1562" y="259"/>
                  </a:lnTo>
                  <a:lnTo>
                    <a:pt x="1560" y="261"/>
                  </a:lnTo>
                  <a:lnTo>
                    <a:pt x="1557" y="263"/>
                  </a:lnTo>
                  <a:lnTo>
                    <a:pt x="1554" y="267"/>
                  </a:lnTo>
                  <a:lnTo>
                    <a:pt x="1552" y="270"/>
                  </a:lnTo>
                  <a:lnTo>
                    <a:pt x="1551" y="273"/>
                  </a:lnTo>
                  <a:lnTo>
                    <a:pt x="1551" y="276"/>
                  </a:lnTo>
                  <a:lnTo>
                    <a:pt x="1550" y="280"/>
                  </a:lnTo>
                  <a:lnTo>
                    <a:pt x="1551" y="283"/>
                  </a:lnTo>
                  <a:lnTo>
                    <a:pt x="1551" y="286"/>
                  </a:lnTo>
                  <a:lnTo>
                    <a:pt x="1553" y="289"/>
                  </a:lnTo>
                  <a:lnTo>
                    <a:pt x="1555" y="292"/>
                  </a:lnTo>
                  <a:lnTo>
                    <a:pt x="1557" y="295"/>
                  </a:lnTo>
                  <a:lnTo>
                    <a:pt x="1560" y="297"/>
                  </a:lnTo>
                  <a:lnTo>
                    <a:pt x="1563" y="299"/>
                  </a:lnTo>
                  <a:lnTo>
                    <a:pt x="1567" y="301"/>
                  </a:lnTo>
                  <a:lnTo>
                    <a:pt x="1576" y="304"/>
                  </a:lnTo>
                  <a:lnTo>
                    <a:pt x="1587" y="307"/>
                  </a:lnTo>
                  <a:lnTo>
                    <a:pt x="1600" y="309"/>
                  </a:lnTo>
                  <a:lnTo>
                    <a:pt x="1615" y="312"/>
                  </a:lnTo>
                  <a:lnTo>
                    <a:pt x="1642" y="316"/>
                  </a:lnTo>
                  <a:lnTo>
                    <a:pt x="1657" y="318"/>
                  </a:lnTo>
                  <a:lnTo>
                    <a:pt x="1672" y="321"/>
                  </a:lnTo>
                  <a:lnTo>
                    <a:pt x="1686" y="325"/>
                  </a:lnTo>
                  <a:lnTo>
                    <a:pt x="1701" y="329"/>
                  </a:lnTo>
                  <a:lnTo>
                    <a:pt x="1715" y="334"/>
                  </a:lnTo>
                  <a:lnTo>
                    <a:pt x="1728" y="340"/>
                  </a:lnTo>
                  <a:lnTo>
                    <a:pt x="1740" y="348"/>
                  </a:lnTo>
                  <a:lnTo>
                    <a:pt x="1746" y="352"/>
                  </a:lnTo>
                  <a:lnTo>
                    <a:pt x="1752" y="356"/>
                  </a:lnTo>
                  <a:lnTo>
                    <a:pt x="1757" y="361"/>
                  </a:lnTo>
                  <a:lnTo>
                    <a:pt x="1762" y="366"/>
                  </a:lnTo>
                  <a:lnTo>
                    <a:pt x="1766" y="371"/>
                  </a:lnTo>
                  <a:lnTo>
                    <a:pt x="1771" y="377"/>
                  </a:lnTo>
                  <a:lnTo>
                    <a:pt x="1774" y="383"/>
                  </a:lnTo>
                  <a:lnTo>
                    <a:pt x="1778" y="390"/>
                  </a:lnTo>
                  <a:lnTo>
                    <a:pt x="1781" y="397"/>
                  </a:lnTo>
                  <a:lnTo>
                    <a:pt x="1783" y="404"/>
                  </a:lnTo>
                  <a:lnTo>
                    <a:pt x="1785" y="412"/>
                  </a:lnTo>
                  <a:lnTo>
                    <a:pt x="1787" y="420"/>
                  </a:lnTo>
                  <a:lnTo>
                    <a:pt x="1787" y="425"/>
                  </a:lnTo>
                  <a:lnTo>
                    <a:pt x="1787" y="429"/>
                  </a:lnTo>
                  <a:lnTo>
                    <a:pt x="1788" y="438"/>
                  </a:lnTo>
                  <a:lnTo>
                    <a:pt x="1787" y="449"/>
                  </a:lnTo>
                  <a:lnTo>
                    <a:pt x="1787" y="458"/>
                  </a:lnTo>
                  <a:lnTo>
                    <a:pt x="1785" y="468"/>
                  </a:lnTo>
                  <a:lnTo>
                    <a:pt x="1783" y="477"/>
                  </a:lnTo>
                  <a:lnTo>
                    <a:pt x="1781" y="485"/>
                  </a:lnTo>
                  <a:lnTo>
                    <a:pt x="1778" y="494"/>
                  </a:lnTo>
                  <a:lnTo>
                    <a:pt x="1775" y="501"/>
                  </a:lnTo>
                  <a:lnTo>
                    <a:pt x="1771" y="509"/>
                  </a:lnTo>
                  <a:lnTo>
                    <a:pt x="1767" y="516"/>
                  </a:lnTo>
                  <a:lnTo>
                    <a:pt x="1763" y="523"/>
                  </a:lnTo>
                  <a:lnTo>
                    <a:pt x="1758" y="529"/>
                  </a:lnTo>
                  <a:lnTo>
                    <a:pt x="1752" y="535"/>
                  </a:lnTo>
                  <a:lnTo>
                    <a:pt x="1747" y="540"/>
                  </a:lnTo>
                  <a:lnTo>
                    <a:pt x="1741" y="546"/>
                  </a:lnTo>
                  <a:lnTo>
                    <a:pt x="1734" y="550"/>
                  </a:lnTo>
                  <a:lnTo>
                    <a:pt x="1728" y="555"/>
                  </a:lnTo>
                  <a:lnTo>
                    <a:pt x="1721" y="559"/>
                  </a:lnTo>
                  <a:lnTo>
                    <a:pt x="1714" y="563"/>
                  </a:lnTo>
                  <a:lnTo>
                    <a:pt x="1699" y="570"/>
                  </a:lnTo>
                  <a:lnTo>
                    <a:pt x="1683" y="576"/>
                  </a:lnTo>
                  <a:lnTo>
                    <a:pt x="1675" y="578"/>
                  </a:lnTo>
                  <a:lnTo>
                    <a:pt x="1666" y="580"/>
                  </a:lnTo>
                  <a:lnTo>
                    <a:pt x="1649" y="584"/>
                  </a:lnTo>
                  <a:lnTo>
                    <a:pt x="1631" y="586"/>
                  </a:lnTo>
                  <a:lnTo>
                    <a:pt x="1613" y="588"/>
                  </a:lnTo>
                  <a:lnTo>
                    <a:pt x="1595" y="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Tree>
    <p:extLst>
      <p:ext uri="{BB962C8B-B14F-4D97-AF65-F5344CB8AC3E}">
        <p14:creationId xmlns:p14="http://schemas.microsoft.com/office/powerpoint/2010/main" val="1552494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Section header / meri">
    <p:bg>
      <p:bgPr>
        <a:solidFill>
          <a:schemeClr val="accent4"/>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noFill/>
              </a:defRPr>
            </a:lvl1pPr>
          </a:lstStyle>
          <a:p>
            <a:fld id="{0EFE15CB-DF76-4428-AA1A-F64EDAEF0077}" type="datetime1">
              <a:rPr lang="en-GB" smtClean="0"/>
              <a:t>22/10/2025</a:t>
            </a:fld>
            <a:endParaRPr lang="fi-FI"/>
          </a:p>
        </p:txBody>
      </p:sp>
      <p:sp>
        <p:nvSpPr>
          <p:cNvPr id="5" name="Footer Placeholder 4"/>
          <p:cNvSpPr>
            <a:spLocks noGrp="1"/>
          </p:cNvSpPr>
          <p:nvPr>
            <p:ph type="ftr" sz="quarter" idx="11"/>
          </p:nvPr>
        </p:nvSpPr>
        <p:spPr/>
        <p:txBody>
          <a:bodyPr/>
          <a:lstStyle>
            <a:lvl1pPr>
              <a:defRPr>
                <a:noFill/>
              </a:defRPr>
            </a:lvl1pPr>
          </a:lstStyle>
          <a:p>
            <a:r>
              <a:rPr lang="fi-FI"/>
              <a:t>Presentation name / Author</a:t>
            </a:r>
          </a:p>
        </p:txBody>
      </p:sp>
      <p:sp>
        <p:nvSpPr>
          <p:cNvPr id="6" name="Slide Number Placeholder 5"/>
          <p:cNvSpPr>
            <a:spLocks noGrp="1"/>
          </p:cNvSpPr>
          <p:nvPr>
            <p:ph type="sldNum" sz="quarter" idx="12"/>
          </p:nvPr>
        </p:nvSpPr>
        <p:spPr/>
        <p:txBody>
          <a:bodyPr/>
          <a:lstStyle>
            <a:lvl1pPr>
              <a:defRPr>
                <a:noFill/>
              </a:defRPr>
            </a:lvl1pPr>
          </a:lstStyle>
          <a:p>
            <a:fld id="{49A25110-65A2-4B67-BF3F-8D6D3162EF46}" type="slidenum">
              <a:rPr lang="fi-FI" smtClean="0"/>
              <a:pPr/>
              <a:t>‹#›</a:t>
            </a:fld>
            <a:endParaRPr lang="fi-FI"/>
          </a:p>
        </p:txBody>
      </p:sp>
      <p:sp>
        <p:nvSpPr>
          <p:cNvPr id="10" name="Title 1"/>
          <p:cNvSpPr>
            <a:spLocks noGrp="1"/>
          </p:cNvSpPr>
          <p:nvPr>
            <p:ph type="title"/>
          </p:nvPr>
        </p:nvSpPr>
        <p:spPr>
          <a:xfrm>
            <a:off x="766762" y="3035936"/>
            <a:ext cx="10658475" cy="643253"/>
          </a:xfrm>
        </p:spPr>
        <p:txBody>
          <a:bodyPr anchor="ctr" anchorCtr="0">
            <a:spAutoFit/>
          </a:bodyPr>
          <a:lstStyle>
            <a:lvl1pPr algn="l">
              <a:lnSpc>
                <a:spcPct val="95000"/>
              </a:lnSpc>
              <a:defRPr sz="4400" b="0" cap="none" spc="0" baseline="0">
                <a:solidFill>
                  <a:schemeClr val="bg1"/>
                </a:solidFill>
              </a:defRPr>
            </a:lvl1pPr>
          </a:lstStyle>
          <a:p>
            <a:r>
              <a:rPr lang="en-US"/>
              <a:t>Click to edit Master title style</a:t>
            </a:r>
            <a:endParaRPr lang="fi-FI" dirty="0"/>
          </a:p>
        </p:txBody>
      </p:sp>
      <p:grpSp>
        <p:nvGrpSpPr>
          <p:cNvPr id="11" name="Group 10"/>
          <p:cNvGrpSpPr>
            <a:grpSpLocks noChangeAspect="1"/>
          </p:cNvGrpSpPr>
          <p:nvPr userDrawn="1"/>
        </p:nvGrpSpPr>
        <p:grpSpPr>
          <a:xfrm>
            <a:off x="335360" y="6093296"/>
            <a:ext cx="1243838" cy="432000"/>
            <a:chOff x="3279775" y="2451101"/>
            <a:chExt cx="5640388" cy="1958974"/>
          </a:xfrm>
          <a:solidFill>
            <a:schemeClr val="bg1"/>
          </a:solidFill>
        </p:grpSpPr>
        <p:sp>
          <p:nvSpPr>
            <p:cNvPr id="12" name="Freeform 6"/>
            <p:cNvSpPr>
              <a:spLocks/>
            </p:cNvSpPr>
            <p:nvPr userDrawn="1"/>
          </p:nvSpPr>
          <p:spPr bwMode="auto">
            <a:xfrm>
              <a:off x="3279775" y="2451101"/>
              <a:ext cx="1838325" cy="1944687"/>
            </a:xfrm>
            <a:custGeom>
              <a:avLst/>
              <a:gdLst>
                <a:gd name="T0" fmla="*/ 978 w 1158"/>
                <a:gd name="T1" fmla="*/ 608 h 1225"/>
                <a:gd name="T2" fmla="*/ 974 w 1158"/>
                <a:gd name="T3" fmla="*/ 610 h 1225"/>
                <a:gd name="T4" fmla="*/ 968 w 1158"/>
                <a:gd name="T5" fmla="*/ 608 h 1225"/>
                <a:gd name="T6" fmla="*/ 966 w 1158"/>
                <a:gd name="T7" fmla="*/ 134 h 1225"/>
                <a:gd name="T8" fmla="*/ 963 w 1158"/>
                <a:gd name="T9" fmla="*/ 128 h 1225"/>
                <a:gd name="T10" fmla="*/ 956 w 1158"/>
                <a:gd name="T11" fmla="*/ 128 h 1225"/>
                <a:gd name="T12" fmla="*/ 953 w 1158"/>
                <a:gd name="T13" fmla="*/ 132 h 1225"/>
                <a:gd name="T14" fmla="*/ 784 w 1158"/>
                <a:gd name="T15" fmla="*/ 603 h 1225"/>
                <a:gd name="T16" fmla="*/ 779 w 1158"/>
                <a:gd name="T17" fmla="*/ 607 h 1225"/>
                <a:gd name="T18" fmla="*/ 773 w 1158"/>
                <a:gd name="T19" fmla="*/ 605 h 1225"/>
                <a:gd name="T20" fmla="*/ 771 w 1158"/>
                <a:gd name="T21" fmla="*/ 466 h 1225"/>
                <a:gd name="T22" fmla="*/ 769 w 1158"/>
                <a:gd name="T23" fmla="*/ 461 h 1225"/>
                <a:gd name="T24" fmla="*/ 764 w 1158"/>
                <a:gd name="T25" fmla="*/ 459 h 1225"/>
                <a:gd name="T26" fmla="*/ 584 w 1158"/>
                <a:gd name="T27" fmla="*/ 614 h 1225"/>
                <a:gd name="T28" fmla="*/ 579 w 1158"/>
                <a:gd name="T29" fmla="*/ 616 h 1225"/>
                <a:gd name="T30" fmla="*/ 396 w 1158"/>
                <a:gd name="T31" fmla="*/ 461 h 1225"/>
                <a:gd name="T32" fmla="*/ 390 w 1158"/>
                <a:gd name="T33" fmla="*/ 460 h 1225"/>
                <a:gd name="T34" fmla="*/ 386 w 1158"/>
                <a:gd name="T35" fmla="*/ 464 h 1225"/>
                <a:gd name="T36" fmla="*/ 386 w 1158"/>
                <a:gd name="T37" fmla="*/ 603 h 1225"/>
                <a:gd name="T38" fmla="*/ 381 w 1158"/>
                <a:gd name="T39" fmla="*/ 607 h 1225"/>
                <a:gd name="T40" fmla="*/ 375 w 1158"/>
                <a:gd name="T41" fmla="*/ 605 h 1225"/>
                <a:gd name="T42" fmla="*/ 292 w 1158"/>
                <a:gd name="T43" fmla="*/ 378 h 1225"/>
                <a:gd name="T44" fmla="*/ 203 w 1158"/>
                <a:gd name="T45" fmla="*/ 130 h 1225"/>
                <a:gd name="T46" fmla="*/ 197 w 1158"/>
                <a:gd name="T47" fmla="*/ 128 h 1225"/>
                <a:gd name="T48" fmla="*/ 192 w 1158"/>
                <a:gd name="T49" fmla="*/ 132 h 1225"/>
                <a:gd name="T50" fmla="*/ 191 w 1158"/>
                <a:gd name="T51" fmla="*/ 606 h 1225"/>
                <a:gd name="T52" fmla="*/ 186 w 1158"/>
                <a:gd name="T53" fmla="*/ 610 h 1225"/>
                <a:gd name="T54" fmla="*/ 181 w 1158"/>
                <a:gd name="T55" fmla="*/ 609 h 1225"/>
                <a:gd name="T56" fmla="*/ 13 w 1158"/>
                <a:gd name="T57" fmla="*/ 5 h 1225"/>
                <a:gd name="T58" fmla="*/ 10 w 1158"/>
                <a:gd name="T59" fmla="*/ 1 h 1225"/>
                <a:gd name="T60" fmla="*/ 4 w 1158"/>
                <a:gd name="T61" fmla="*/ 1 h 1225"/>
                <a:gd name="T62" fmla="*/ 0 w 1158"/>
                <a:gd name="T63" fmla="*/ 7 h 1225"/>
                <a:gd name="T64" fmla="*/ 1 w 1158"/>
                <a:gd name="T65" fmla="*/ 552 h 1225"/>
                <a:gd name="T66" fmla="*/ 147 w 1158"/>
                <a:gd name="T67" fmla="*/ 644 h 1225"/>
                <a:gd name="T68" fmla="*/ 389 w 1158"/>
                <a:gd name="T69" fmla="*/ 646 h 1225"/>
                <a:gd name="T70" fmla="*/ 397 w 1158"/>
                <a:gd name="T71" fmla="*/ 649 h 1225"/>
                <a:gd name="T72" fmla="*/ 500 w 1158"/>
                <a:gd name="T73" fmla="*/ 909 h 1225"/>
                <a:gd name="T74" fmla="*/ 501 w 1158"/>
                <a:gd name="T75" fmla="*/ 917 h 1225"/>
                <a:gd name="T76" fmla="*/ 447 w 1158"/>
                <a:gd name="T77" fmla="*/ 1030 h 1225"/>
                <a:gd name="T78" fmla="*/ 519 w 1158"/>
                <a:gd name="T79" fmla="*/ 1218 h 1225"/>
                <a:gd name="T80" fmla="*/ 526 w 1158"/>
                <a:gd name="T81" fmla="*/ 1224 h 1225"/>
                <a:gd name="T82" fmla="*/ 629 w 1158"/>
                <a:gd name="T83" fmla="*/ 1225 h 1225"/>
                <a:gd name="T84" fmla="*/ 637 w 1158"/>
                <a:gd name="T85" fmla="*/ 1221 h 1225"/>
                <a:gd name="T86" fmla="*/ 710 w 1158"/>
                <a:gd name="T87" fmla="*/ 1036 h 1225"/>
                <a:gd name="T88" fmla="*/ 710 w 1158"/>
                <a:gd name="T89" fmla="*/ 1030 h 1225"/>
                <a:gd name="T90" fmla="*/ 657 w 1158"/>
                <a:gd name="T91" fmla="*/ 917 h 1225"/>
                <a:gd name="T92" fmla="*/ 758 w 1158"/>
                <a:gd name="T93" fmla="*/ 652 h 1225"/>
                <a:gd name="T94" fmla="*/ 765 w 1158"/>
                <a:gd name="T95" fmla="*/ 646 h 1225"/>
                <a:gd name="T96" fmla="*/ 1009 w 1158"/>
                <a:gd name="T97" fmla="*/ 645 h 1225"/>
                <a:gd name="T98" fmla="*/ 1155 w 1158"/>
                <a:gd name="T99" fmla="*/ 554 h 1225"/>
                <a:gd name="T100" fmla="*/ 1158 w 1158"/>
                <a:gd name="T101" fmla="*/ 549 h 1225"/>
                <a:gd name="T102" fmla="*/ 1158 w 1158"/>
                <a:gd name="T103" fmla="*/ 4 h 1225"/>
                <a:gd name="T104" fmla="*/ 1152 w 1158"/>
                <a:gd name="T105" fmla="*/ 0 h 1225"/>
                <a:gd name="T106" fmla="*/ 1146 w 1158"/>
                <a:gd name="T107" fmla="*/ 3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8" h="1225">
                  <a:moveTo>
                    <a:pt x="1145" y="5"/>
                  </a:moveTo>
                  <a:lnTo>
                    <a:pt x="979" y="605"/>
                  </a:lnTo>
                  <a:lnTo>
                    <a:pt x="978" y="608"/>
                  </a:lnTo>
                  <a:lnTo>
                    <a:pt x="977" y="608"/>
                  </a:lnTo>
                  <a:lnTo>
                    <a:pt x="976" y="609"/>
                  </a:lnTo>
                  <a:lnTo>
                    <a:pt x="974" y="610"/>
                  </a:lnTo>
                  <a:lnTo>
                    <a:pt x="972" y="610"/>
                  </a:lnTo>
                  <a:lnTo>
                    <a:pt x="970" y="609"/>
                  </a:lnTo>
                  <a:lnTo>
                    <a:pt x="968" y="608"/>
                  </a:lnTo>
                  <a:lnTo>
                    <a:pt x="967" y="606"/>
                  </a:lnTo>
                  <a:lnTo>
                    <a:pt x="966" y="603"/>
                  </a:lnTo>
                  <a:lnTo>
                    <a:pt x="966" y="134"/>
                  </a:lnTo>
                  <a:lnTo>
                    <a:pt x="966" y="132"/>
                  </a:lnTo>
                  <a:lnTo>
                    <a:pt x="964" y="130"/>
                  </a:lnTo>
                  <a:lnTo>
                    <a:pt x="963" y="128"/>
                  </a:lnTo>
                  <a:lnTo>
                    <a:pt x="961" y="128"/>
                  </a:lnTo>
                  <a:lnTo>
                    <a:pt x="958" y="128"/>
                  </a:lnTo>
                  <a:lnTo>
                    <a:pt x="956" y="128"/>
                  </a:lnTo>
                  <a:lnTo>
                    <a:pt x="955" y="129"/>
                  </a:lnTo>
                  <a:lnTo>
                    <a:pt x="955" y="130"/>
                  </a:lnTo>
                  <a:lnTo>
                    <a:pt x="953" y="132"/>
                  </a:lnTo>
                  <a:lnTo>
                    <a:pt x="916" y="240"/>
                  </a:lnTo>
                  <a:lnTo>
                    <a:pt x="865" y="378"/>
                  </a:lnTo>
                  <a:lnTo>
                    <a:pt x="784" y="603"/>
                  </a:lnTo>
                  <a:lnTo>
                    <a:pt x="782" y="605"/>
                  </a:lnTo>
                  <a:lnTo>
                    <a:pt x="781" y="606"/>
                  </a:lnTo>
                  <a:lnTo>
                    <a:pt x="779" y="607"/>
                  </a:lnTo>
                  <a:lnTo>
                    <a:pt x="776" y="607"/>
                  </a:lnTo>
                  <a:lnTo>
                    <a:pt x="774" y="606"/>
                  </a:lnTo>
                  <a:lnTo>
                    <a:pt x="773" y="605"/>
                  </a:lnTo>
                  <a:lnTo>
                    <a:pt x="772" y="603"/>
                  </a:lnTo>
                  <a:lnTo>
                    <a:pt x="771" y="600"/>
                  </a:lnTo>
                  <a:lnTo>
                    <a:pt x="771" y="466"/>
                  </a:lnTo>
                  <a:lnTo>
                    <a:pt x="771" y="464"/>
                  </a:lnTo>
                  <a:lnTo>
                    <a:pt x="770" y="462"/>
                  </a:lnTo>
                  <a:lnTo>
                    <a:pt x="769" y="461"/>
                  </a:lnTo>
                  <a:lnTo>
                    <a:pt x="767" y="460"/>
                  </a:lnTo>
                  <a:lnTo>
                    <a:pt x="766" y="459"/>
                  </a:lnTo>
                  <a:lnTo>
                    <a:pt x="764" y="459"/>
                  </a:lnTo>
                  <a:lnTo>
                    <a:pt x="762" y="460"/>
                  </a:lnTo>
                  <a:lnTo>
                    <a:pt x="761" y="461"/>
                  </a:lnTo>
                  <a:lnTo>
                    <a:pt x="584" y="614"/>
                  </a:lnTo>
                  <a:lnTo>
                    <a:pt x="583" y="615"/>
                  </a:lnTo>
                  <a:lnTo>
                    <a:pt x="581" y="615"/>
                  </a:lnTo>
                  <a:lnTo>
                    <a:pt x="579" y="616"/>
                  </a:lnTo>
                  <a:lnTo>
                    <a:pt x="576" y="615"/>
                  </a:lnTo>
                  <a:lnTo>
                    <a:pt x="573" y="614"/>
                  </a:lnTo>
                  <a:lnTo>
                    <a:pt x="396" y="461"/>
                  </a:lnTo>
                  <a:lnTo>
                    <a:pt x="393" y="459"/>
                  </a:lnTo>
                  <a:lnTo>
                    <a:pt x="391" y="460"/>
                  </a:lnTo>
                  <a:lnTo>
                    <a:pt x="390" y="460"/>
                  </a:lnTo>
                  <a:lnTo>
                    <a:pt x="388" y="461"/>
                  </a:lnTo>
                  <a:lnTo>
                    <a:pt x="387" y="462"/>
                  </a:lnTo>
                  <a:lnTo>
                    <a:pt x="386" y="464"/>
                  </a:lnTo>
                  <a:lnTo>
                    <a:pt x="386" y="466"/>
                  </a:lnTo>
                  <a:lnTo>
                    <a:pt x="386" y="601"/>
                  </a:lnTo>
                  <a:lnTo>
                    <a:pt x="386" y="603"/>
                  </a:lnTo>
                  <a:lnTo>
                    <a:pt x="384" y="605"/>
                  </a:lnTo>
                  <a:lnTo>
                    <a:pt x="383" y="606"/>
                  </a:lnTo>
                  <a:lnTo>
                    <a:pt x="381" y="607"/>
                  </a:lnTo>
                  <a:lnTo>
                    <a:pt x="379" y="607"/>
                  </a:lnTo>
                  <a:lnTo>
                    <a:pt x="377" y="606"/>
                  </a:lnTo>
                  <a:lnTo>
                    <a:pt x="375" y="605"/>
                  </a:lnTo>
                  <a:lnTo>
                    <a:pt x="374" y="603"/>
                  </a:lnTo>
                  <a:lnTo>
                    <a:pt x="340" y="511"/>
                  </a:lnTo>
                  <a:lnTo>
                    <a:pt x="292" y="378"/>
                  </a:lnTo>
                  <a:lnTo>
                    <a:pt x="242" y="240"/>
                  </a:lnTo>
                  <a:lnTo>
                    <a:pt x="205" y="132"/>
                  </a:lnTo>
                  <a:lnTo>
                    <a:pt x="203" y="130"/>
                  </a:lnTo>
                  <a:lnTo>
                    <a:pt x="202" y="128"/>
                  </a:lnTo>
                  <a:lnTo>
                    <a:pt x="200" y="128"/>
                  </a:lnTo>
                  <a:lnTo>
                    <a:pt x="197" y="128"/>
                  </a:lnTo>
                  <a:lnTo>
                    <a:pt x="195" y="128"/>
                  </a:lnTo>
                  <a:lnTo>
                    <a:pt x="194" y="130"/>
                  </a:lnTo>
                  <a:lnTo>
                    <a:pt x="192" y="132"/>
                  </a:lnTo>
                  <a:lnTo>
                    <a:pt x="192" y="134"/>
                  </a:lnTo>
                  <a:lnTo>
                    <a:pt x="192" y="604"/>
                  </a:lnTo>
                  <a:lnTo>
                    <a:pt x="191" y="606"/>
                  </a:lnTo>
                  <a:lnTo>
                    <a:pt x="190" y="608"/>
                  </a:lnTo>
                  <a:lnTo>
                    <a:pt x="188" y="609"/>
                  </a:lnTo>
                  <a:lnTo>
                    <a:pt x="186" y="610"/>
                  </a:lnTo>
                  <a:lnTo>
                    <a:pt x="184" y="610"/>
                  </a:lnTo>
                  <a:lnTo>
                    <a:pt x="182" y="609"/>
                  </a:lnTo>
                  <a:lnTo>
                    <a:pt x="181" y="609"/>
                  </a:lnTo>
                  <a:lnTo>
                    <a:pt x="180" y="608"/>
                  </a:lnTo>
                  <a:lnTo>
                    <a:pt x="179" y="605"/>
                  </a:lnTo>
                  <a:lnTo>
                    <a:pt x="13" y="5"/>
                  </a:lnTo>
                  <a:lnTo>
                    <a:pt x="12" y="3"/>
                  </a:lnTo>
                  <a:lnTo>
                    <a:pt x="11" y="2"/>
                  </a:lnTo>
                  <a:lnTo>
                    <a:pt x="10" y="1"/>
                  </a:lnTo>
                  <a:lnTo>
                    <a:pt x="8" y="1"/>
                  </a:lnTo>
                  <a:lnTo>
                    <a:pt x="6" y="0"/>
                  </a:lnTo>
                  <a:lnTo>
                    <a:pt x="4" y="1"/>
                  </a:lnTo>
                  <a:lnTo>
                    <a:pt x="2" y="3"/>
                  </a:lnTo>
                  <a:lnTo>
                    <a:pt x="1" y="4"/>
                  </a:lnTo>
                  <a:lnTo>
                    <a:pt x="0" y="7"/>
                  </a:lnTo>
                  <a:lnTo>
                    <a:pt x="0" y="546"/>
                  </a:lnTo>
                  <a:lnTo>
                    <a:pt x="0" y="549"/>
                  </a:lnTo>
                  <a:lnTo>
                    <a:pt x="1" y="552"/>
                  </a:lnTo>
                  <a:lnTo>
                    <a:pt x="3" y="554"/>
                  </a:lnTo>
                  <a:lnTo>
                    <a:pt x="5" y="555"/>
                  </a:lnTo>
                  <a:lnTo>
                    <a:pt x="147" y="644"/>
                  </a:lnTo>
                  <a:lnTo>
                    <a:pt x="150" y="645"/>
                  </a:lnTo>
                  <a:lnTo>
                    <a:pt x="153" y="646"/>
                  </a:lnTo>
                  <a:lnTo>
                    <a:pt x="389" y="646"/>
                  </a:lnTo>
                  <a:lnTo>
                    <a:pt x="392" y="646"/>
                  </a:lnTo>
                  <a:lnTo>
                    <a:pt x="395" y="647"/>
                  </a:lnTo>
                  <a:lnTo>
                    <a:pt x="397" y="649"/>
                  </a:lnTo>
                  <a:lnTo>
                    <a:pt x="398" y="651"/>
                  </a:lnTo>
                  <a:lnTo>
                    <a:pt x="399" y="652"/>
                  </a:lnTo>
                  <a:lnTo>
                    <a:pt x="500" y="909"/>
                  </a:lnTo>
                  <a:lnTo>
                    <a:pt x="501" y="912"/>
                  </a:lnTo>
                  <a:lnTo>
                    <a:pt x="501" y="914"/>
                  </a:lnTo>
                  <a:lnTo>
                    <a:pt x="501" y="917"/>
                  </a:lnTo>
                  <a:lnTo>
                    <a:pt x="500" y="920"/>
                  </a:lnTo>
                  <a:lnTo>
                    <a:pt x="448" y="1028"/>
                  </a:lnTo>
                  <a:lnTo>
                    <a:pt x="447" y="1030"/>
                  </a:lnTo>
                  <a:lnTo>
                    <a:pt x="447" y="1032"/>
                  </a:lnTo>
                  <a:lnTo>
                    <a:pt x="447" y="1036"/>
                  </a:lnTo>
                  <a:lnTo>
                    <a:pt x="519" y="1218"/>
                  </a:lnTo>
                  <a:lnTo>
                    <a:pt x="520" y="1221"/>
                  </a:lnTo>
                  <a:lnTo>
                    <a:pt x="523" y="1223"/>
                  </a:lnTo>
                  <a:lnTo>
                    <a:pt x="526" y="1224"/>
                  </a:lnTo>
                  <a:lnTo>
                    <a:pt x="529" y="1225"/>
                  </a:lnTo>
                  <a:lnTo>
                    <a:pt x="579" y="1225"/>
                  </a:lnTo>
                  <a:lnTo>
                    <a:pt x="629" y="1225"/>
                  </a:lnTo>
                  <a:lnTo>
                    <a:pt x="632" y="1224"/>
                  </a:lnTo>
                  <a:lnTo>
                    <a:pt x="635" y="1223"/>
                  </a:lnTo>
                  <a:lnTo>
                    <a:pt x="637" y="1221"/>
                  </a:lnTo>
                  <a:lnTo>
                    <a:pt x="638" y="1219"/>
                  </a:lnTo>
                  <a:lnTo>
                    <a:pt x="638" y="1218"/>
                  </a:lnTo>
                  <a:lnTo>
                    <a:pt x="710" y="1036"/>
                  </a:lnTo>
                  <a:lnTo>
                    <a:pt x="711" y="1034"/>
                  </a:lnTo>
                  <a:lnTo>
                    <a:pt x="711" y="1032"/>
                  </a:lnTo>
                  <a:lnTo>
                    <a:pt x="710" y="1030"/>
                  </a:lnTo>
                  <a:lnTo>
                    <a:pt x="710" y="1028"/>
                  </a:lnTo>
                  <a:lnTo>
                    <a:pt x="657" y="920"/>
                  </a:lnTo>
                  <a:lnTo>
                    <a:pt x="657" y="917"/>
                  </a:lnTo>
                  <a:lnTo>
                    <a:pt x="656" y="914"/>
                  </a:lnTo>
                  <a:lnTo>
                    <a:pt x="657" y="909"/>
                  </a:lnTo>
                  <a:lnTo>
                    <a:pt x="758" y="652"/>
                  </a:lnTo>
                  <a:lnTo>
                    <a:pt x="760" y="650"/>
                  </a:lnTo>
                  <a:lnTo>
                    <a:pt x="762" y="647"/>
                  </a:lnTo>
                  <a:lnTo>
                    <a:pt x="765" y="646"/>
                  </a:lnTo>
                  <a:lnTo>
                    <a:pt x="768" y="646"/>
                  </a:lnTo>
                  <a:lnTo>
                    <a:pt x="1006" y="646"/>
                  </a:lnTo>
                  <a:lnTo>
                    <a:pt x="1009" y="645"/>
                  </a:lnTo>
                  <a:lnTo>
                    <a:pt x="1011" y="644"/>
                  </a:lnTo>
                  <a:lnTo>
                    <a:pt x="1153" y="555"/>
                  </a:lnTo>
                  <a:lnTo>
                    <a:pt x="1155" y="554"/>
                  </a:lnTo>
                  <a:lnTo>
                    <a:pt x="1156" y="553"/>
                  </a:lnTo>
                  <a:lnTo>
                    <a:pt x="1157" y="552"/>
                  </a:lnTo>
                  <a:lnTo>
                    <a:pt x="1158" y="549"/>
                  </a:lnTo>
                  <a:lnTo>
                    <a:pt x="1158" y="546"/>
                  </a:lnTo>
                  <a:lnTo>
                    <a:pt x="1158" y="7"/>
                  </a:lnTo>
                  <a:lnTo>
                    <a:pt x="1158" y="4"/>
                  </a:lnTo>
                  <a:lnTo>
                    <a:pt x="1156" y="3"/>
                  </a:lnTo>
                  <a:lnTo>
                    <a:pt x="1154" y="1"/>
                  </a:lnTo>
                  <a:lnTo>
                    <a:pt x="1152" y="0"/>
                  </a:lnTo>
                  <a:lnTo>
                    <a:pt x="1150" y="1"/>
                  </a:lnTo>
                  <a:lnTo>
                    <a:pt x="1148" y="1"/>
                  </a:lnTo>
                  <a:lnTo>
                    <a:pt x="1146" y="3"/>
                  </a:lnTo>
                  <a:lnTo>
                    <a:pt x="1145" y="4"/>
                  </a:lnTo>
                  <a:lnTo>
                    <a:pt x="11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3" name="Freeform 7"/>
            <p:cNvSpPr>
              <a:spLocks noEditPoints="1"/>
            </p:cNvSpPr>
            <p:nvPr userDrawn="1"/>
          </p:nvSpPr>
          <p:spPr bwMode="auto">
            <a:xfrm>
              <a:off x="5386388" y="3476625"/>
              <a:ext cx="3533775" cy="933450"/>
            </a:xfrm>
            <a:custGeom>
              <a:avLst/>
              <a:gdLst>
                <a:gd name="T0" fmla="*/ 1976 w 2226"/>
                <a:gd name="T1" fmla="*/ 407 h 588"/>
                <a:gd name="T2" fmla="*/ 1967 w 2226"/>
                <a:gd name="T3" fmla="*/ 463 h 588"/>
                <a:gd name="T4" fmla="*/ 2059 w 2226"/>
                <a:gd name="T5" fmla="*/ 452 h 588"/>
                <a:gd name="T6" fmla="*/ 2077 w 2226"/>
                <a:gd name="T7" fmla="*/ 579 h 588"/>
                <a:gd name="T8" fmla="*/ 2048 w 2226"/>
                <a:gd name="T9" fmla="*/ 537 h 588"/>
                <a:gd name="T10" fmla="*/ 1914 w 2226"/>
                <a:gd name="T11" fmla="*/ 585 h 588"/>
                <a:gd name="T12" fmla="*/ 1811 w 2226"/>
                <a:gd name="T13" fmla="*/ 508 h 588"/>
                <a:gd name="T14" fmla="*/ 1836 w 2226"/>
                <a:gd name="T15" fmla="*/ 383 h 588"/>
                <a:gd name="T16" fmla="*/ 2013 w 2226"/>
                <a:gd name="T17" fmla="*/ 311 h 588"/>
                <a:gd name="T18" fmla="*/ 2045 w 2226"/>
                <a:gd name="T19" fmla="*/ 271 h 588"/>
                <a:gd name="T20" fmla="*/ 1907 w 2226"/>
                <a:gd name="T21" fmla="*/ 300 h 588"/>
                <a:gd name="T22" fmla="*/ 1866 w 2226"/>
                <a:gd name="T23" fmla="*/ 195 h 588"/>
                <a:gd name="T24" fmla="*/ 2086 w 2226"/>
                <a:gd name="T25" fmla="*/ 154 h 588"/>
                <a:gd name="T26" fmla="*/ 2190 w 2226"/>
                <a:gd name="T27" fmla="*/ 214 h 588"/>
                <a:gd name="T28" fmla="*/ 2217 w 2226"/>
                <a:gd name="T29" fmla="*/ 512 h 588"/>
                <a:gd name="T30" fmla="*/ 1994 w 2226"/>
                <a:gd name="T31" fmla="*/ 3 h 588"/>
                <a:gd name="T32" fmla="*/ 1869 w 2226"/>
                <a:gd name="T33" fmla="*/ 7 h 588"/>
                <a:gd name="T34" fmla="*/ 2172 w 2226"/>
                <a:gd name="T35" fmla="*/ 123 h 588"/>
                <a:gd name="T36" fmla="*/ 1190 w 2226"/>
                <a:gd name="T37" fmla="*/ 576 h 588"/>
                <a:gd name="T38" fmla="*/ 1121 w 2226"/>
                <a:gd name="T39" fmla="*/ 502 h 588"/>
                <a:gd name="T40" fmla="*/ 1059 w 2226"/>
                <a:gd name="T41" fmla="*/ 264 h 588"/>
                <a:gd name="T42" fmla="*/ 1170 w 2226"/>
                <a:gd name="T43" fmla="*/ 25 h 588"/>
                <a:gd name="T44" fmla="*/ 1274 w 2226"/>
                <a:gd name="T45" fmla="*/ 156 h 588"/>
                <a:gd name="T46" fmla="*/ 1374 w 2226"/>
                <a:gd name="T47" fmla="*/ 271 h 588"/>
                <a:gd name="T48" fmla="*/ 1291 w 2226"/>
                <a:gd name="T49" fmla="*/ 469 h 588"/>
                <a:gd name="T50" fmla="*/ 1370 w 2226"/>
                <a:gd name="T51" fmla="*/ 564 h 588"/>
                <a:gd name="T52" fmla="*/ 1 w 2226"/>
                <a:gd name="T53" fmla="*/ 3 h 588"/>
                <a:gd name="T54" fmla="*/ 312 w 2226"/>
                <a:gd name="T55" fmla="*/ 389 h 588"/>
                <a:gd name="T56" fmla="*/ 615 w 2226"/>
                <a:gd name="T57" fmla="*/ 572 h 588"/>
                <a:gd name="T58" fmla="*/ 463 w 2226"/>
                <a:gd name="T59" fmla="*/ 222 h 588"/>
                <a:gd name="T60" fmla="*/ 365 w 2226"/>
                <a:gd name="T61" fmla="*/ 579 h 588"/>
                <a:gd name="T62" fmla="*/ 146 w 2226"/>
                <a:gd name="T63" fmla="*/ 223 h 588"/>
                <a:gd name="T64" fmla="*/ 1 w 2226"/>
                <a:gd name="T65" fmla="*/ 576 h 588"/>
                <a:gd name="T66" fmla="*/ 795 w 2226"/>
                <a:gd name="T67" fmla="*/ 421 h 588"/>
                <a:gd name="T68" fmla="*/ 861 w 2226"/>
                <a:gd name="T69" fmla="*/ 482 h 588"/>
                <a:gd name="T70" fmla="*/ 999 w 2226"/>
                <a:gd name="T71" fmla="*/ 448 h 588"/>
                <a:gd name="T72" fmla="*/ 974 w 2226"/>
                <a:gd name="T73" fmla="*/ 574 h 588"/>
                <a:gd name="T74" fmla="*/ 772 w 2226"/>
                <a:gd name="T75" fmla="*/ 575 h 588"/>
                <a:gd name="T76" fmla="*/ 659 w 2226"/>
                <a:gd name="T77" fmla="*/ 476 h 588"/>
                <a:gd name="T78" fmla="*/ 649 w 2226"/>
                <a:gd name="T79" fmla="*/ 300 h 588"/>
                <a:gd name="T80" fmla="*/ 753 w 2226"/>
                <a:gd name="T81" fmla="*/ 177 h 588"/>
                <a:gd name="T82" fmla="*/ 901 w 2226"/>
                <a:gd name="T83" fmla="*/ 155 h 588"/>
                <a:gd name="T84" fmla="*/ 1027 w 2226"/>
                <a:gd name="T85" fmla="*/ 233 h 588"/>
                <a:gd name="T86" fmla="*/ 921 w 2226"/>
                <a:gd name="T87" fmla="*/ 325 h 588"/>
                <a:gd name="T88" fmla="*/ 895 w 2226"/>
                <a:gd name="T89" fmla="*/ 267 h 588"/>
                <a:gd name="T90" fmla="*/ 818 w 2226"/>
                <a:gd name="T91" fmla="*/ 277 h 588"/>
                <a:gd name="T92" fmla="*/ 1595 w 2226"/>
                <a:gd name="T93" fmla="*/ 588 h 588"/>
                <a:gd name="T94" fmla="*/ 1393 w 2226"/>
                <a:gd name="T95" fmla="*/ 532 h 588"/>
                <a:gd name="T96" fmla="*/ 1483 w 2226"/>
                <a:gd name="T97" fmla="*/ 465 h 588"/>
                <a:gd name="T98" fmla="*/ 1638 w 2226"/>
                <a:gd name="T99" fmla="*/ 480 h 588"/>
                <a:gd name="T100" fmla="*/ 1609 w 2226"/>
                <a:gd name="T101" fmla="*/ 434 h 588"/>
                <a:gd name="T102" fmla="*/ 1433 w 2226"/>
                <a:gd name="T103" fmla="*/ 371 h 588"/>
                <a:gd name="T104" fmla="*/ 1410 w 2226"/>
                <a:gd name="T105" fmla="*/ 261 h 588"/>
                <a:gd name="T106" fmla="*/ 1497 w 2226"/>
                <a:gd name="T107" fmla="*/ 166 h 588"/>
                <a:gd name="T108" fmla="*/ 1713 w 2226"/>
                <a:gd name="T109" fmla="*/ 174 h 588"/>
                <a:gd name="T110" fmla="*/ 1716 w 2226"/>
                <a:gd name="T111" fmla="*/ 292 h 588"/>
                <a:gd name="T112" fmla="*/ 1568 w 2226"/>
                <a:gd name="T113" fmla="*/ 256 h 588"/>
                <a:gd name="T114" fmla="*/ 1563 w 2226"/>
                <a:gd name="T115" fmla="*/ 299 h 588"/>
                <a:gd name="T116" fmla="*/ 1752 w 2226"/>
                <a:gd name="T117" fmla="*/ 356 h 588"/>
                <a:gd name="T118" fmla="*/ 1787 w 2226"/>
                <a:gd name="T119" fmla="*/ 458 h 588"/>
                <a:gd name="T120" fmla="*/ 1721 w 2226"/>
                <a:gd name="T121" fmla="*/ 55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26" h="588">
                  <a:moveTo>
                    <a:pt x="2065" y="439"/>
                  </a:moveTo>
                  <a:lnTo>
                    <a:pt x="2065" y="391"/>
                  </a:lnTo>
                  <a:lnTo>
                    <a:pt x="2064" y="389"/>
                  </a:lnTo>
                  <a:lnTo>
                    <a:pt x="2063" y="388"/>
                  </a:lnTo>
                  <a:lnTo>
                    <a:pt x="2061" y="387"/>
                  </a:lnTo>
                  <a:lnTo>
                    <a:pt x="2060" y="387"/>
                  </a:lnTo>
                  <a:lnTo>
                    <a:pt x="2047" y="388"/>
                  </a:lnTo>
                  <a:lnTo>
                    <a:pt x="2035" y="389"/>
                  </a:lnTo>
                  <a:lnTo>
                    <a:pt x="2024" y="390"/>
                  </a:lnTo>
                  <a:lnTo>
                    <a:pt x="2014" y="392"/>
                  </a:lnTo>
                  <a:lnTo>
                    <a:pt x="2004" y="395"/>
                  </a:lnTo>
                  <a:lnTo>
                    <a:pt x="1996" y="397"/>
                  </a:lnTo>
                  <a:lnTo>
                    <a:pt x="1988" y="400"/>
                  </a:lnTo>
                  <a:lnTo>
                    <a:pt x="1981" y="403"/>
                  </a:lnTo>
                  <a:lnTo>
                    <a:pt x="1976" y="407"/>
                  </a:lnTo>
                  <a:lnTo>
                    <a:pt x="1971" y="411"/>
                  </a:lnTo>
                  <a:lnTo>
                    <a:pt x="1966" y="415"/>
                  </a:lnTo>
                  <a:lnTo>
                    <a:pt x="1963" y="420"/>
                  </a:lnTo>
                  <a:lnTo>
                    <a:pt x="1960" y="425"/>
                  </a:lnTo>
                  <a:lnTo>
                    <a:pt x="1958" y="430"/>
                  </a:lnTo>
                  <a:lnTo>
                    <a:pt x="1957" y="435"/>
                  </a:lnTo>
                  <a:lnTo>
                    <a:pt x="1957" y="441"/>
                  </a:lnTo>
                  <a:lnTo>
                    <a:pt x="1957" y="445"/>
                  </a:lnTo>
                  <a:lnTo>
                    <a:pt x="1958" y="448"/>
                  </a:lnTo>
                  <a:lnTo>
                    <a:pt x="1958" y="451"/>
                  </a:lnTo>
                  <a:lnTo>
                    <a:pt x="1959" y="454"/>
                  </a:lnTo>
                  <a:lnTo>
                    <a:pt x="1961" y="457"/>
                  </a:lnTo>
                  <a:lnTo>
                    <a:pt x="1963" y="459"/>
                  </a:lnTo>
                  <a:lnTo>
                    <a:pt x="1965" y="461"/>
                  </a:lnTo>
                  <a:lnTo>
                    <a:pt x="1967" y="463"/>
                  </a:lnTo>
                  <a:lnTo>
                    <a:pt x="1972" y="467"/>
                  </a:lnTo>
                  <a:lnTo>
                    <a:pt x="1975" y="468"/>
                  </a:lnTo>
                  <a:lnTo>
                    <a:pt x="1978" y="469"/>
                  </a:lnTo>
                  <a:lnTo>
                    <a:pt x="1984" y="470"/>
                  </a:lnTo>
                  <a:lnTo>
                    <a:pt x="1991" y="471"/>
                  </a:lnTo>
                  <a:lnTo>
                    <a:pt x="2005" y="470"/>
                  </a:lnTo>
                  <a:lnTo>
                    <a:pt x="2011" y="470"/>
                  </a:lnTo>
                  <a:lnTo>
                    <a:pt x="2017" y="469"/>
                  </a:lnTo>
                  <a:lnTo>
                    <a:pt x="2023" y="468"/>
                  </a:lnTo>
                  <a:lnTo>
                    <a:pt x="2028" y="467"/>
                  </a:lnTo>
                  <a:lnTo>
                    <a:pt x="2037" y="464"/>
                  </a:lnTo>
                  <a:lnTo>
                    <a:pt x="2045" y="461"/>
                  </a:lnTo>
                  <a:lnTo>
                    <a:pt x="2051" y="458"/>
                  </a:lnTo>
                  <a:lnTo>
                    <a:pt x="2056" y="454"/>
                  </a:lnTo>
                  <a:lnTo>
                    <a:pt x="2059" y="452"/>
                  </a:lnTo>
                  <a:lnTo>
                    <a:pt x="2061" y="450"/>
                  </a:lnTo>
                  <a:lnTo>
                    <a:pt x="2063" y="447"/>
                  </a:lnTo>
                  <a:lnTo>
                    <a:pt x="2064" y="443"/>
                  </a:lnTo>
                  <a:lnTo>
                    <a:pt x="2065" y="440"/>
                  </a:lnTo>
                  <a:lnTo>
                    <a:pt x="2065" y="439"/>
                  </a:lnTo>
                  <a:close/>
                  <a:moveTo>
                    <a:pt x="2225" y="572"/>
                  </a:moveTo>
                  <a:lnTo>
                    <a:pt x="2226" y="575"/>
                  </a:lnTo>
                  <a:lnTo>
                    <a:pt x="2225" y="577"/>
                  </a:lnTo>
                  <a:lnTo>
                    <a:pt x="2225" y="578"/>
                  </a:lnTo>
                  <a:lnTo>
                    <a:pt x="2224" y="579"/>
                  </a:lnTo>
                  <a:lnTo>
                    <a:pt x="2221" y="579"/>
                  </a:lnTo>
                  <a:lnTo>
                    <a:pt x="2220" y="579"/>
                  </a:lnTo>
                  <a:lnTo>
                    <a:pt x="2081" y="579"/>
                  </a:lnTo>
                  <a:lnTo>
                    <a:pt x="2079" y="579"/>
                  </a:lnTo>
                  <a:lnTo>
                    <a:pt x="2077" y="579"/>
                  </a:lnTo>
                  <a:lnTo>
                    <a:pt x="2074" y="577"/>
                  </a:lnTo>
                  <a:lnTo>
                    <a:pt x="2073" y="574"/>
                  </a:lnTo>
                  <a:lnTo>
                    <a:pt x="2072" y="572"/>
                  </a:lnTo>
                  <a:lnTo>
                    <a:pt x="2069" y="560"/>
                  </a:lnTo>
                  <a:lnTo>
                    <a:pt x="2067" y="548"/>
                  </a:lnTo>
                  <a:lnTo>
                    <a:pt x="2065" y="537"/>
                  </a:lnTo>
                  <a:lnTo>
                    <a:pt x="2065" y="526"/>
                  </a:lnTo>
                  <a:lnTo>
                    <a:pt x="2064" y="524"/>
                  </a:lnTo>
                  <a:lnTo>
                    <a:pt x="2064" y="522"/>
                  </a:lnTo>
                  <a:lnTo>
                    <a:pt x="2063" y="522"/>
                  </a:lnTo>
                  <a:lnTo>
                    <a:pt x="2062" y="522"/>
                  </a:lnTo>
                  <a:lnTo>
                    <a:pt x="2061" y="523"/>
                  </a:lnTo>
                  <a:lnTo>
                    <a:pt x="2060" y="524"/>
                  </a:lnTo>
                  <a:lnTo>
                    <a:pt x="2054" y="531"/>
                  </a:lnTo>
                  <a:lnTo>
                    <a:pt x="2048" y="537"/>
                  </a:lnTo>
                  <a:lnTo>
                    <a:pt x="2042" y="544"/>
                  </a:lnTo>
                  <a:lnTo>
                    <a:pt x="2035" y="549"/>
                  </a:lnTo>
                  <a:lnTo>
                    <a:pt x="2028" y="555"/>
                  </a:lnTo>
                  <a:lnTo>
                    <a:pt x="2021" y="560"/>
                  </a:lnTo>
                  <a:lnTo>
                    <a:pt x="2013" y="564"/>
                  </a:lnTo>
                  <a:lnTo>
                    <a:pt x="2005" y="569"/>
                  </a:lnTo>
                  <a:lnTo>
                    <a:pt x="1996" y="573"/>
                  </a:lnTo>
                  <a:lnTo>
                    <a:pt x="1987" y="576"/>
                  </a:lnTo>
                  <a:lnTo>
                    <a:pt x="1978" y="579"/>
                  </a:lnTo>
                  <a:lnTo>
                    <a:pt x="1968" y="581"/>
                  </a:lnTo>
                  <a:lnTo>
                    <a:pt x="1958" y="583"/>
                  </a:lnTo>
                  <a:lnTo>
                    <a:pt x="1948" y="584"/>
                  </a:lnTo>
                  <a:lnTo>
                    <a:pt x="1937" y="585"/>
                  </a:lnTo>
                  <a:lnTo>
                    <a:pt x="1925" y="586"/>
                  </a:lnTo>
                  <a:lnTo>
                    <a:pt x="1914" y="585"/>
                  </a:lnTo>
                  <a:lnTo>
                    <a:pt x="1903" y="584"/>
                  </a:lnTo>
                  <a:lnTo>
                    <a:pt x="1892" y="582"/>
                  </a:lnTo>
                  <a:lnTo>
                    <a:pt x="1881" y="579"/>
                  </a:lnTo>
                  <a:lnTo>
                    <a:pt x="1871" y="574"/>
                  </a:lnTo>
                  <a:lnTo>
                    <a:pt x="1861" y="570"/>
                  </a:lnTo>
                  <a:lnTo>
                    <a:pt x="1856" y="567"/>
                  </a:lnTo>
                  <a:lnTo>
                    <a:pt x="1851" y="564"/>
                  </a:lnTo>
                  <a:lnTo>
                    <a:pt x="1843" y="557"/>
                  </a:lnTo>
                  <a:lnTo>
                    <a:pt x="1835" y="549"/>
                  </a:lnTo>
                  <a:lnTo>
                    <a:pt x="1827" y="540"/>
                  </a:lnTo>
                  <a:lnTo>
                    <a:pt x="1824" y="536"/>
                  </a:lnTo>
                  <a:lnTo>
                    <a:pt x="1821" y="531"/>
                  </a:lnTo>
                  <a:lnTo>
                    <a:pt x="1816" y="520"/>
                  </a:lnTo>
                  <a:lnTo>
                    <a:pt x="1813" y="514"/>
                  </a:lnTo>
                  <a:lnTo>
                    <a:pt x="1811" y="508"/>
                  </a:lnTo>
                  <a:lnTo>
                    <a:pt x="1808" y="495"/>
                  </a:lnTo>
                  <a:lnTo>
                    <a:pt x="1806" y="481"/>
                  </a:lnTo>
                  <a:lnTo>
                    <a:pt x="1806" y="474"/>
                  </a:lnTo>
                  <a:lnTo>
                    <a:pt x="1805" y="466"/>
                  </a:lnTo>
                  <a:lnTo>
                    <a:pt x="1806" y="458"/>
                  </a:lnTo>
                  <a:lnTo>
                    <a:pt x="1806" y="449"/>
                  </a:lnTo>
                  <a:lnTo>
                    <a:pt x="1808" y="441"/>
                  </a:lnTo>
                  <a:lnTo>
                    <a:pt x="1809" y="433"/>
                  </a:lnTo>
                  <a:lnTo>
                    <a:pt x="1812" y="425"/>
                  </a:lnTo>
                  <a:lnTo>
                    <a:pt x="1814" y="418"/>
                  </a:lnTo>
                  <a:lnTo>
                    <a:pt x="1818" y="410"/>
                  </a:lnTo>
                  <a:lnTo>
                    <a:pt x="1822" y="403"/>
                  </a:lnTo>
                  <a:lnTo>
                    <a:pt x="1826" y="396"/>
                  </a:lnTo>
                  <a:lnTo>
                    <a:pt x="1831" y="390"/>
                  </a:lnTo>
                  <a:lnTo>
                    <a:pt x="1836" y="383"/>
                  </a:lnTo>
                  <a:lnTo>
                    <a:pt x="1842" y="377"/>
                  </a:lnTo>
                  <a:lnTo>
                    <a:pt x="1848" y="371"/>
                  </a:lnTo>
                  <a:lnTo>
                    <a:pt x="1855" y="365"/>
                  </a:lnTo>
                  <a:lnTo>
                    <a:pt x="1862" y="360"/>
                  </a:lnTo>
                  <a:lnTo>
                    <a:pt x="1869" y="355"/>
                  </a:lnTo>
                  <a:lnTo>
                    <a:pt x="1886" y="345"/>
                  </a:lnTo>
                  <a:lnTo>
                    <a:pt x="1895" y="341"/>
                  </a:lnTo>
                  <a:lnTo>
                    <a:pt x="1905" y="337"/>
                  </a:lnTo>
                  <a:lnTo>
                    <a:pt x="1915" y="333"/>
                  </a:lnTo>
                  <a:lnTo>
                    <a:pt x="1926" y="329"/>
                  </a:lnTo>
                  <a:lnTo>
                    <a:pt x="1948" y="323"/>
                  </a:lnTo>
                  <a:lnTo>
                    <a:pt x="1960" y="320"/>
                  </a:lnTo>
                  <a:lnTo>
                    <a:pt x="1973" y="317"/>
                  </a:lnTo>
                  <a:lnTo>
                    <a:pt x="1999" y="313"/>
                  </a:lnTo>
                  <a:lnTo>
                    <a:pt x="2013" y="311"/>
                  </a:lnTo>
                  <a:lnTo>
                    <a:pt x="2027" y="310"/>
                  </a:lnTo>
                  <a:lnTo>
                    <a:pt x="2057" y="308"/>
                  </a:lnTo>
                  <a:lnTo>
                    <a:pt x="2061" y="307"/>
                  </a:lnTo>
                  <a:lnTo>
                    <a:pt x="2064" y="306"/>
                  </a:lnTo>
                  <a:lnTo>
                    <a:pt x="2065" y="305"/>
                  </a:lnTo>
                  <a:lnTo>
                    <a:pt x="2065" y="302"/>
                  </a:lnTo>
                  <a:lnTo>
                    <a:pt x="2064" y="295"/>
                  </a:lnTo>
                  <a:lnTo>
                    <a:pt x="2063" y="291"/>
                  </a:lnTo>
                  <a:lnTo>
                    <a:pt x="2063" y="288"/>
                  </a:lnTo>
                  <a:lnTo>
                    <a:pt x="2061" y="285"/>
                  </a:lnTo>
                  <a:lnTo>
                    <a:pt x="2060" y="282"/>
                  </a:lnTo>
                  <a:lnTo>
                    <a:pt x="2055" y="277"/>
                  </a:lnTo>
                  <a:lnTo>
                    <a:pt x="2052" y="275"/>
                  </a:lnTo>
                  <a:lnTo>
                    <a:pt x="2049" y="273"/>
                  </a:lnTo>
                  <a:lnTo>
                    <a:pt x="2045" y="271"/>
                  </a:lnTo>
                  <a:lnTo>
                    <a:pt x="2041" y="269"/>
                  </a:lnTo>
                  <a:lnTo>
                    <a:pt x="2031" y="267"/>
                  </a:lnTo>
                  <a:lnTo>
                    <a:pt x="2025" y="267"/>
                  </a:lnTo>
                  <a:lnTo>
                    <a:pt x="2018" y="267"/>
                  </a:lnTo>
                  <a:lnTo>
                    <a:pt x="2009" y="267"/>
                  </a:lnTo>
                  <a:lnTo>
                    <a:pt x="2000" y="268"/>
                  </a:lnTo>
                  <a:lnTo>
                    <a:pt x="1992" y="269"/>
                  </a:lnTo>
                  <a:lnTo>
                    <a:pt x="1983" y="270"/>
                  </a:lnTo>
                  <a:lnTo>
                    <a:pt x="1974" y="272"/>
                  </a:lnTo>
                  <a:lnTo>
                    <a:pt x="1966" y="274"/>
                  </a:lnTo>
                  <a:lnTo>
                    <a:pt x="1958" y="277"/>
                  </a:lnTo>
                  <a:lnTo>
                    <a:pt x="1950" y="280"/>
                  </a:lnTo>
                  <a:lnTo>
                    <a:pt x="1934" y="286"/>
                  </a:lnTo>
                  <a:lnTo>
                    <a:pt x="1920" y="293"/>
                  </a:lnTo>
                  <a:lnTo>
                    <a:pt x="1907" y="300"/>
                  </a:lnTo>
                  <a:lnTo>
                    <a:pt x="1895" y="308"/>
                  </a:lnTo>
                  <a:lnTo>
                    <a:pt x="1893" y="309"/>
                  </a:lnTo>
                  <a:lnTo>
                    <a:pt x="1891" y="309"/>
                  </a:lnTo>
                  <a:lnTo>
                    <a:pt x="1889" y="309"/>
                  </a:lnTo>
                  <a:lnTo>
                    <a:pt x="1888" y="309"/>
                  </a:lnTo>
                  <a:lnTo>
                    <a:pt x="1886" y="307"/>
                  </a:lnTo>
                  <a:lnTo>
                    <a:pt x="1885" y="306"/>
                  </a:lnTo>
                  <a:lnTo>
                    <a:pt x="1830" y="230"/>
                  </a:lnTo>
                  <a:lnTo>
                    <a:pt x="1828" y="227"/>
                  </a:lnTo>
                  <a:lnTo>
                    <a:pt x="1828" y="225"/>
                  </a:lnTo>
                  <a:lnTo>
                    <a:pt x="1829" y="224"/>
                  </a:lnTo>
                  <a:lnTo>
                    <a:pt x="1830" y="221"/>
                  </a:lnTo>
                  <a:lnTo>
                    <a:pt x="1831" y="220"/>
                  </a:lnTo>
                  <a:lnTo>
                    <a:pt x="1847" y="207"/>
                  </a:lnTo>
                  <a:lnTo>
                    <a:pt x="1866" y="195"/>
                  </a:lnTo>
                  <a:lnTo>
                    <a:pt x="1876" y="189"/>
                  </a:lnTo>
                  <a:lnTo>
                    <a:pt x="1887" y="184"/>
                  </a:lnTo>
                  <a:lnTo>
                    <a:pt x="1899" y="178"/>
                  </a:lnTo>
                  <a:lnTo>
                    <a:pt x="1912" y="173"/>
                  </a:lnTo>
                  <a:lnTo>
                    <a:pt x="1925" y="169"/>
                  </a:lnTo>
                  <a:lnTo>
                    <a:pt x="1939" y="165"/>
                  </a:lnTo>
                  <a:lnTo>
                    <a:pt x="1954" y="161"/>
                  </a:lnTo>
                  <a:lnTo>
                    <a:pt x="1970" y="158"/>
                  </a:lnTo>
                  <a:lnTo>
                    <a:pt x="1987" y="155"/>
                  </a:lnTo>
                  <a:lnTo>
                    <a:pt x="2005" y="153"/>
                  </a:lnTo>
                  <a:lnTo>
                    <a:pt x="2023" y="152"/>
                  </a:lnTo>
                  <a:lnTo>
                    <a:pt x="2043" y="152"/>
                  </a:lnTo>
                  <a:lnTo>
                    <a:pt x="2054" y="152"/>
                  </a:lnTo>
                  <a:lnTo>
                    <a:pt x="2065" y="152"/>
                  </a:lnTo>
                  <a:lnTo>
                    <a:pt x="2086" y="154"/>
                  </a:lnTo>
                  <a:lnTo>
                    <a:pt x="2096" y="156"/>
                  </a:lnTo>
                  <a:lnTo>
                    <a:pt x="2105" y="158"/>
                  </a:lnTo>
                  <a:lnTo>
                    <a:pt x="2114" y="160"/>
                  </a:lnTo>
                  <a:lnTo>
                    <a:pt x="2122" y="163"/>
                  </a:lnTo>
                  <a:lnTo>
                    <a:pt x="2130" y="166"/>
                  </a:lnTo>
                  <a:lnTo>
                    <a:pt x="2138" y="169"/>
                  </a:lnTo>
                  <a:lnTo>
                    <a:pt x="2145" y="172"/>
                  </a:lnTo>
                  <a:lnTo>
                    <a:pt x="2152" y="176"/>
                  </a:lnTo>
                  <a:lnTo>
                    <a:pt x="2159" y="181"/>
                  </a:lnTo>
                  <a:lnTo>
                    <a:pt x="2165" y="185"/>
                  </a:lnTo>
                  <a:lnTo>
                    <a:pt x="2170" y="190"/>
                  </a:lnTo>
                  <a:lnTo>
                    <a:pt x="2176" y="196"/>
                  </a:lnTo>
                  <a:lnTo>
                    <a:pt x="2181" y="201"/>
                  </a:lnTo>
                  <a:lnTo>
                    <a:pt x="2186" y="207"/>
                  </a:lnTo>
                  <a:lnTo>
                    <a:pt x="2190" y="214"/>
                  </a:lnTo>
                  <a:lnTo>
                    <a:pt x="2194" y="220"/>
                  </a:lnTo>
                  <a:lnTo>
                    <a:pt x="2197" y="227"/>
                  </a:lnTo>
                  <a:lnTo>
                    <a:pt x="2201" y="235"/>
                  </a:lnTo>
                  <a:lnTo>
                    <a:pt x="2204" y="242"/>
                  </a:lnTo>
                  <a:lnTo>
                    <a:pt x="2206" y="251"/>
                  </a:lnTo>
                  <a:lnTo>
                    <a:pt x="2209" y="259"/>
                  </a:lnTo>
                  <a:lnTo>
                    <a:pt x="2211" y="268"/>
                  </a:lnTo>
                  <a:lnTo>
                    <a:pt x="2212" y="277"/>
                  </a:lnTo>
                  <a:lnTo>
                    <a:pt x="2214" y="287"/>
                  </a:lnTo>
                  <a:lnTo>
                    <a:pt x="2215" y="296"/>
                  </a:lnTo>
                  <a:lnTo>
                    <a:pt x="2215" y="307"/>
                  </a:lnTo>
                  <a:lnTo>
                    <a:pt x="2216" y="317"/>
                  </a:lnTo>
                  <a:lnTo>
                    <a:pt x="2216" y="328"/>
                  </a:lnTo>
                  <a:lnTo>
                    <a:pt x="2216" y="478"/>
                  </a:lnTo>
                  <a:lnTo>
                    <a:pt x="2217" y="512"/>
                  </a:lnTo>
                  <a:lnTo>
                    <a:pt x="2218" y="539"/>
                  </a:lnTo>
                  <a:lnTo>
                    <a:pt x="2220" y="549"/>
                  </a:lnTo>
                  <a:lnTo>
                    <a:pt x="2221" y="559"/>
                  </a:lnTo>
                  <a:lnTo>
                    <a:pt x="2223" y="566"/>
                  </a:lnTo>
                  <a:lnTo>
                    <a:pt x="2225" y="572"/>
                  </a:lnTo>
                  <a:close/>
                  <a:moveTo>
                    <a:pt x="1869" y="7"/>
                  </a:moveTo>
                  <a:lnTo>
                    <a:pt x="1869" y="5"/>
                  </a:lnTo>
                  <a:lnTo>
                    <a:pt x="1870" y="3"/>
                  </a:lnTo>
                  <a:lnTo>
                    <a:pt x="1873" y="0"/>
                  </a:lnTo>
                  <a:lnTo>
                    <a:pt x="1875" y="0"/>
                  </a:lnTo>
                  <a:lnTo>
                    <a:pt x="1877" y="0"/>
                  </a:lnTo>
                  <a:lnTo>
                    <a:pt x="1987" y="0"/>
                  </a:lnTo>
                  <a:lnTo>
                    <a:pt x="1989" y="0"/>
                  </a:lnTo>
                  <a:lnTo>
                    <a:pt x="1991" y="1"/>
                  </a:lnTo>
                  <a:lnTo>
                    <a:pt x="1994" y="3"/>
                  </a:lnTo>
                  <a:lnTo>
                    <a:pt x="1994" y="6"/>
                  </a:lnTo>
                  <a:lnTo>
                    <a:pt x="1995" y="7"/>
                  </a:lnTo>
                  <a:lnTo>
                    <a:pt x="1995" y="121"/>
                  </a:lnTo>
                  <a:lnTo>
                    <a:pt x="1994" y="123"/>
                  </a:lnTo>
                  <a:lnTo>
                    <a:pt x="1993" y="125"/>
                  </a:lnTo>
                  <a:lnTo>
                    <a:pt x="1991" y="128"/>
                  </a:lnTo>
                  <a:lnTo>
                    <a:pt x="1988" y="128"/>
                  </a:lnTo>
                  <a:lnTo>
                    <a:pt x="1987" y="129"/>
                  </a:lnTo>
                  <a:lnTo>
                    <a:pt x="1877" y="129"/>
                  </a:lnTo>
                  <a:lnTo>
                    <a:pt x="1874" y="128"/>
                  </a:lnTo>
                  <a:lnTo>
                    <a:pt x="1872" y="127"/>
                  </a:lnTo>
                  <a:lnTo>
                    <a:pt x="1870" y="125"/>
                  </a:lnTo>
                  <a:lnTo>
                    <a:pt x="1869" y="122"/>
                  </a:lnTo>
                  <a:lnTo>
                    <a:pt x="1869" y="121"/>
                  </a:lnTo>
                  <a:lnTo>
                    <a:pt x="1869" y="7"/>
                  </a:lnTo>
                  <a:close/>
                  <a:moveTo>
                    <a:pt x="2047" y="121"/>
                  </a:moveTo>
                  <a:lnTo>
                    <a:pt x="2047" y="7"/>
                  </a:lnTo>
                  <a:lnTo>
                    <a:pt x="2047" y="5"/>
                  </a:lnTo>
                  <a:lnTo>
                    <a:pt x="2048" y="3"/>
                  </a:lnTo>
                  <a:lnTo>
                    <a:pt x="2051" y="0"/>
                  </a:lnTo>
                  <a:lnTo>
                    <a:pt x="2053" y="0"/>
                  </a:lnTo>
                  <a:lnTo>
                    <a:pt x="2054" y="0"/>
                  </a:lnTo>
                  <a:lnTo>
                    <a:pt x="2165" y="0"/>
                  </a:lnTo>
                  <a:lnTo>
                    <a:pt x="2167" y="0"/>
                  </a:lnTo>
                  <a:lnTo>
                    <a:pt x="2169" y="1"/>
                  </a:lnTo>
                  <a:lnTo>
                    <a:pt x="2171" y="3"/>
                  </a:lnTo>
                  <a:lnTo>
                    <a:pt x="2172" y="6"/>
                  </a:lnTo>
                  <a:lnTo>
                    <a:pt x="2172" y="7"/>
                  </a:lnTo>
                  <a:lnTo>
                    <a:pt x="2172" y="121"/>
                  </a:lnTo>
                  <a:lnTo>
                    <a:pt x="2172" y="123"/>
                  </a:lnTo>
                  <a:lnTo>
                    <a:pt x="2171" y="125"/>
                  </a:lnTo>
                  <a:lnTo>
                    <a:pt x="2169" y="127"/>
                  </a:lnTo>
                  <a:lnTo>
                    <a:pt x="2166" y="128"/>
                  </a:lnTo>
                  <a:lnTo>
                    <a:pt x="2165" y="128"/>
                  </a:lnTo>
                  <a:lnTo>
                    <a:pt x="2054" y="128"/>
                  </a:lnTo>
                  <a:lnTo>
                    <a:pt x="2052" y="128"/>
                  </a:lnTo>
                  <a:lnTo>
                    <a:pt x="2050" y="127"/>
                  </a:lnTo>
                  <a:lnTo>
                    <a:pt x="2048" y="125"/>
                  </a:lnTo>
                  <a:lnTo>
                    <a:pt x="2047" y="122"/>
                  </a:lnTo>
                  <a:lnTo>
                    <a:pt x="2047" y="121"/>
                  </a:lnTo>
                  <a:close/>
                  <a:moveTo>
                    <a:pt x="1274" y="585"/>
                  </a:moveTo>
                  <a:lnTo>
                    <a:pt x="1249" y="584"/>
                  </a:lnTo>
                  <a:lnTo>
                    <a:pt x="1226" y="583"/>
                  </a:lnTo>
                  <a:lnTo>
                    <a:pt x="1207" y="580"/>
                  </a:lnTo>
                  <a:lnTo>
                    <a:pt x="1190" y="576"/>
                  </a:lnTo>
                  <a:lnTo>
                    <a:pt x="1175" y="571"/>
                  </a:lnTo>
                  <a:lnTo>
                    <a:pt x="1168" y="568"/>
                  </a:lnTo>
                  <a:lnTo>
                    <a:pt x="1162" y="565"/>
                  </a:lnTo>
                  <a:lnTo>
                    <a:pt x="1156" y="561"/>
                  </a:lnTo>
                  <a:lnTo>
                    <a:pt x="1151" y="558"/>
                  </a:lnTo>
                  <a:lnTo>
                    <a:pt x="1149" y="556"/>
                  </a:lnTo>
                  <a:lnTo>
                    <a:pt x="1147" y="554"/>
                  </a:lnTo>
                  <a:lnTo>
                    <a:pt x="1143" y="550"/>
                  </a:lnTo>
                  <a:lnTo>
                    <a:pt x="1139" y="545"/>
                  </a:lnTo>
                  <a:lnTo>
                    <a:pt x="1135" y="541"/>
                  </a:lnTo>
                  <a:lnTo>
                    <a:pt x="1130" y="531"/>
                  </a:lnTo>
                  <a:lnTo>
                    <a:pt x="1127" y="525"/>
                  </a:lnTo>
                  <a:lnTo>
                    <a:pt x="1125" y="520"/>
                  </a:lnTo>
                  <a:lnTo>
                    <a:pt x="1122" y="508"/>
                  </a:lnTo>
                  <a:lnTo>
                    <a:pt x="1121" y="502"/>
                  </a:lnTo>
                  <a:lnTo>
                    <a:pt x="1120" y="496"/>
                  </a:lnTo>
                  <a:lnTo>
                    <a:pt x="1119" y="482"/>
                  </a:lnTo>
                  <a:lnTo>
                    <a:pt x="1118" y="468"/>
                  </a:lnTo>
                  <a:lnTo>
                    <a:pt x="1118" y="453"/>
                  </a:lnTo>
                  <a:lnTo>
                    <a:pt x="1118" y="278"/>
                  </a:lnTo>
                  <a:lnTo>
                    <a:pt x="1117" y="276"/>
                  </a:lnTo>
                  <a:lnTo>
                    <a:pt x="1117" y="274"/>
                  </a:lnTo>
                  <a:lnTo>
                    <a:pt x="1114" y="272"/>
                  </a:lnTo>
                  <a:lnTo>
                    <a:pt x="1111" y="271"/>
                  </a:lnTo>
                  <a:lnTo>
                    <a:pt x="1110" y="271"/>
                  </a:lnTo>
                  <a:lnTo>
                    <a:pt x="1067" y="271"/>
                  </a:lnTo>
                  <a:lnTo>
                    <a:pt x="1064" y="270"/>
                  </a:lnTo>
                  <a:lnTo>
                    <a:pt x="1062" y="269"/>
                  </a:lnTo>
                  <a:lnTo>
                    <a:pt x="1060" y="267"/>
                  </a:lnTo>
                  <a:lnTo>
                    <a:pt x="1059" y="264"/>
                  </a:lnTo>
                  <a:lnTo>
                    <a:pt x="1059" y="263"/>
                  </a:lnTo>
                  <a:lnTo>
                    <a:pt x="1059" y="167"/>
                  </a:lnTo>
                  <a:lnTo>
                    <a:pt x="1059" y="164"/>
                  </a:lnTo>
                  <a:lnTo>
                    <a:pt x="1060" y="162"/>
                  </a:lnTo>
                  <a:lnTo>
                    <a:pt x="1063" y="160"/>
                  </a:lnTo>
                  <a:lnTo>
                    <a:pt x="1065" y="159"/>
                  </a:lnTo>
                  <a:lnTo>
                    <a:pt x="1067" y="159"/>
                  </a:lnTo>
                  <a:lnTo>
                    <a:pt x="1110" y="159"/>
                  </a:lnTo>
                  <a:lnTo>
                    <a:pt x="1113" y="159"/>
                  </a:lnTo>
                  <a:lnTo>
                    <a:pt x="1115" y="158"/>
                  </a:lnTo>
                  <a:lnTo>
                    <a:pt x="1117" y="157"/>
                  </a:lnTo>
                  <a:lnTo>
                    <a:pt x="1118" y="156"/>
                  </a:lnTo>
                  <a:lnTo>
                    <a:pt x="1120" y="153"/>
                  </a:lnTo>
                  <a:lnTo>
                    <a:pt x="1121" y="152"/>
                  </a:lnTo>
                  <a:lnTo>
                    <a:pt x="1170" y="25"/>
                  </a:lnTo>
                  <a:lnTo>
                    <a:pt x="1171" y="23"/>
                  </a:lnTo>
                  <a:lnTo>
                    <a:pt x="1173" y="21"/>
                  </a:lnTo>
                  <a:lnTo>
                    <a:pt x="1175" y="20"/>
                  </a:lnTo>
                  <a:lnTo>
                    <a:pt x="1176" y="19"/>
                  </a:lnTo>
                  <a:lnTo>
                    <a:pt x="1179" y="18"/>
                  </a:lnTo>
                  <a:lnTo>
                    <a:pt x="1180" y="18"/>
                  </a:lnTo>
                  <a:lnTo>
                    <a:pt x="1265" y="18"/>
                  </a:lnTo>
                  <a:lnTo>
                    <a:pt x="1268" y="19"/>
                  </a:lnTo>
                  <a:lnTo>
                    <a:pt x="1270" y="19"/>
                  </a:lnTo>
                  <a:lnTo>
                    <a:pt x="1272" y="22"/>
                  </a:lnTo>
                  <a:lnTo>
                    <a:pt x="1273" y="25"/>
                  </a:lnTo>
                  <a:lnTo>
                    <a:pt x="1273" y="26"/>
                  </a:lnTo>
                  <a:lnTo>
                    <a:pt x="1273" y="152"/>
                  </a:lnTo>
                  <a:lnTo>
                    <a:pt x="1273" y="154"/>
                  </a:lnTo>
                  <a:lnTo>
                    <a:pt x="1274" y="156"/>
                  </a:lnTo>
                  <a:lnTo>
                    <a:pt x="1277" y="158"/>
                  </a:lnTo>
                  <a:lnTo>
                    <a:pt x="1279" y="159"/>
                  </a:lnTo>
                  <a:lnTo>
                    <a:pt x="1281" y="159"/>
                  </a:lnTo>
                  <a:lnTo>
                    <a:pt x="1374" y="159"/>
                  </a:lnTo>
                  <a:lnTo>
                    <a:pt x="1376" y="160"/>
                  </a:lnTo>
                  <a:lnTo>
                    <a:pt x="1378" y="161"/>
                  </a:lnTo>
                  <a:lnTo>
                    <a:pt x="1381" y="163"/>
                  </a:lnTo>
                  <a:lnTo>
                    <a:pt x="1381" y="166"/>
                  </a:lnTo>
                  <a:lnTo>
                    <a:pt x="1381" y="167"/>
                  </a:lnTo>
                  <a:lnTo>
                    <a:pt x="1381" y="263"/>
                  </a:lnTo>
                  <a:lnTo>
                    <a:pt x="1381" y="266"/>
                  </a:lnTo>
                  <a:lnTo>
                    <a:pt x="1380" y="268"/>
                  </a:lnTo>
                  <a:lnTo>
                    <a:pt x="1378" y="270"/>
                  </a:lnTo>
                  <a:lnTo>
                    <a:pt x="1375" y="271"/>
                  </a:lnTo>
                  <a:lnTo>
                    <a:pt x="1374" y="271"/>
                  </a:lnTo>
                  <a:lnTo>
                    <a:pt x="1281" y="271"/>
                  </a:lnTo>
                  <a:lnTo>
                    <a:pt x="1278" y="271"/>
                  </a:lnTo>
                  <a:lnTo>
                    <a:pt x="1276" y="272"/>
                  </a:lnTo>
                  <a:lnTo>
                    <a:pt x="1274" y="275"/>
                  </a:lnTo>
                  <a:lnTo>
                    <a:pt x="1273" y="277"/>
                  </a:lnTo>
                  <a:lnTo>
                    <a:pt x="1273" y="278"/>
                  </a:lnTo>
                  <a:lnTo>
                    <a:pt x="1273" y="419"/>
                  </a:lnTo>
                  <a:lnTo>
                    <a:pt x="1274" y="434"/>
                  </a:lnTo>
                  <a:lnTo>
                    <a:pt x="1275" y="446"/>
                  </a:lnTo>
                  <a:lnTo>
                    <a:pt x="1277" y="452"/>
                  </a:lnTo>
                  <a:lnTo>
                    <a:pt x="1279" y="456"/>
                  </a:lnTo>
                  <a:lnTo>
                    <a:pt x="1281" y="460"/>
                  </a:lnTo>
                  <a:lnTo>
                    <a:pt x="1284" y="463"/>
                  </a:lnTo>
                  <a:lnTo>
                    <a:pt x="1287" y="466"/>
                  </a:lnTo>
                  <a:lnTo>
                    <a:pt x="1291" y="469"/>
                  </a:lnTo>
                  <a:lnTo>
                    <a:pt x="1296" y="471"/>
                  </a:lnTo>
                  <a:lnTo>
                    <a:pt x="1301" y="472"/>
                  </a:lnTo>
                  <a:lnTo>
                    <a:pt x="1307" y="473"/>
                  </a:lnTo>
                  <a:lnTo>
                    <a:pt x="1313" y="474"/>
                  </a:lnTo>
                  <a:lnTo>
                    <a:pt x="1320" y="474"/>
                  </a:lnTo>
                  <a:lnTo>
                    <a:pt x="1328" y="475"/>
                  </a:lnTo>
                  <a:lnTo>
                    <a:pt x="1340" y="474"/>
                  </a:lnTo>
                  <a:lnTo>
                    <a:pt x="1351" y="473"/>
                  </a:lnTo>
                  <a:lnTo>
                    <a:pt x="1361" y="472"/>
                  </a:lnTo>
                  <a:lnTo>
                    <a:pt x="1366" y="471"/>
                  </a:lnTo>
                  <a:lnTo>
                    <a:pt x="1367" y="471"/>
                  </a:lnTo>
                  <a:lnTo>
                    <a:pt x="1368" y="471"/>
                  </a:lnTo>
                  <a:lnTo>
                    <a:pt x="1369" y="474"/>
                  </a:lnTo>
                  <a:lnTo>
                    <a:pt x="1370" y="477"/>
                  </a:lnTo>
                  <a:lnTo>
                    <a:pt x="1370" y="564"/>
                  </a:lnTo>
                  <a:lnTo>
                    <a:pt x="1369" y="569"/>
                  </a:lnTo>
                  <a:lnTo>
                    <a:pt x="1369" y="572"/>
                  </a:lnTo>
                  <a:lnTo>
                    <a:pt x="1368" y="575"/>
                  </a:lnTo>
                  <a:lnTo>
                    <a:pt x="1366" y="577"/>
                  </a:lnTo>
                  <a:lnTo>
                    <a:pt x="1364" y="578"/>
                  </a:lnTo>
                  <a:lnTo>
                    <a:pt x="1362" y="579"/>
                  </a:lnTo>
                  <a:lnTo>
                    <a:pt x="1358" y="580"/>
                  </a:lnTo>
                  <a:lnTo>
                    <a:pt x="1340" y="582"/>
                  </a:lnTo>
                  <a:lnTo>
                    <a:pt x="1317" y="583"/>
                  </a:lnTo>
                  <a:lnTo>
                    <a:pt x="1294" y="584"/>
                  </a:lnTo>
                  <a:lnTo>
                    <a:pt x="1274" y="585"/>
                  </a:lnTo>
                  <a:close/>
                  <a:moveTo>
                    <a:pt x="0" y="572"/>
                  </a:moveTo>
                  <a:lnTo>
                    <a:pt x="0" y="7"/>
                  </a:lnTo>
                  <a:lnTo>
                    <a:pt x="0" y="5"/>
                  </a:lnTo>
                  <a:lnTo>
                    <a:pt x="1" y="3"/>
                  </a:lnTo>
                  <a:lnTo>
                    <a:pt x="4" y="1"/>
                  </a:lnTo>
                  <a:lnTo>
                    <a:pt x="6" y="0"/>
                  </a:lnTo>
                  <a:lnTo>
                    <a:pt x="7" y="0"/>
                  </a:lnTo>
                  <a:lnTo>
                    <a:pt x="200" y="0"/>
                  </a:lnTo>
                  <a:lnTo>
                    <a:pt x="202" y="0"/>
                  </a:lnTo>
                  <a:lnTo>
                    <a:pt x="204" y="1"/>
                  </a:lnTo>
                  <a:lnTo>
                    <a:pt x="206" y="2"/>
                  </a:lnTo>
                  <a:lnTo>
                    <a:pt x="207" y="3"/>
                  </a:lnTo>
                  <a:lnTo>
                    <a:pt x="209" y="6"/>
                  </a:lnTo>
                  <a:lnTo>
                    <a:pt x="209" y="7"/>
                  </a:lnTo>
                  <a:lnTo>
                    <a:pt x="307" y="386"/>
                  </a:lnTo>
                  <a:lnTo>
                    <a:pt x="307" y="387"/>
                  </a:lnTo>
                  <a:lnTo>
                    <a:pt x="308" y="388"/>
                  </a:lnTo>
                  <a:lnTo>
                    <a:pt x="310" y="389"/>
                  </a:lnTo>
                  <a:lnTo>
                    <a:pt x="312" y="389"/>
                  </a:lnTo>
                  <a:lnTo>
                    <a:pt x="313" y="387"/>
                  </a:lnTo>
                  <a:lnTo>
                    <a:pt x="313" y="386"/>
                  </a:lnTo>
                  <a:lnTo>
                    <a:pt x="401" y="7"/>
                  </a:lnTo>
                  <a:lnTo>
                    <a:pt x="402" y="5"/>
                  </a:lnTo>
                  <a:lnTo>
                    <a:pt x="403" y="3"/>
                  </a:lnTo>
                  <a:lnTo>
                    <a:pt x="406" y="1"/>
                  </a:lnTo>
                  <a:lnTo>
                    <a:pt x="409" y="0"/>
                  </a:lnTo>
                  <a:lnTo>
                    <a:pt x="410" y="0"/>
                  </a:lnTo>
                  <a:lnTo>
                    <a:pt x="607" y="0"/>
                  </a:lnTo>
                  <a:lnTo>
                    <a:pt x="610" y="0"/>
                  </a:lnTo>
                  <a:lnTo>
                    <a:pt x="611" y="1"/>
                  </a:lnTo>
                  <a:lnTo>
                    <a:pt x="614" y="4"/>
                  </a:lnTo>
                  <a:lnTo>
                    <a:pt x="615" y="6"/>
                  </a:lnTo>
                  <a:lnTo>
                    <a:pt x="615" y="7"/>
                  </a:lnTo>
                  <a:lnTo>
                    <a:pt x="615" y="572"/>
                  </a:lnTo>
                  <a:lnTo>
                    <a:pt x="614" y="575"/>
                  </a:lnTo>
                  <a:lnTo>
                    <a:pt x="613" y="576"/>
                  </a:lnTo>
                  <a:lnTo>
                    <a:pt x="611" y="579"/>
                  </a:lnTo>
                  <a:lnTo>
                    <a:pt x="608" y="579"/>
                  </a:lnTo>
                  <a:lnTo>
                    <a:pt x="607" y="580"/>
                  </a:lnTo>
                  <a:lnTo>
                    <a:pt x="473" y="580"/>
                  </a:lnTo>
                  <a:lnTo>
                    <a:pt x="470" y="579"/>
                  </a:lnTo>
                  <a:lnTo>
                    <a:pt x="468" y="578"/>
                  </a:lnTo>
                  <a:lnTo>
                    <a:pt x="466" y="576"/>
                  </a:lnTo>
                  <a:lnTo>
                    <a:pt x="465" y="573"/>
                  </a:lnTo>
                  <a:lnTo>
                    <a:pt x="465" y="572"/>
                  </a:lnTo>
                  <a:lnTo>
                    <a:pt x="465" y="226"/>
                  </a:lnTo>
                  <a:lnTo>
                    <a:pt x="465" y="224"/>
                  </a:lnTo>
                  <a:lnTo>
                    <a:pt x="464" y="223"/>
                  </a:lnTo>
                  <a:lnTo>
                    <a:pt x="463" y="222"/>
                  </a:lnTo>
                  <a:lnTo>
                    <a:pt x="462" y="222"/>
                  </a:lnTo>
                  <a:lnTo>
                    <a:pt x="461" y="222"/>
                  </a:lnTo>
                  <a:lnTo>
                    <a:pt x="460" y="223"/>
                  </a:lnTo>
                  <a:lnTo>
                    <a:pt x="458" y="226"/>
                  </a:lnTo>
                  <a:lnTo>
                    <a:pt x="452" y="264"/>
                  </a:lnTo>
                  <a:lnTo>
                    <a:pt x="446" y="298"/>
                  </a:lnTo>
                  <a:lnTo>
                    <a:pt x="443" y="314"/>
                  </a:lnTo>
                  <a:lnTo>
                    <a:pt x="440" y="330"/>
                  </a:lnTo>
                  <a:lnTo>
                    <a:pt x="436" y="346"/>
                  </a:lnTo>
                  <a:lnTo>
                    <a:pt x="432" y="362"/>
                  </a:lnTo>
                  <a:lnTo>
                    <a:pt x="373" y="572"/>
                  </a:lnTo>
                  <a:lnTo>
                    <a:pt x="372" y="575"/>
                  </a:lnTo>
                  <a:lnTo>
                    <a:pt x="371" y="577"/>
                  </a:lnTo>
                  <a:lnTo>
                    <a:pt x="368" y="579"/>
                  </a:lnTo>
                  <a:lnTo>
                    <a:pt x="365" y="579"/>
                  </a:lnTo>
                  <a:lnTo>
                    <a:pt x="364" y="580"/>
                  </a:lnTo>
                  <a:lnTo>
                    <a:pt x="241" y="580"/>
                  </a:lnTo>
                  <a:lnTo>
                    <a:pt x="238" y="579"/>
                  </a:lnTo>
                  <a:lnTo>
                    <a:pt x="236" y="578"/>
                  </a:lnTo>
                  <a:lnTo>
                    <a:pt x="234" y="577"/>
                  </a:lnTo>
                  <a:lnTo>
                    <a:pt x="233" y="576"/>
                  </a:lnTo>
                  <a:lnTo>
                    <a:pt x="232" y="573"/>
                  </a:lnTo>
                  <a:lnTo>
                    <a:pt x="231" y="572"/>
                  </a:lnTo>
                  <a:lnTo>
                    <a:pt x="174" y="362"/>
                  </a:lnTo>
                  <a:lnTo>
                    <a:pt x="169" y="345"/>
                  </a:lnTo>
                  <a:lnTo>
                    <a:pt x="165" y="330"/>
                  </a:lnTo>
                  <a:lnTo>
                    <a:pt x="159" y="301"/>
                  </a:lnTo>
                  <a:lnTo>
                    <a:pt x="153" y="268"/>
                  </a:lnTo>
                  <a:lnTo>
                    <a:pt x="146" y="224"/>
                  </a:lnTo>
                  <a:lnTo>
                    <a:pt x="146" y="223"/>
                  </a:lnTo>
                  <a:lnTo>
                    <a:pt x="145" y="222"/>
                  </a:lnTo>
                  <a:lnTo>
                    <a:pt x="142" y="221"/>
                  </a:lnTo>
                  <a:lnTo>
                    <a:pt x="140" y="222"/>
                  </a:lnTo>
                  <a:lnTo>
                    <a:pt x="140" y="223"/>
                  </a:lnTo>
                  <a:lnTo>
                    <a:pt x="139" y="224"/>
                  </a:lnTo>
                  <a:lnTo>
                    <a:pt x="139" y="572"/>
                  </a:lnTo>
                  <a:lnTo>
                    <a:pt x="139" y="575"/>
                  </a:lnTo>
                  <a:lnTo>
                    <a:pt x="138" y="576"/>
                  </a:lnTo>
                  <a:lnTo>
                    <a:pt x="136" y="579"/>
                  </a:lnTo>
                  <a:lnTo>
                    <a:pt x="133" y="579"/>
                  </a:lnTo>
                  <a:lnTo>
                    <a:pt x="132" y="580"/>
                  </a:lnTo>
                  <a:lnTo>
                    <a:pt x="8" y="580"/>
                  </a:lnTo>
                  <a:lnTo>
                    <a:pt x="5" y="579"/>
                  </a:lnTo>
                  <a:lnTo>
                    <a:pt x="3" y="578"/>
                  </a:lnTo>
                  <a:lnTo>
                    <a:pt x="1" y="576"/>
                  </a:lnTo>
                  <a:lnTo>
                    <a:pt x="0" y="573"/>
                  </a:lnTo>
                  <a:lnTo>
                    <a:pt x="0" y="572"/>
                  </a:lnTo>
                  <a:close/>
                  <a:moveTo>
                    <a:pt x="1063" y="408"/>
                  </a:moveTo>
                  <a:lnTo>
                    <a:pt x="1062" y="410"/>
                  </a:lnTo>
                  <a:lnTo>
                    <a:pt x="1062" y="412"/>
                  </a:lnTo>
                  <a:lnTo>
                    <a:pt x="1061" y="413"/>
                  </a:lnTo>
                  <a:lnTo>
                    <a:pt x="1060" y="414"/>
                  </a:lnTo>
                  <a:lnTo>
                    <a:pt x="1058" y="414"/>
                  </a:lnTo>
                  <a:lnTo>
                    <a:pt x="1057" y="414"/>
                  </a:lnTo>
                  <a:lnTo>
                    <a:pt x="801" y="414"/>
                  </a:lnTo>
                  <a:lnTo>
                    <a:pt x="799" y="415"/>
                  </a:lnTo>
                  <a:lnTo>
                    <a:pt x="797" y="415"/>
                  </a:lnTo>
                  <a:lnTo>
                    <a:pt x="796" y="417"/>
                  </a:lnTo>
                  <a:lnTo>
                    <a:pt x="795" y="418"/>
                  </a:lnTo>
                  <a:lnTo>
                    <a:pt x="795" y="421"/>
                  </a:lnTo>
                  <a:lnTo>
                    <a:pt x="795" y="422"/>
                  </a:lnTo>
                  <a:lnTo>
                    <a:pt x="796" y="430"/>
                  </a:lnTo>
                  <a:lnTo>
                    <a:pt x="799" y="438"/>
                  </a:lnTo>
                  <a:lnTo>
                    <a:pt x="801" y="445"/>
                  </a:lnTo>
                  <a:lnTo>
                    <a:pt x="804" y="451"/>
                  </a:lnTo>
                  <a:lnTo>
                    <a:pt x="808" y="457"/>
                  </a:lnTo>
                  <a:lnTo>
                    <a:pt x="812" y="462"/>
                  </a:lnTo>
                  <a:lnTo>
                    <a:pt x="817" y="466"/>
                  </a:lnTo>
                  <a:lnTo>
                    <a:pt x="822" y="470"/>
                  </a:lnTo>
                  <a:lnTo>
                    <a:pt x="827" y="473"/>
                  </a:lnTo>
                  <a:lnTo>
                    <a:pt x="833" y="476"/>
                  </a:lnTo>
                  <a:lnTo>
                    <a:pt x="840" y="478"/>
                  </a:lnTo>
                  <a:lnTo>
                    <a:pt x="846" y="480"/>
                  </a:lnTo>
                  <a:lnTo>
                    <a:pt x="854" y="481"/>
                  </a:lnTo>
                  <a:lnTo>
                    <a:pt x="861" y="482"/>
                  </a:lnTo>
                  <a:lnTo>
                    <a:pt x="878" y="482"/>
                  </a:lnTo>
                  <a:lnTo>
                    <a:pt x="886" y="482"/>
                  </a:lnTo>
                  <a:lnTo>
                    <a:pt x="894" y="481"/>
                  </a:lnTo>
                  <a:lnTo>
                    <a:pt x="903" y="480"/>
                  </a:lnTo>
                  <a:lnTo>
                    <a:pt x="911" y="479"/>
                  </a:lnTo>
                  <a:lnTo>
                    <a:pt x="928" y="475"/>
                  </a:lnTo>
                  <a:lnTo>
                    <a:pt x="943" y="470"/>
                  </a:lnTo>
                  <a:lnTo>
                    <a:pt x="958" y="464"/>
                  </a:lnTo>
                  <a:lnTo>
                    <a:pt x="971" y="459"/>
                  </a:lnTo>
                  <a:lnTo>
                    <a:pt x="983" y="453"/>
                  </a:lnTo>
                  <a:lnTo>
                    <a:pt x="992" y="448"/>
                  </a:lnTo>
                  <a:lnTo>
                    <a:pt x="994" y="447"/>
                  </a:lnTo>
                  <a:lnTo>
                    <a:pt x="996" y="447"/>
                  </a:lnTo>
                  <a:lnTo>
                    <a:pt x="998" y="447"/>
                  </a:lnTo>
                  <a:lnTo>
                    <a:pt x="999" y="448"/>
                  </a:lnTo>
                  <a:lnTo>
                    <a:pt x="1002" y="450"/>
                  </a:lnTo>
                  <a:lnTo>
                    <a:pt x="1050" y="531"/>
                  </a:lnTo>
                  <a:lnTo>
                    <a:pt x="1052" y="535"/>
                  </a:lnTo>
                  <a:lnTo>
                    <a:pt x="1052" y="537"/>
                  </a:lnTo>
                  <a:lnTo>
                    <a:pt x="1051" y="538"/>
                  </a:lnTo>
                  <a:lnTo>
                    <a:pt x="1051" y="540"/>
                  </a:lnTo>
                  <a:lnTo>
                    <a:pt x="1050" y="540"/>
                  </a:lnTo>
                  <a:lnTo>
                    <a:pt x="1048" y="542"/>
                  </a:lnTo>
                  <a:lnTo>
                    <a:pt x="1038" y="547"/>
                  </a:lnTo>
                  <a:lnTo>
                    <a:pt x="1028" y="553"/>
                  </a:lnTo>
                  <a:lnTo>
                    <a:pt x="1018" y="558"/>
                  </a:lnTo>
                  <a:lnTo>
                    <a:pt x="1007" y="562"/>
                  </a:lnTo>
                  <a:lnTo>
                    <a:pt x="996" y="567"/>
                  </a:lnTo>
                  <a:lnTo>
                    <a:pt x="985" y="570"/>
                  </a:lnTo>
                  <a:lnTo>
                    <a:pt x="974" y="574"/>
                  </a:lnTo>
                  <a:lnTo>
                    <a:pt x="963" y="577"/>
                  </a:lnTo>
                  <a:lnTo>
                    <a:pt x="951" y="580"/>
                  </a:lnTo>
                  <a:lnTo>
                    <a:pt x="939" y="582"/>
                  </a:lnTo>
                  <a:lnTo>
                    <a:pt x="927" y="584"/>
                  </a:lnTo>
                  <a:lnTo>
                    <a:pt x="915" y="585"/>
                  </a:lnTo>
                  <a:lnTo>
                    <a:pt x="903" y="587"/>
                  </a:lnTo>
                  <a:lnTo>
                    <a:pt x="891" y="587"/>
                  </a:lnTo>
                  <a:lnTo>
                    <a:pt x="866" y="588"/>
                  </a:lnTo>
                  <a:lnTo>
                    <a:pt x="844" y="588"/>
                  </a:lnTo>
                  <a:lnTo>
                    <a:pt x="823" y="586"/>
                  </a:lnTo>
                  <a:lnTo>
                    <a:pt x="813" y="584"/>
                  </a:lnTo>
                  <a:lnTo>
                    <a:pt x="802" y="583"/>
                  </a:lnTo>
                  <a:lnTo>
                    <a:pt x="792" y="580"/>
                  </a:lnTo>
                  <a:lnTo>
                    <a:pt x="782" y="578"/>
                  </a:lnTo>
                  <a:lnTo>
                    <a:pt x="772" y="575"/>
                  </a:lnTo>
                  <a:lnTo>
                    <a:pt x="762" y="572"/>
                  </a:lnTo>
                  <a:lnTo>
                    <a:pt x="753" y="568"/>
                  </a:lnTo>
                  <a:lnTo>
                    <a:pt x="744" y="564"/>
                  </a:lnTo>
                  <a:lnTo>
                    <a:pt x="735" y="559"/>
                  </a:lnTo>
                  <a:lnTo>
                    <a:pt x="726" y="554"/>
                  </a:lnTo>
                  <a:lnTo>
                    <a:pt x="718" y="549"/>
                  </a:lnTo>
                  <a:lnTo>
                    <a:pt x="710" y="543"/>
                  </a:lnTo>
                  <a:lnTo>
                    <a:pt x="702" y="537"/>
                  </a:lnTo>
                  <a:lnTo>
                    <a:pt x="694" y="530"/>
                  </a:lnTo>
                  <a:lnTo>
                    <a:pt x="687" y="522"/>
                  </a:lnTo>
                  <a:lnTo>
                    <a:pt x="681" y="514"/>
                  </a:lnTo>
                  <a:lnTo>
                    <a:pt x="675" y="505"/>
                  </a:lnTo>
                  <a:lnTo>
                    <a:pt x="669" y="496"/>
                  </a:lnTo>
                  <a:lnTo>
                    <a:pt x="664" y="486"/>
                  </a:lnTo>
                  <a:lnTo>
                    <a:pt x="659" y="476"/>
                  </a:lnTo>
                  <a:lnTo>
                    <a:pt x="654" y="465"/>
                  </a:lnTo>
                  <a:lnTo>
                    <a:pt x="652" y="459"/>
                  </a:lnTo>
                  <a:lnTo>
                    <a:pt x="651" y="454"/>
                  </a:lnTo>
                  <a:lnTo>
                    <a:pt x="647" y="441"/>
                  </a:lnTo>
                  <a:lnTo>
                    <a:pt x="645" y="429"/>
                  </a:lnTo>
                  <a:lnTo>
                    <a:pt x="642" y="415"/>
                  </a:lnTo>
                  <a:lnTo>
                    <a:pt x="642" y="408"/>
                  </a:lnTo>
                  <a:lnTo>
                    <a:pt x="641" y="401"/>
                  </a:lnTo>
                  <a:lnTo>
                    <a:pt x="640" y="386"/>
                  </a:lnTo>
                  <a:lnTo>
                    <a:pt x="640" y="370"/>
                  </a:lnTo>
                  <a:lnTo>
                    <a:pt x="640" y="355"/>
                  </a:lnTo>
                  <a:lnTo>
                    <a:pt x="641" y="340"/>
                  </a:lnTo>
                  <a:lnTo>
                    <a:pt x="643" y="326"/>
                  </a:lnTo>
                  <a:lnTo>
                    <a:pt x="646" y="313"/>
                  </a:lnTo>
                  <a:lnTo>
                    <a:pt x="649" y="300"/>
                  </a:lnTo>
                  <a:lnTo>
                    <a:pt x="653" y="288"/>
                  </a:lnTo>
                  <a:lnTo>
                    <a:pt x="657" y="276"/>
                  </a:lnTo>
                  <a:lnTo>
                    <a:pt x="662" y="265"/>
                  </a:lnTo>
                  <a:lnTo>
                    <a:pt x="668" y="255"/>
                  </a:lnTo>
                  <a:lnTo>
                    <a:pt x="674" y="245"/>
                  </a:lnTo>
                  <a:lnTo>
                    <a:pt x="680" y="236"/>
                  </a:lnTo>
                  <a:lnTo>
                    <a:pt x="687" y="227"/>
                  </a:lnTo>
                  <a:lnTo>
                    <a:pt x="694" y="219"/>
                  </a:lnTo>
                  <a:lnTo>
                    <a:pt x="702" y="212"/>
                  </a:lnTo>
                  <a:lnTo>
                    <a:pt x="710" y="204"/>
                  </a:lnTo>
                  <a:lnTo>
                    <a:pt x="718" y="198"/>
                  </a:lnTo>
                  <a:lnTo>
                    <a:pt x="727" y="192"/>
                  </a:lnTo>
                  <a:lnTo>
                    <a:pt x="735" y="186"/>
                  </a:lnTo>
                  <a:lnTo>
                    <a:pt x="744" y="181"/>
                  </a:lnTo>
                  <a:lnTo>
                    <a:pt x="753" y="177"/>
                  </a:lnTo>
                  <a:lnTo>
                    <a:pt x="762" y="172"/>
                  </a:lnTo>
                  <a:lnTo>
                    <a:pt x="771" y="169"/>
                  </a:lnTo>
                  <a:lnTo>
                    <a:pt x="781" y="165"/>
                  </a:lnTo>
                  <a:lnTo>
                    <a:pt x="790" y="162"/>
                  </a:lnTo>
                  <a:lnTo>
                    <a:pt x="799" y="160"/>
                  </a:lnTo>
                  <a:lnTo>
                    <a:pt x="808" y="158"/>
                  </a:lnTo>
                  <a:lnTo>
                    <a:pt x="817" y="156"/>
                  </a:lnTo>
                  <a:lnTo>
                    <a:pt x="826" y="154"/>
                  </a:lnTo>
                  <a:lnTo>
                    <a:pt x="844" y="152"/>
                  </a:lnTo>
                  <a:lnTo>
                    <a:pt x="852" y="152"/>
                  </a:lnTo>
                  <a:lnTo>
                    <a:pt x="860" y="152"/>
                  </a:lnTo>
                  <a:lnTo>
                    <a:pt x="868" y="152"/>
                  </a:lnTo>
                  <a:lnTo>
                    <a:pt x="876" y="152"/>
                  </a:lnTo>
                  <a:lnTo>
                    <a:pt x="893" y="153"/>
                  </a:lnTo>
                  <a:lnTo>
                    <a:pt x="901" y="155"/>
                  </a:lnTo>
                  <a:lnTo>
                    <a:pt x="910" y="156"/>
                  </a:lnTo>
                  <a:lnTo>
                    <a:pt x="927" y="160"/>
                  </a:lnTo>
                  <a:lnTo>
                    <a:pt x="936" y="162"/>
                  </a:lnTo>
                  <a:lnTo>
                    <a:pt x="944" y="165"/>
                  </a:lnTo>
                  <a:lnTo>
                    <a:pt x="953" y="168"/>
                  </a:lnTo>
                  <a:lnTo>
                    <a:pt x="961" y="172"/>
                  </a:lnTo>
                  <a:lnTo>
                    <a:pt x="969" y="177"/>
                  </a:lnTo>
                  <a:lnTo>
                    <a:pt x="977" y="181"/>
                  </a:lnTo>
                  <a:lnTo>
                    <a:pt x="985" y="187"/>
                  </a:lnTo>
                  <a:lnTo>
                    <a:pt x="993" y="193"/>
                  </a:lnTo>
                  <a:lnTo>
                    <a:pt x="1000" y="199"/>
                  </a:lnTo>
                  <a:lnTo>
                    <a:pt x="1007" y="207"/>
                  </a:lnTo>
                  <a:lnTo>
                    <a:pt x="1014" y="215"/>
                  </a:lnTo>
                  <a:lnTo>
                    <a:pt x="1021" y="223"/>
                  </a:lnTo>
                  <a:lnTo>
                    <a:pt x="1027" y="233"/>
                  </a:lnTo>
                  <a:lnTo>
                    <a:pt x="1032" y="243"/>
                  </a:lnTo>
                  <a:lnTo>
                    <a:pt x="1035" y="248"/>
                  </a:lnTo>
                  <a:lnTo>
                    <a:pt x="1038" y="253"/>
                  </a:lnTo>
                  <a:lnTo>
                    <a:pt x="1043" y="265"/>
                  </a:lnTo>
                  <a:lnTo>
                    <a:pt x="1047" y="278"/>
                  </a:lnTo>
                  <a:lnTo>
                    <a:pt x="1051" y="291"/>
                  </a:lnTo>
                  <a:lnTo>
                    <a:pt x="1054" y="305"/>
                  </a:lnTo>
                  <a:lnTo>
                    <a:pt x="1057" y="320"/>
                  </a:lnTo>
                  <a:lnTo>
                    <a:pt x="1060" y="336"/>
                  </a:lnTo>
                  <a:lnTo>
                    <a:pt x="1061" y="354"/>
                  </a:lnTo>
                  <a:lnTo>
                    <a:pt x="1062" y="372"/>
                  </a:lnTo>
                  <a:lnTo>
                    <a:pt x="1063" y="391"/>
                  </a:lnTo>
                  <a:lnTo>
                    <a:pt x="1063" y="408"/>
                  </a:lnTo>
                  <a:close/>
                  <a:moveTo>
                    <a:pt x="918" y="326"/>
                  </a:moveTo>
                  <a:lnTo>
                    <a:pt x="921" y="325"/>
                  </a:lnTo>
                  <a:lnTo>
                    <a:pt x="922" y="325"/>
                  </a:lnTo>
                  <a:lnTo>
                    <a:pt x="923" y="323"/>
                  </a:lnTo>
                  <a:lnTo>
                    <a:pt x="924" y="322"/>
                  </a:lnTo>
                  <a:lnTo>
                    <a:pt x="925" y="319"/>
                  </a:lnTo>
                  <a:lnTo>
                    <a:pt x="924" y="318"/>
                  </a:lnTo>
                  <a:lnTo>
                    <a:pt x="923" y="311"/>
                  </a:lnTo>
                  <a:lnTo>
                    <a:pt x="922" y="304"/>
                  </a:lnTo>
                  <a:lnTo>
                    <a:pt x="920" y="297"/>
                  </a:lnTo>
                  <a:lnTo>
                    <a:pt x="917" y="291"/>
                  </a:lnTo>
                  <a:lnTo>
                    <a:pt x="915" y="286"/>
                  </a:lnTo>
                  <a:lnTo>
                    <a:pt x="911" y="281"/>
                  </a:lnTo>
                  <a:lnTo>
                    <a:pt x="908" y="277"/>
                  </a:lnTo>
                  <a:lnTo>
                    <a:pt x="904" y="273"/>
                  </a:lnTo>
                  <a:lnTo>
                    <a:pt x="900" y="270"/>
                  </a:lnTo>
                  <a:lnTo>
                    <a:pt x="895" y="267"/>
                  </a:lnTo>
                  <a:lnTo>
                    <a:pt x="890" y="265"/>
                  </a:lnTo>
                  <a:lnTo>
                    <a:pt x="885" y="263"/>
                  </a:lnTo>
                  <a:lnTo>
                    <a:pt x="879" y="262"/>
                  </a:lnTo>
                  <a:lnTo>
                    <a:pt x="873" y="261"/>
                  </a:lnTo>
                  <a:lnTo>
                    <a:pt x="866" y="260"/>
                  </a:lnTo>
                  <a:lnTo>
                    <a:pt x="860" y="260"/>
                  </a:lnTo>
                  <a:lnTo>
                    <a:pt x="854" y="260"/>
                  </a:lnTo>
                  <a:lnTo>
                    <a:pt x="849" y="261"/>
                  </a:lnTo>
                  <a:lnTo>
                    <a:pt x="844" y="262"/>
                  </a:lnTo>
                  <a:lnTo>
                    <a:pt x="839" y="263"/>
                  </a:lnTo>
                  <a:lnTo>
                    <a:pt x="834" y="265"/>
                  </a:lnTo>
                  <a:lnTo>
                    <a:pt x="830" y="267"/>
                  </a:lnTo>
                  <a:lnTo>
                    <a:pt x="826" y="270"/>
                  </a:lnTo>
                  <a:lnTo>
                    <a:pt x="821" y="273"/>
                  </a:lnTo>
                  <a:lnTo>
                    <a:pt x="818" y="277"/>
                  </a:lnTo>
                  <a:lnTo>
                    <a:pt x="814" y="281"/>
                  </a:lnTo>
                  <a:lnTo>
                    <a:pt x="810" y="286"/>
                  </a:lnTo>
                  <a:lnTo>
                    <a:pt x="807" y="291"/>
                  </a:lnTo>
                  <a:lnTo>
                    <a:pt x="804" y="297"/>
                  </a:lnTo>
                  <a:lnTo>
                    <a:pt x="802" y="304"/>
                  </a:lnTo>
                  <a:lnTo>
                    <a:pt x="799" y="311"/>
                  </a:lnTo>
                  <a:lnTo>
                    <a:pt x="797" y="318"/>
                  </a:lnTo>
                  <a:lnTo>
                    <a:pt x="797" y="321"/>
                  </a:lnTo>
                  <a:lnTo>
                    <a:pt x="797" y="323"/>
                  </a:lnTo>
                  <a:lnTo>
                    <a:pt x="798" y="324"/>
                  </a:lnTo>
                  <a:lnTo>
                    <a:pt x="799" y="325"/>
                  </a:lnTo>
                  <a:lnTo>
                    <a:pt x="800" y="326"/>
                  </a:lnTo>
                  <a:lnTo>
                    <a:pt x="802" y="326"/>
                  </a:lnTo>
                  <a:lnTo>
                    <a:pt x="918" y="326"/>
                  </a:lnTo>
                  <a:close/>
                  <a:moveTo>
                    <a:pt x="1595" y="588"/>
                  </a:moveTo>
                  <a:lnTo>
                    <a:pt x="1577" y="588"/>
                  </a:lnTo>
                  <a:lnTo>
                    <a:pt x="1560" y="587"/>
                  </a:lnTo>
                  <a:lnTo>
                    <a:pt x="1543" y="585"/>
                  </a:lnTo>
                  <a:lnTo>
                    <a:pt x="1528" y="584"/>
                  </a:lnTo>
                  <a:lnTo>
                    <a:pt x="1513" y="581"/>
                  </a:lnTo>
                  <a:lnTo>
                    <a:pt x="1499" y="578"/>
                  </a:lnTo>
                  <a:lnTo>
                    <a:pt x="1485" y="575"/>
                  </a:lnTo>
                  <a:lnTo>
                    <a:pt x="1472" y="571"/>
                  </a:lnTo>
                  <a:lnTo>
                    <a:pt x="1460" y="567"/>
                  </a:lnTo>
                  <a:lnTo>
                    <a:pt x="1449" y="563"/>
                  </a:lnTo>
                  <a:lnTo>
                    <a:pt x="1438" y="558"/>
                  </a:lnTo>
                  <a:lnTo>
                    <a:pt x="1427" y="553"/>
                  </a:lnTo>
                  <a:lnTo>
                    <a:pt x="1418" y="548"/>
                  </a:lnTo>
                  <a:lnTo>
                    <a:pt x="1409" y="543"/>
                  </a:lnTo>
                  <a:lnTo>
                    <a:pt x="1393" y="532"/>
                  </a:lnTo>
                  <a:lnTo>
                    <a:pt x="1391" y="531"/>
                  </a:lnTo>
                  <a:lnTo>
                    <a:pt x="1390" y="529"/>
                  </a:lnTo>
                  <a:lnTo>
                    <a:pt x="1389" y="527"/>
                  </a:lnTo>
                  <a:lnTo>
                    <a:pt x="1389" y="525"/>
                  </a:lnTo>
                  <a:lnTo>
                    <a:pt x="1390" y="523"/>
                  </a:lnTo>
                  <a:lnTo>
                    <a:pt x="1391" y="522"/>
                  </a:lnTo>
                  <a:lnTo>
                    <a:pt x="1440" y="446"/>
                  </a:lnTo>
                  <a:lnTo>
                    <a:pt x="1442" y="444"/>
                  </a:lnTo>
                  <a:lnTo>
                    <a:pt x="1443" y="444"/>
                  </a:lnTo>
                  <a:lnTo>
                    <a:pt x="1444" y="443"/>
                  </a:lnTo>
                  <a:lnTo>
                    <a:pt x="1446" y="443"/>
                  </a:lnTo>
                  <a:lnTo>
                    <a:pt x="1448" y="444"/>
                  </a:lnTo>
                  <a:lnTo>
                    <a:pt x="1450" y="445"/>
                  </a:lnTo>
                  <a:lnTo>
                    <a:pt x="1465" y="456"/>
                  </a:lnTo>
                  <a:lnTo>
                    <a:pt x="1483" y="465"/>
                  </a:lnTo>
                  <a:lnTo>
                    <a:pt x="1501" y="473"/>
                  </a:lnTo>
                  <a:lnTo>
                    <a:pt x="1510" y="476"/>
                  </a:lnTo>
                  <a:lnTo>
                    <a:pt x="1520" y="479"/>
                  </a:lnTo>
                  <a:lnTo>
                    <a:pt x="1529" y="482"/>
                  </a:lnTo>
                  <a:lnTo>
                    <a:pt x="1539" y="485"/>
                  </a:lnTo>
                  <a:lnTo>
                    <a:pt x="1558" y="489"/>
                  </a:lnTo>
                  <a:lnTo>
                    <a:pt x="1576" y="491"/>
                  </a:lnTo>
                  <a:lnTo>
                    <a:pt x="1594" y="492"/>
                  </a:lnTo>
                  <a:lnTo>
                    <a:pt x="1604" y="491"/>
                  </a:lnTo>
                  <a:lnTo>
                    <a:pt x="1613" y="490"/>
                  </a:lnTo>
                  <a:lnTo>
                    <a:pt x="1622" y="488"/>
                  </a:lnTo>
                  <a:lnTo>
                    <a:pt x="1629" y="486"/>
                  </a:lnTo>
                  <a:lnTo>
                    <a:pt x="1632" y="484"/>
                  </a:lnTo>
                  <a:lnTo>
                    <a:pt x="1635" y="482"/>
                  </a:lnTo>
                  <a:lnTo>
                    <a:pt x="1638" y="480"/>
                  </a:lnTo>
                  <a:lnTo>
                    <a:pt x="1640" y="477"/>
                  </a:lnTo>
                  <a:lnTo>
                    <a:pt x="1642" y="474"/>
                  </a:lnTo>
                  <a:lnTo>
                    <a:pt x="1643" y="471"/>
                  </a:lnTo>
                  <a:lnTo>
                    <a:pt x="1644" y="468"/>
                  </a:lnTo>
                  <a:lnTo>
                    <a:pt x="1644" y="464"/>
                  </a:lnTo>
                  <a:lnTo>
                    <a:pt x="1644" y="461"/>
                  </a:lnTo>
                  <a:lnTo>
                    <a:pt x="1643" y="457"/>
                  </a:lnTo>
                  <a:lnTo>
                    <a:pt x="1642" y="454"/>
                  </a:lnTo>
                  <a:lnTo>
                    <a:pt x="1641" y="451"/>
                  </a:lnTo>
                  <a:lnTo>
                    <a:pt x="1640" y="449"/>
                  </a:lnTo>
                  <a:lnTo>
                    <a:pt x="1638" y="448"/>
                  </a:lnTo>
                  <a:lnTo>
                    <a:pt x="1636" y="445"/>
                  </a:lnTo>
                  <a:lnTo>
                    <a:pt x="1629" y="441"/>
                  </a:lnTo>
                  <a:lnTo>
                    <a:pt x="1620" y="437"/>
                  </a:lnTo>
                  <a:lnTo>
                    <a:pt x="1609" y="434"/>
                  </a:lnTo>
                  <a:lnTo>
                    <a:pt x="1595" y="432"/>
                  </a:lnTo>
                  <a:lnTo>
                    <a:pt x="1579" y="429"/>
                  </a:lnTo>
                  <a:lnTo>
                    <a:pt x="1551" y="425"/>
                  </a:lnTo>
                  <a:lnTo>
                    <a:pt x="1537" y="422"/>
                  </a:lnTo>
                  <a:lnTo>
                    <a:pt x="1522" y="419"/>
                  </a:lnTo>
                  <a:lnTo>
                    <a:pt x="1508" y="415"/>
                  </a:lnTo>
                  <a:lnTo>
                    <a:pt x="1493" y="411"/>
                  </a:lnTo>
                  <a:lnTo>
                    <a:pt x="1480" y="405"/>
                  </a:lnTo>
                  <a:lnTo>
                    <a:pt x="1466" y="398"/>
                  </a:lnTo>
                  <a:lnTo>
                    <a:pt x="1460" y="395"/>
                  </a:lnTo>
                  <a:lnTo>
                    <a:pt x="1454" y="391"/>
                  </a:lnTo>
                  <a:lnTo>
                    <a:pt x="1448" y="386"/>
                  </a:lnTo>
                  <a:lnTo>
                    <a:pt x="1443" y="382"/>
                  </a:lnTo>
                  <a:lnTo>
                    <a:pt x="1438" y="377"/>
                  </a:lnTo>
                  <a:lnTo>
                    <a:pt x="1433" y="371"/>
                  </a:lnTo>
                  <a:lnTo>
                    <a:pt x="1428" y="366"/>
                  </a:lnTo>
                  <a:lnTo>
                    <a:pt x="1424" y="359"/>
                  </a:lnTo>
                  <a:lnTo>
                    <a:pt x="1420" y="353"/>
                  </a:lnTo>
                  <a:lnTo>
                    <a:pt x="1417" y="346"/>
                  </a:lnTo>
                  <a:lnTo>
                    <a:pt x="1414" y="338"/>
                  </a:lnTo>
                  <a:lnTo>
                    <a:pt x="1411" y="330"/>
                  </a:lnTo>
                  <a:lnTo>
                    <a:pt x="1410" y="322"/>
                  </a:lnTo>
                  <a:lnTo>
                    <a:pt x="1408" y="313"/>
                  </a:lnTo>
                  <a:lnTo>
                    <a:pt x="1408" y="308"/>
                  </a:lnTo>
                  <a:lnTo>
                    <a:pt x="1407" y="304"/>
                  </a:lnTo>
                  <a:lnTo>
                    <a:pt x="1407" y="294"/>
                  </a:lnTo>
                  <a:lnTo>
                    <a:pt x="1407" y="285"/>
                  </a:lnTo>
                  <a:lnTo>
                    <a:pt x="1408" y="277"/>
                  </a:lnTo>
                  <a:lnTo>
                    <a:pt x="1409" y="268"/>
                  </a:lnTo>
                  <a:lnTo>
                    <a:pt x="1410" y="261"/>
                  </a:lnTo>
                  <a:lnTo>
                    <a:pt x="1412" y="253"/>
                  </a:lnTo>
                  <a:lnTo>
                    <a:pt x="1415" y="246"/>
                  </a:lnTo>
                  <a:lnTo>
                    <a:pt x="1417" y="239"/>
                  </a:lnTo>
                  <a:lnTo>
                    <a:pt x="1420" y="232"/>
                  </a:lnTo>
                  <a:lnTo>
                    <a:pt x="1424" y="225"/>
                  </a:lnTo>
                  <a:lnTo>
                    <a:pt x="1428" y="219"/>
                  </a:lnTo>
                  <a:lnTo>
                    <a:pt x="1436" y="208"/>
                  </a:lnTo>
                  <a:lnTo>
                    <a:pt x="1441" y="202"/>
                  </a:lnTo>
                  <a:lnTo>
                    <a:pt x="1446" y="197"/>
                  </a:lnTo>
                  <a:lnTo>
                    <a:pt x="1457" y="188"/>
                  </a:lnTo>
                  <a:lnTo>
                    <a:pt x="1463" y="183"/>
                  </a:lnTo>
                  <a:lnTo>
                    <a:pt x="1469" y="179"/>
                  </a:lnTo>
                  <a:lnTo>
                    <a:pt x="1483" y="172"/>
                  </a:lnTo>
                  <a:lnTo>
                    <a:pt x="1490" y="169"/>
                  </a:lnTo>
                  <a:lnTo>
                    <a:pt x="1497" y="166"/>
                  </a:lnTo>
                  <a:lnTo>
                    <a:pt x="1512" y="161"/>
                  </a:lnTo>
                  <a:lnTo>
                    <a:pt x="1528" y="157"/>
                  </a:lnTo>
                  <a:lnTo>
                    <a:pt x="1544" y="154"/>
                  </a:lnTo>
                  <a:lnTo>
                    <a:pt x="1561" y="152"/>
                  </a:lnTo>
                  <a:lnTo>
                    <a:pt x="1579" y="152"/>
                  </a:lnTo>
                  <a:lnTo>
                    <a:pt x="1595" y="152"/>
                  </a:lnTo>
                  <a:lnTo>
                    <a:pt x="1611" y="153"/>
                  </a:lnTo>
                  <a:lnTo>
                    <a:pt x="1626" y="154"/>
                  </a:lnTo>
                  <a:lnTo>
                    <a:pt x="1641" y="156"/>
                  </a:lnTo>
                  <a:lnTo>
                    <a:pt x="1654" y="158"/>
                  </a:lnTo>
                  <a:lnTo>
                    <a:pt x="1667" y="160"/>
                  </a:lnTo>
                  <a:lnTo>
                    <a:pt x="1679" y="163"/>
                  </a:lnTo>
                  <a:lnTo>
                    <a:pt x="1691" y="167"/>
                  </a:lnTo>
                  <a:lnTo>
                    <a:pt x="1702" y="170"/>
                  </a:lnTo>
                  <a:lnTo>
                    <a:pt x="1713" y="174"/>
                  </a:lnTo>
                  <a:lnTo>
                    <a:pt x="1723" y="179"/>
                  </a:lnTo>
                  <a:lnTo>
                    <a:pt x="1733" y="183"/>
                  </a:lnTo>
                  <a:lnTo>
                    <a:pt x="1742" y="188"/>
                  </a:lnTo>
                  <a:lnTo>
                    <a:pt x="1751" y="194"/>
                  </a:lnTo>
                  <a:lnTo>
                    <a:pt x="1768" y="205"/>
                  </a:lnTo>
                  <a:lnTo>
                    <a:pt x="1770" y="207"/>
                  </a:lnTo>
                  <a:lnTo>
                    <a:pt x="1771" y="209"/>
                  </a:lnTo>
                  <a:lnTo>
                    <a:pt x="1772" y="211"/>
                  </a:lnTo>
                  <a:lnTo>
                    <a:pt x="1772" y="212"/>
                  </a:lnTo>
                  <a:lnTo>
                    <a:pt x="1771" y="215"/>
                  </a:lnTo>
                  <a:lnTo>
                    <a:pt x="1770" y="216"/>
                  </a:lnTo>
                  <a:lnTo>
                    <a:pt x="1722" y="288"/>
                  </a:lnTo>
                  <a:lnTo>
                    <a:pt x="1720" y="290"/>
                  </a:lnTo>
                  <a:lnTo>
                    <a:pt x="1718" y="292"/>
                  </a:lnTo>
                  <a:lnTo>
                    <a:pt x="1716" y="292"/>
                  </a:lnTo>
                  <a:lnTo>
                    <a:pt x="1715" y="292"/>
                  </a:lnTo>
                  <a:lnTo>
                    <a:pt x="1711" y="292"/>
                  </a:lnTo>
                  <a:lnTo>
                    <a:pt x="1708" y="290"/>
                  </a:lnTo>
                  <a:lnTo>
                    <a:pt x="1693" y="282"/>
                  </a:lnTo>
                  <a:lnTo>
                    <a:pt x="1677" y="274"/>
                  </a:lnTo>
                  <a:lnTo>
                    <a:pt x="1662" y="268"/>
                  </a:lnTo>
                  <a:lnTo>
                    <a:pt x="1647" y="263"/>
                  </a:lnTo>
                  <a:lnTo>
                    <a:pt x="1633" y="258"/>
                  </a:lnTo>
                  <a:lnTo>
                    <a:pt x="1619" y="255"/>
                  </a:lnTo>
                  <a:lnTo>
                    <a:pt x="1612" y="254"/>
                  </a:lnTo>
                  <a:lnTo>
                    <a:pt x="1606" y="254"/>
                  </a:lnTo>
                  <a:lnTo>
                    <a:pt x="1593" y="253"/>
                  </a:lnTo>
                  <a:lnTo>
                    <a:pt x="1584" y="253"/>
                  </a:lnTo>
                  <a:lnTo>
                    <a:pt x="1576" y="254"/>
                  </a:lnTo>
                  <a:lnTo>
                    <a:pt x="1568" y="256"/>
                  </a:lnTo>
                  <a:lnTo>
                    <a:pt x="1562" y="259"/>
                  </a:lnTo>
                  <a:lnTo>
                    <a:pt x="1560" y="261"/>
                  </a:lnTo>
                  <a:lnTo>
                    <a:pt x="1557" y="263"/>
                  </a:lnTo>
                  <a:lnTo>
                    <a:pt x="1554" y="267"/>
                  </a:lnTo>
                  <a:lnTo>
                    <a:pt x="1552" y="270"/>
                  </a:lnTo>
                  <a:lnTo>
                    <a:pt x="1551" y="273"/>
                  </a:lnTo>
                  <a:lnTo>
                    <a:pt x="1551" y="276"/>
                  </a:lnTo>
                  <a:lnTo>
                    <a:pt x="1550" y="280"/>
                  </a:lnTo>
                  <a:lnTo>
                    <a:pt x="1551" y="283"/>
                  </a:lnTo>
                  <a:lnTo>
                    <a:pt x="1551" y="286"/>
                  </a:lnTo>
                  <a:lnTo>
                    <a:pt x="1553" y="289"/>
                  </a:lnTo>
                  <a:lnTo>
                    <a:pt x="1555" y="292"/>
                  </a:lnTo>
                  <a:lnTo>
                    <a:pt x="1557" y="295"/>
                  </a:lnTo>
                  <a:lnTo>
                    <a:pt x="1560" y="297"/>
                  </a:lnTo>
                  <a:lnTo>
                    <a:pt x="1563" y="299"/>
                  </a:lnTo>
                  <a:lnTo>
                    <a:pt x="1567" y="301"/>
                  </a:lnTo>
                  <a:lnTo>
                    <a:pt x="1576" y="304"/>
                  </a:lnTo>
                  <a:lnTo>
                    <a:pt x="1587" y="307"/>
                  </a:lnTo>
                  <a:lnTo>
                    <a:pt x="1600" y="309"/>
                  </a:lnTo>
                  <a:lnTo>
                    <a:pt x="1615" y="312"/>
                  </a:lnTo>
                  <a:lnTo>
                    <a:pt x="1642" y="316"/>
                  </a:lnTo>
                  <a:lnTo>
                    <a:pt x="1657" y="318"/>
                  </a:lnTo>
                  <a:lnTo>
                    <a:pt x="1672" y="321"/>
                  </a:lnTo>
                  <a:lnTo>
                    <a:pt x="1686" y="325"/>
                  </a:lnTo>
                  <a:lnTo>
                    <a:pt x="1701" y="329"/>
                  </a:lnTo>
                  <a:lnTo>
                    <a:pt x="1715" y="334"/>
                  </a:lnTo>
                  <a:lnTo>
                    <a:pt x="1728" y="340"/>
                  </a:lnTo>
                  <a:lnTo>
                    <a:pt x="1740" y="348"/>
                  </a:lnTo>
                  <a:lnTo>
                    <a:pt x="1746" y="352"/>
                  </a:lnTo>
                  <a:lnTo>
                    <a:pt x="1752" y="356"/>
                  </a:lnTo>
                  <a:lnTo>
                    <a:pt x="1757" y="361"/>
                  </a:lnTo>
                  <a:lnTo>
                    <a:pt x="1762" y="366"/>
                  </a:lnTo>
                  <a:lnTo>
                    <a:pt x="1766" y="371"/>
                  </a:lnTo>
                  <a:lnTo>
                    <a:pt x="1771" y="377"/>
                  </a:lnTo>
                  <a:lnTo>
                    <a:pt x="1774" y="383"/>
                  </a:lnTo>
                  <a:lnTo>
                    <a:pt x="1778" y="390"/>
                  </a:lnTo>
                  <a:lnTo>
                    <a:pt x="1781" y="397"/>
                  </a:lnTo>
                  <a:lnTo>
                    <a:pt x="1783" y="404"/>
                  </a:lnTo>
                  <a:lnTo>
                    <a:pt x="1785" y="412"/>
                  </a:lnTo>
                  <a:lnTo>
                    <a:pt x="1787" y="420"/>
                  </a:lnTo>
                  <a:lnTo>
                    <a:pt x="1787" y="425"/>
                  </a:lnTo>
                  <a:lnTo>
                    <a:pt x="1787" y="429"/>
                  </a:lnTo>
                  <a:lnTo>
                    <a:pt x="1788" y="438"/>
                  </a:lnTo>
                  <a:lnTo>
                    <a:pt x="1787" y="449"/>
                  </a:lnTo>
                  <a:lnTo>
                    <a:pt x="1787" y="458"/>
                  </a:lnTo>
                  <a:lnTo>
                    <a:pt x="1785" y="468"/>
                  </a:lnTo>
                  <a:lnTo>
                    <a:pt x="1783" y="477"/>
                  </a:lnTo>
                  <a:lnTo>
                    <a:pt x="1781" y="485"/>
                  </a:lnTo>
                  <a:lnTo>
                    <a:pt x="1778" y="494"/>
                  </a:lnTo>
                  <a:lnTo>
                    <a:pt x="1775" y="501"/>
                  </a:lnTo>
                  <a:lnTo>
                    <a:pt x="1771" y="509"/>
                  </a:lnTo>
                  <a:lnTo>
                    <a:pt x="1767" y="516"/>
                  </a:lnTo>
                  <a:lnTo>
                    <a:pt x="1763" y="523"/>
                  </a:lnTo>
                  <a:lnTo>
                    <a:pt x="1758" y="529"/>
                  </a:lnTo>
                  <a:lnTo>
                    <a:pt x="1752" y="535"/>
                  </a:lnTo>
                  <a:lnTo>
                    <a:pt x="1747" y="540"/>
                  </a:lnTo>
                  <a:lnTo>
                    <a:pt x="1741" y="546"/>
                  </a:lnTo>
                  <a:lnTo>
                    <a:pt x="1734" y="550"/>
                  </a:lnTo>
                  <a:lnTo>
                    <a:pt x="1728" y="555"/>
                  </a:lnTo>
                  <a:lnTo>
                    <a:pt x="1721" y="559"/>
                  </a:lnTo>
                  <a:lnTo>
                    <a:pt x="1714" y="563"/>
                  </a:lnTo>
                  <a:lnTo>
                    <a:pt x="1699" y="570"/>
                  </a:lnTo>
                  <a:lnTo>
                    <a:pt x="1683" y="576"/>
                  </a:lnTo>
                  <a:lnTo>
                    <a:pt x="1675" y="578"/>
                  </a:lnTo>
                  <a:lnTo>
                    <a:pt x="1666" y="580"/>
                  </a:lnTo>
                  <a:lnTo>
                    <a:pt x="1649" y="584"/>
                  </a:lnTo>
                  <a:lnTo>
                    <a:pt x="1631" y="586"/>
                  </a:lnTo>
                  <a:lnTo>
                    <a:pt x="1613" y="588"/>
                  </a:lnTo>
                  <a:lnTo>
                    <a:pt x="1595" y="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Tree>
    <p:extLst>
      <p:ext uri="{BB962C8B-B14F-4D97-AF65-F5344CB8AC3E}">
        <p14:creationId xmlns:p14="http://schemas.microsoft.com/office/powerpoint/2010/main" val="3996748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ustom B">
    <p:bg>
      <p:bgPr>
        <a:solidFill>
          <a:schemeClr val="bg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2AB686D5-E33D-4ECD-83D8-C18506A28921}" type="datetime1">
              <a:rPr lang="en-GB" smtClean="0"/>
              <a:t>22/10/2025</a:t>
            </a:fld>
            <a:endParaRPr lang="fi-FI"/>
          </a:p>
        </p:txBody>
      </p:sp>
      <p:sp>
        <p:nvSpPr>
          <p:cNvPr id="3" name="Footer Placeholder 2"/>
          <p:cNvSpPr>
            <a:spLocks noGrp="1"/>
          </p:cNvSpPr>
          <p:nvPr>
            <p:ph type="ftr" sz="quarter" idx="11"/>
          </p:nvPr>
        </p:nvSpPr>
        <p:spPr/>
        <p:txBody>
          <a:bodyPr/>
          <a:lstStyle>
            <a:lvl1pPr>
              <a:defRPr>
                <a:noFill/>
              </a:defRPr>
            </a:lvl1pPr>
          </a:lstStyle>
          <a:p>
            <a:r>
              <a:rPr lang="fi-FI"/>
              <a:t>Katariina Kemppainen</a:t>
            </a:r>
          </a:p>
        </p:txBody>
      </p:sp>
      <p:sp>
        <p:nvSpPr>
          <p:cNvPr id="4" name="Slide Number Placeholder 3"/>
          <p:cNvSpPr>
            <a:spLocks noGrp="1"/>
          </p:cNvSpPr>
          <p:nvPr>
            <p:ph type="sldNum" sz="quarter" idx="12"/>
          </p:nvPr>
        </p:nvSpPr>
        <p:spPr/>
        <p:txBody>
          <a:bodyPr/>
          <a:lstStyle>
            <a:lvl1pPr>
              <a:defRPr>
                <a:noFill/>
              </a:defRPr>
            </a:lvl1pPr>
          </a:lstStyle>
          <a:p>
            <a:fld id="{49A25110-65A2-4B67-BF3F-8D6D3162EF46}" type="slidenum">
              <a:rPr lang="fi-FI" smtClean="0"/>
              <a:pPr/>
              <a:t>‹#›</a:t>
            </a:fld>
            <a:endParaRPr lang="fi-FI"/>
          </a:p>
        </p:txBody>
      </p:sp>
      <p:grpSp>
        <p:nvGrpSpPr>
          <p:cNvPr id="8" name="Group 7">
            <a:extLst>
              <a:ext uri="{FF2B5EF4-FFF2-40B4-BE49-F238E27FC236}">
                <a16:creationId xmlns:a16="http://schemas.microsoft.com/office/drawing/2014/main" id="{0ADB01B6-B73D-9A61-230C-492FE0FEA480}"/>
              </a:ext>
            </a:extLst>
          </p:cNvPr>
          <p:cNvGrpSpPr>
            <a:grpSpLocks noChangeAspect="1"/>
          </p:cNvGrpSpPr>
          <p:nvPr userDrawn="1"/>
        </p:nvGrpSpPr>
        <p:grpSpPr>
          <a:xfrm>
            <a:off x="335360" y="6093296"/>
            <a:ext cx="1243838" cy="432000"/>
            <a:chOff x="3279775" y="2451101"/>
            <a:chExt cx="5640388" cy="1958974"/>
          </a:xfrm>
          <a:solidFill>
            <a:schemeClr val="bg1"/>
          </a:solidFill>
        </p:grpSpPr>
        <p:sp>
          <p:nvSpPr>
            <p:cNvPr id="9" name="Freeform 6">
              <a:extLst>
                <a:ext uri="{FF2B5EF4-FFF2-40B4-BE49-F238E27FC236}">
                  <a16:creationId xmlns:a16="http://schemas.microsoft.com/office/drawing/2014/main" id="{BD465E71-669F-6526-8E8D-44FF32C29B50}"/>
                </a:ext>
              </a:extLst>
            </p:cNvPr>
            <p:cNvSpPr>
              <a:spLocks/>
            </p:cNvSpPr>
            <p:nvPr userDrawn="1"/>
          </p:nvSpPr>
          <p:spPr bwMode="auto">
            <a:xfrm>
              <a:off x="3279775" y="2451101"/>
              <a:ext cx="1838325" cy="1944687"/>
            </a:xfrm>
            <a:custGeom>
              <a:avLst/>
              <a:gdLst>
                <a:gd name="T0" fmla="*/ 978 w 1158"/>
                <a:gd name="T1" fmla="*/ 608 h 1225"/>
                <a:gd name="T2" fmla="*/ 974 w 1158"/>
                <a:gd name="T3" fmla="*/ 610 h 1225"/>
                <a:gd name="T4" fmla="*/ 968 w 1158"/>
                <a:gd name="T5" fmla="*/ 608 h 1225"/>
                <a:gd name="T6" fmla="*/ 966 w 1158"/>
                <a:gd name="T7" fmla="*/ 134 h 1225"/>
                <a:gd name="T8" fmla="*/ 963 w 1158"/>
                <a:gd name="T9" fmla="*/ 128 h 1225"/>
                <a:gd name="T10" fmla="*/ 956 w 1158"/>
                <a:gd name="T11" fmla="*/ 128 h 1225"/>
                <a:gd name="T12" fmla="*/ 953 w 1158"/>
                <a:gd name="T13" fmla="*/ 132 h 1225"/>
                <a:gd name="T14" fmla="*/ 784 w 1158"/>
                <a:gd name="T15" fmla="*/ 603 h 1225"/>
                <a:gd name="T16" fmla="*/ 779 w 1158"/>
                <a:gd name="T17" fmla="*/ 607 h 1225"/>
                <a:gd name="T18" fmla="*/ 773 w 1158"/>
                <a:gd name="T19" fmla="*/ 605 h 1225"/>
                <a:gd name="T20" fmla="*/ 771 w 1158"/>
                <a:gd name="T21" fmla="*/ 466 h 1225"/>
                <a:gd name="T22" fmla="*/ 769 w 1158"/>
                <a:gd name="T23" fmla="*/ 461 h 1225"/>
                <a:gd name="T24" fmla="*/ 764 w 1158"/>
                <a:gd name="T25" fmla="*/ 459 h 1225"/>
                <a:gd name="T26" fmla="*/ 584 w 1158"/>
                <a:gd name="T27" fmla="*/ 614 h 1225"/>
                <a:gd name="T28" fmla="*/ 579 w 1158"/>
                <a:gd name="T29" fmla="*/ 616 h 1225"/>
                <a:gd name="T30" fmla="*/ 396 w 1158"/>
                <a:gd name="T31" fmla="*/ 461 h 1225"/>
                <a:gd name="T32" fmla="*/ 390 w 1158"/>
                <a:gd name="T33" fmla="*/ 460 h 1225"/>
                <a:gd name="T34" fmla="*/ 386 w 1158"/>
                <a:gd name="T35" fmla="*/ 464 h 1225"/>
                <a:gd name="T36" fmla="*/ 386 w 1158"/>
                <a:gd name="T37" fmla="*/ 603 h 1225"/>
                <a:gd name="T38" fmla="*/ 381 w 1158"/>
                <a:gd name="T39" fmla="*/ 607 h 1225"/>
                <a:gd name="T40" fmla="*/ 375 w 1158"/>
                <a:gd name="T41" fmla="*/ 605 h 1225"/>
                <a:gd name="T42" fmla="*/ 292 w 1158"/>
                <a:gd name="T43" fmla="*/ 378 h 1225"/>
                <a:gd name="T44" fmla="*/ 203 w 1158"/>
                <a:gd name="T45" fmla="*/ 130 h 1225"/>
                <a:gd name="T46" fmla="*/ 197 w 1158"/>
                <a:gd name="T47" fmla="*/ 128 h 1225"/>
                <a:gd name="T48" fmla="*/ 192 w 1158"/>
                <a:gd name="T49" fmla="*/ 132 h 1225"/>
                <a:gd name="T50" fmla="*/ 191 w 1158"/>
                <a:gd name="T51" fmla="*/ 606 h 1225"/>
                <a:gd name="T52" fmla="*/ 186 w 1158"/>
                <a:gd name="T53" fmla="*/ 610 h 1225"/>
                <a:gd name="T54" fmla="*/ 181 w 1158"/>
                <a:gd name="T55" fmla="*/ 609 h 1225"/>
                <a:gd name="T56" fmla="*/ 13 w 1158"/>
                <a:gd name="T57" fmla="*/ 5 h 1225"/>
                <a:gd name="T58" fmla="*/ 10 w 1158"/>
                <a:gd name="T59" fmla="*/ 1 h 1225"/>
                <a:gd name="T60" fmla="*/ 4 w 1158"/>
                <a:gd name="T61" fmla="*/ 1 h 1225"/>
                <a:gd name="T62" fmla="*/ 0 w 1158"/>
                <a:gd name="T63" fmla="*/ 7 h 1225"/>
                <a:gd name="T64" fmla="*/ 1 w 1158"/>
                <a:gd name="T65" fmla="*/ 552 h 1225"/>
                <a:gd name="T66" fmla="*/ 147 w 1158"/>
                <a:gd name="T67" fmla="*/ 644 h 1225"/>
                <a:gd name="T68" fmla="*/ 389 w 1158"/>
                <a:gd name="T69" fmla="*/ 646 h 1225"/>
                <a:gd name="T70" fmla="*/ 397 w 1158"/>
                <a:gd name="T71" fmla="*/ 649 h 1225"/>
                <a:gd name="T72" fmla="*/ 500 w 1158"/>
                <a:gd name="T73" fmla="*/ 909 h 1225"/>
                <a:gd name="T74" fmla="*/ 501 w 1158"/>
                <a:gd name="T75" fmla="*/ 917 h 1225"/>
                <a:gd name="T76" fmla="*/ 447 w 1158"/>
                <a:gd name="T77" fmla="*/ 1030 h 1225"/>
                <a:gd name="T78" fmla="*/ 519 w 1158"/>
                <a:gd name="T79" fmla="*/ 1218 h 1225"/>
                <a:gd name="T80" fmla="*/ 526 w 1158"/>
                <a:gd name="T81" fmla="*/ 1224 h 1225"/>
                <a:gd name="T82" fmla="*/ 629 w 1158"/>
                <a:gd name="T83" fmla="*/ 1225 h 1225"/>
                <a:gd name="T84" fmla="*/ 637 w 1158"/>
                <a:gd name="T85" fmla="*/ 1221 h 1225"/>
                <a:gd name="T86" fmla="*/ 710 w 1158"/>
                <a:gd name="T87" fmla="*/ 1036 h 1225"/>
                <a:gd name="T88" fmla="*/ 710 w 1158"/>
                <a:gd name="T89" fmla="*/ 1030 h 1225"/>
                <a:gd name="T90" fmla="*/ 657 w 1158"/>
                <a:gd name="T91" fmla="*/ 917 h 1225"/>
                <a:gd name="T92" fmla="*/ 758 w 1158"/>
                <a:gd name="T93" fmla="*/ 652 h 1225"/>
                <a:gd name="T94" fmla="*/ 765 w 1158"/>
                <a:gd name="T95" fmla="*/ 646 h 1225"/>
                <a:gd name="T96" fmla="*/ 1009 w 1158"/>
                <a:gd name="T97" fmla="*/ 645 h 1225"/>
                <a:gd name="T98" fmla="*/ 1155 w 1158"/>
                <a:gd name="T99" fmla="*/ 554 h 1225"/>
                <a:gd name="T100" fmla="*/ 1158 w 1158"/>
                <a:gd name="T101" fmla="*/ 549 h 1225"/>
                <a:gd name="T102" fmla="*/ 1158 w 1158"/>
                <a:gd name="T103" fmla="*/ 4 h 1225"/>
                <a:gd name="T104" fmla="*/ 1152 w 1158"/>
                <a:gd name="T105" fmla="*/ 0 h 1225"/>
                <a:gd name="T106" fmla="*/ 1146 w 1158"/>
                <a:gd name="T107" fmla="*/ 3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8" h="1225">
                  <a:moveTo>
                    <a:pt x="1145" y="5"/>
                  </a:moveTo>
                  <a:lnTo>
                    <a:pt x="979" y="605"/>
                  </a:lnTo>
                  <a:lnTo>
                    <a:pt x="978" y="608"/>
                  </a:lnTo>
                  <a:lnTo>
                    <a:pt x="977" y="608"/>
                  </a:lnTo>
                  <a:lnTo>
                    <a:pt x="976" y="609"/>
                  </a:lnTo>
                  <a:lnTo>
                    <a:pt x="974" y="610"/>
                  </a:lnTo>
                  <a:lnTo>
                    <a:pt x="972" y="610"/>
                  </a:lnTo>
                  <a:lnTo>
                    <a:pt x="970" y="609"/>
                  </a:lnTo>
                  <a:lnTo>
                    <a:pt x="968" y="608"/>
                  </a:lnTo>
                  <a:lnTo>
                    <a:pt x="967" y="606"/>
                  </a:lnTo>
                  <a:lnTo>
                    <a:pt x="966" y="603"/>
                  </a:lnTo>
                  <a:lnTo>
                    <a:pt x="966" y="134"/>
                  </a:lnTo>
                  <a:lnTo>
                    <a:pt x="966" y="132"/>
                  </a:lnTo>
                  <a:lnTo>
                    <a:pt x="964" y="130"/>
                  </a:lnTo>
                  <a:lnTo>
                    <a:pt x="963" y="128"/>
                  </a:lnTo>
                  <a:lnTo>
                    <a:pt x="961" y="128"/>
                  </a:lnTo>
                  <a:lnTo>
                    <a:pt x="958" y="128"/>
                  </a:lnTo>
                  <a:lnTo>
                    <a:pt x="956" y="128"/>
                  </a:lnTo>
                  <a:lnTo>
                    <a:pt x="955" y="129"/>
                  </a:lnTo>
                  <a:lnTo>
                    <a:pt x="955" y="130"/>
                  </a:lnTo>
                  <a:lnTo>
                    <a:pt x="953" y="132"/>
                  </a:lnTo>
                  <a:lnTo>
                    <a:pt x="916" y="240"/>
                  </a:lnTo>
                  <a:lnTo>
                    <a:pt x="865" y="378"/>
                  </a:lnTo>
                  <a:lnTo>
                    <a:pt x="784" y="603"/>
                  </a:lnTo>
                  <a:lnTo>
                    <a:pt x="782" y="605"/>
                  </a:lnTo>
                  <a:lnTo>
                    <a:pt x="781" y="606"/>
                  </a:lnTo>
                  <a:lnTo>
                    <a:pt x="779" y="607"/>
                  </a:lnTo>
                  <a:lnTo>
                    <a:pt x="776" y="607"/>
                  </a:lnTo>
                  <a:lnTo>
                    <a:pt x="774" y="606"/>
                  </a:lnTo>
                  <a:lnTo>
                    <a:pt x="773" y="605"/>
                  </a:lnTo>
                  <a:lnTo>
                    <a:pt x="772" y="603"/>
                  </a:lnTo>
                  <a:lnTo>
                    <a:pt x="771" y="600"/>
                  </a:lnTo>
                  <a:lnTo>
                    <a:pt x="771" y="466"/>
                  </a:lnTo>
                  <a:lnTo>
                    <a:pt x="771" y="464"/>
                  </a:lnTo>
                  <a:lnTo>
                    <a:pt x="770" y="462"/>
                  </a:lnTo>
                  <a:lnTo>
                    <a:pt x="769" y="461"/>
                  </a:lnTo>
                  <a:lnTo>
                    <a:pt x="767" y="460"/>
                  </a:lnTo>
                  <a:lnTo>
                    <a:pt x="766" y="459"/>
                  </a:lnTo>
                  <a:lnTo>
                    <a:pt x="764" y="459"/>
                  </a:lnTo>
                  <a:lnTo>
                    <a:pt x="762" y="460"/>
                  </a:lnTo>
                  <a:lnTo>
                    <a:pt x="761" y="461"/>
                  </a:lnTo>
                  <a:lnTo>
                    <a:pt x="584" y="614"/>
                  </a:lnTo>
                  <a:lnTo>
                    <a:pt x="583" y="615"/>
                  </a:lnTo>
                  <a:lnTo>
                    <a:pt x="581" y="615"/>
                  </a:lnTo>
                  <a:lnTo>
                    <a:pt x="579" y="616"/>
                  </a:lnTo>
                  <a:lnTo>
                    <a:pt x="576" y="615"/>
                  </a:lnTo>
                  <a:lnTo>
                    <a:pt x="573" y="614"/>
                  </a:lnTo>
                  <a:lnTo>
                    <a:pt x="396" y="461"/>
                  </a:lnTo>
                  <a:lnTo>
                    <a:pt x="393" y="459"/>
                  </a:lnTo>
                  <a:lnTo>
                    <a:pt x="391" y="460"/>
                  </a:lnTo>
                  <a:lnTo>
                    <a:pt x="390" y="460"/>
                  </a:lnTo>
                  <a:lnTo>
                    <a:pt x="388" y="461"/>
                  </a:lnTo>
                  <a:lnTo>
                    <a:pt x="387" y="462"/>
                  </a:lnTo>
                  <a:lnTo>
                    <a:pt x="386" y="464"/>
                  </a:lnTo>
                  <a:lnTo>
                    <a:pt x="386" y="466"/>
                  </a:lnTo>
                  <a:lnTo>
                    <a:pt x="386" y="601"/>
                  </a:lnTo>
                  <a:lnTo>
                    <a:pt x="386" y="603"/>
                  </a:lnTo>
                  <a:lnTo>
                    <a:pt x="384" y="605"/>
                  </a:lnTo>
                  <a:lnTo>
                    <a:pt x="383" y="606"/>
                  </a:lnTo>
                  <a:lnTo>
                    <a:pt x="381" y="607"/>
                  </a:lnTo>
                  <a:lnTo>
                    <a:pt x="379" y="607"/>
                  </a:lnTo>
                  <a:lnTo>
                    <a:pt x="377" y="606"/>
                  </a:lnTo>
                  <a:lnTo>
                    <a:pt x="375" y="605"/>
                  </a:lnTo>
                  <a:lnTo>
                    <a:pt x="374" y="603"/>
                  </a:lnTo>
                  <a:lnTo>
                    <a:pt x="340" y="511"/>
                  </a:lnTo>
                  <a:lnTo>
                    <a:pt x="292" y="378"/>
                  </a:lnTo>
                  <a:lnTo>
                    <a:pt x="242" y="240"/>
                  </a:lnTo>
                  <a:lnTo>
                    <a:pt x="205" y="132"/>
                  </a:lnTo>
                  <a:lnTo>
                    <a:pt x="203" y="130"/>
                  </a:lnTo>
                  <a:lnTo>
                    <a:pt x="202" y="128"/>
                  </a:lnTo>
                  <a:lnTo>
                    <a:pt x="200" y="128"/>
                  </a:lnTo>
                  <a:lnTo>
                    <a:pt x="197" y="128"/>
                  </a:lnTo>
                  <a:lnTo>
                    <a:pt x="195" y="128"/>
                  </a:lnTo>
                  <a:lnTo>
                    <a:pt x="194" y="130"/>
                  </a:lnTo>
                  <a:lnTo>
                    <a:pt x="192" y="132"/>
                  </a:lnTo>
                  <a:lnTo>
                    <a:pt x="192" y="134"/>
                  </a:lnTo>
                  <a:lnTo>
                    <a:pt x="192" y="604"/>
                  </a:lnTo>
                  <a:lnTo>
                    <a:pt x="191" y="606"/>
                  </a:lnTo>
                  <a:lnTo>
                    <a:pt x="190" y="608"/>
                  </a:lnTo>
                  <a:lnTo>
                    <a:pt x="188" y="609"/>
                  </a:lnTo>
                  <a:lnTo>
                    <a:pt x="186" y="610"/>
                  </a:lnTo>
                  <a:lnTo>
                    <a:pt x="184" y="610"/>
                  </a:lnTo>
                  <a:lnTo>
                    <a:pt x="182" y="609"/>
                  </a:lnTo>
                  <a:lnTo>
                    <a:pt x="181" y="609"/>
                  </a:lnTo>
                  <a:lnTo>
                    <a:pt x="180" y="608"/>
                  </a:lnTo>
                  <a:lnTo>
                    <a:pt x="179" y="605"/>
                  </a:lnTo>
                  <a:lnTo>
                    <a:pt x="13" y="5"/>
                  </a:lnTo>
                  <a:lnTo>
                    <a:pt x="12" y="3"/>
                  </a:lnTo>
                  <a:lnTo>
                    <a:pt x="11" y="2"/>
                  </a:lnTo>
                  <a:lnTo>
                    <a:pt x="10" y="1"/>
                  </a:lnTo>
                  <a:lnTo>
                    <a:pt x="8" y="1"/>
                  </a:lnTo>
                  <a:lnTo>
                    <a:pt x="6" y="0"/>
                  </a:lnTo>
                  <a:lnTo>
                    <a:pt x="4" y="1"/>
                  </a:lnTo>
                  <a:lnTo>
                    <a:pt x="2" y="3"/>
                  </a:lnTo>
                  <a:lnTo>
                    <a:pt x="1" y="4"/>
                  </a:lnTo>
                  <a:lnTo>
                    <a:pt x="0" y="7"/>
                  </a:lnTo>
                  <a:lnTo>
                    <a:pt x="0" y="546"/>
                  </a:lnTo>
                  <a:lnTo>
                    <a:pt x="0" y="549"/>
                  </a:lnTo>
                  <a:lnTo>
                    <a:pt x="1" y="552"/>
                  </a:lnTo>
                  <a:lnTo>
                    <a:pt x="3" y="554"/>
                  </a:lnTo>
                  <a:lnTo>
                    <a:pt x="5" y="555"/>
                  </a:lnTo>
                  <a:lnTo>
                    <a:pt x="147" y="644"/>
                  </a:lnTo>
                  <a:lnTo>
                    <a:pt x="150" y="645"/>
                  </a:lnTo>
                  <a:lnTo>
                    <a:pt x="153" y="646"/>
                  </a:lnTo>
                  <a:lnTo>
                    <a:pt x="389" y="646"/>
                  </a:lnTo>
                  <a:lnTo>
                    <a:pt x="392" y="646"/>
                  </a:lnTo>
                  <a:lnTo>
                    <a:pt x="395" y="647"/>
                  </a:lnTo>
                  <a:lnTo>
                    <a:pt x="397" y="649"/>
                  </a:lnTo>
                  <a:lnTo>
                    <a:pt x="398" y="651"/>
                  </a:lnTo>
                  <a:lnTo>
                    <a:pt x="399" y="652"/>
                  </a:lnTo>
                  <a:lnTo>
                    <a:pt x="500" y="909"/>
                  </a:lnTo>
                  <a:lnTo>
                    <a:pt x="501" y="912"/>
                  </a:lnTo>
                  <a:lnTo>
                    <a:pt x="501" y="914"/>
                  </a:lnTo>
                  <a:lnTo>
                    <a:pt x="501" y="917"/>
                  </a:lnTo>
                  <a:lnTo>
                    <a:pt x="500" y="920"/>
                  </a:lnTo>
                  <a:lnTo>
                    <a:pt x="448" y="1028"/>
                  </a:lnTo>
                  <a:lnTo>
                    <a:pt x="447" y="1030"/>
                  </a:lnTo>
                  <a:lnTo>
                    <a:pt x="447" y="1032"/>
                  </a:lnTo>
                  <a:lnTo>
                    <a:pt x="447" y="1036"/>
                  </a:lnTo>
                  <a:lnTo>
                    <a:pt x="519" y="1218"/>
                  </a:lnTo>
                  <a:lnTo>
                    <a:pt x="520" y="1221"/>
                  </a:lnTo>
                  <a:lnTo>
                    <a:pt x="523" y="1223"/>
                  </a:lnTo>
                  <a:lnTo>
                    <a:pt x="526" y="1224"/>
                  </a:lnTo>
                  <a:lnTo>
                    <a:pt x="529" y="1225"/>
                  </a:lnTo>
                  <a:lnTo>
                    <a:pt x="579" y="1225"/>
                  </a:lnTo>
                  <a:lnTo>
                    <a:pt x="629" y="1225"/>
                  </a:lnTo>
                  <a:lnTo>
                    <a:pt x="632" y="1224"/>
                  </a:lnTo>
                  <a:lnTo>
                    <a:pt x="635" y="1223"/>
                  </a:lnTo>
                  <a:lnTo>
                    <a:pt x="637" y="1221"/>
                  </a:lnTo>
                  <a:lnTo>
                    <a:pt x="638" y="1219"/>
                  </a:lnTo>
                  <a:lnTo>
                    <a:pt x="638" y="1218"/>
                  </a:lnTo>
                  <a:lnTo>
                    <a:pt x="710" y="1036"/>
                  </a:lnTo>
                  <a:lnTo>
                    <a:pt x="711" y="1034"/>
                  </a:lnTo>
                  <a:lnTo>
                    <a:pt x="711" y="1032"/>
                  </a:lnTo>
                  <a:lnTo>
                    <a:pt x="710" y="1030"/>
                  </a:lnTo>
                  <a:lnTo>
                    <a:pt x="710" y="1028"/>
                  </a:lnTo>
                  <a:lnTo>
                    <a:pt x="657" y="920"/>
                  </a:lnTo>
                  <a:lnTo>
                    <a:pt x="657" y="917"/>
                  </a:lnTo>
                  <a:lnTo>
                    <a:pt x="656" y="914"/>
                  </a:lnTo>
                  <a:lnTo>
                    <a:pt x="657" y="909"/>
                  </a:lnTo>
                  <a:lnTo>
                    <a:pt x="758" y="652"/>
                  </a:lnTo>
                  <a:lnTo>
                    <a:pt x="760" y="650"/>
                  </a:lnTo>
                  <a:lnTo>
                    <a:pt x="762" y="647"/>
                  </a:lnTo>
                  <a:lnTo>
                    <a:pt x="765" y="646"/>
                  </a:lnTo>
                  <a:lnTo>
                    <a:pt x="768" y="646"/>
                  </a:lnTo>
                  <a:lnTo>
                    <a:pt x="1006" y="646"/>
                  </a:lnTo>
                  <a:lnTo>
                    <a:pt x="1009" y="645"/>
                  </a:lnTo>
                  <a:lnTo>
                    <a:pt x="1011" y="644"/>
                  </a:lnTo>
                  <a:lnTo>
                    <a:pt x="1153" y="555"/>
                  </a:lnTo>
                  <a:lnTo>
                    <a:pt x="1155" y="554"/>
                  </a:lnTo>
                  <a:lnTo>
                    <a:pt x="1156" y="553"/>
                  </a:lnTo>
                  <a:lnTo>
                    <a:pt x="1157" y="552"/>
                  </a:lnTo>
                  <a:lnTo>
                    <a:pt x="1158" y="549"/>
                  </a:lnTo>
                  <a:lnTo>
                    <a:pt x="1158" y="546"/>
                  </a:lnTo>
                  <a:lnTo>
                    <a:pt x="1158" y="7"/>
                  </a:lnTo>
                  <a:lnTo>
                    <a:pt x="1158" y="4"/>
                  </a:lnTo>
                  <a:lnTo>
                    <a:pt x="1156" y="3"/>
                  </a:lnTo>
                  <a:lnTo>
                    <a:pt x="1154" y="1"/>
                  </a:lnTo>
                  <a:lnTo>
                    <a:pt x="1152" y="0"/>
                  </a:lnTo>
                  <a:lnTo>
                    <a:pt x="1150" y="1"/>
                  </a:lnTo>
                  <a:lnTo>
                    <a:pt x="1148" y="1"/>
                  </a:lnTo>
                  <a:lnTo>
                    <a:pt x="1146" y="3"/>
                  </a:lnTo>
                  <a:lnTo>
                    <a:pt x="1145" y="4"/>
                  </a:lnTo>
                  <a:lnTo>
                    <a:pt x="11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 name="Freeform 7">
              <a:extLst>
                <a:ext uri="{FF2B5EF4-FFF2-40B4-BE49-F238E27FC236}">
                  <a16:creationId xmlns:a16="http://schemas.microsoft.com/office/drawing/2014/main" id="{CEF1F370-A1E5-E905-2AC6-2ABAB26C6A25}"/>
                </a:ext>
              </a:extLst>
            </p:cNvPr>
            <p:cNvSpPr>
              <a:spLocks noEditPoints="1"/>
            </p:cNvSpPr>
            <p:nvPr userDrawn="1"/>
          </p:nvSpPr>
          <p:spPr bwMode="auto">
            <a:xfrm>
              <a:off x="5386388" y="3476625"/>
              <a:ext cx="3533775" cy="933450"/>
            </a:xfrm>
            <a:custGeom>
              <a:avLst/>
              <a:gdLst>
                <a:gd name="T0" fmla="*/ 1976 w 2226"/>
                <a:gd name="T1" fmla="*/ 407 h 588"/>
                <a:gd name="T2" fmla="*/ 1967 w 2226"/>
                <a:gd name="T3" fmla="*/ 463 h 588"/>
                <a:gd name="T4" fmla="*/ 2059 w 2226"/>
                <a:gd name="T5" fmla="*/ 452 h 588"/>
                <a:gd name="T6" fmla="*/ 2077 w 2226"/>
                <a:gd name="T7" fmla="*/ 579 h 588"/>
                <a:gd name="T8" fmla="*/ 2048 w 2226"/>
                <a:gd name="T9" fmla="*/ 537 h 588"/>
                <a:gd name="T10" fmla="*/ 1914 w 2226"/>
                <a:gd name="T11" fmla="*/ 585 h 588"/>
                <a:gd name="T12" fmla="*/ 1811 w 2226"/>
                <a:gd name="T13" fmla="*/ 508 h 588"/>
                <a:gd name="T14" fmla="*/ 1836 w 2226"/>
                <a:gd name="T15" fmla="*/ 383 h 588"/>
                <a:gd name="T16" fmla="*/ 2013 w 2226"/>
                <a:gd name="T17" fmla="*/ 311 h 588"/>
                <a:gd name="T18" fmla="*/ 2045 w 2226"/>
                <a:gd name="T19" fmla="*/ 271 h 588"/>
                <a:gd name="T20" fmla="*/ 1907 w 2226"/>
                <a:gd name="T21" fmla="*/ 300 h 588"/>
                <a:gd name="T22" fmla="*/ 1866 w 2226"/>
                <a:gd name="T23" fmla="*/ 195 h 588"/>
                <a:gd name="T24" fmla="*/ 2086 w 2226"/>
                <a:gd name="T25" fmla="*/ 154 h 588"/>
                <a:gd name="T26" fmla="*/ 2190 w 2226"/>
                <a:gd name="T27" fmla="*/ 214 h 588"/>
                <a:gd name="T28" fmla="*/ 2217 w 2226"/>
                <a:gd name="T29" fmla="*/ 512 h 588"/>
                <a:gd name="T30" fmla="*/ 1994 w 2226"/>
                <a:gd name="T31" fmla="*/ 3 h 588"/>
                <a:gd name="T32" fmla="*/ 1869 w 2226"/>
                <a:gd name="T33" fmla="*/ 7 h 588"/>
                <a:gd name="T34" fmla="*/ 2172 w 2226"/>
                <a:gd name="T35" fmla="*/ 123 h 588"/>
                <a:gd name="T36" fmla="*/ 1190 w 2226"/>
                <a:gd name="T37" fmla="*/ 576 h 588"/>
                <a:gd name="T38" fmla="*/ 1121 w 2226"/>
                <a:gd name="T39" fmla="*/ 502 h 588"/>
                <a:gd name="T40" fmla="*/ 1059 w 2226"/>
                <a:gd name="T41" fmla="*/ 264 h 588"/>
                <a:gd name="T42" fmla="*/ 1170 w 2226"/>
                <a:gd name="T43" fmla="*/ 25 h 588"/>
                <a:gd name="T44" fmla="*/ 1274 w 2226"/>
                <a:gd name="T45" fmla="*/ 156 h 588"/>
                <a:gd name="T46" fmla="*/ 1374 w 2226"/>
                <a:gd name="T47" fmla="*/ 271 h 588"/>
                <a:gd name="T48" fmla="*/ 1291 w 2226"/>
                <a:gd name="T49" fmla="*/ 469 h 588"/>
                <a:gd name="T50" fmla="*/ 1370 w 2226"/>
                <a:gd name="T51" fmla="*/ 564 h 588"/>
                <a:gd name="T52" fmla="*/ 1 w 2226"/>
                <a:gd name="T53" fmla="*/ 3 h 588"/>
                <a:gd name="T54" fmla="*/ 312 w 2226"/>
                <a:gd name="T55" fmla="*/ 389 h 588"/>
                <a:gd name="T56" fmla="*/ 615 w 2226"/>
                <a:gd name="T57" fmla="*/ 572 h 588"/>
                <a:gd name="T58" fmla="*/ 463 w 2226"/>
                <a:gd name="T59" fmla="*/ 222 h 588"/>
                <a:gd name="T60" fmla="*/ 365 w 2226"/>
                <a:gd name="T61" fmla="*/ 579 h 588"/>
                <a:gd name="T62" fmla="*/ 146 w 2226"/>
                <a:gd name="T63" fmla="*/ 223 h 588"/>
                <a:gd name="T64" fmla="*/ 1 w 2226"/>
                <a:gd name="T65" fmla="*/ 576 h 588"/>
                <a:gd name="T66" fmla="*/ 795 w 2226"/>
                <a:gd name="T67" fmla="*/ 421 h 588"/>
                <a:gd name="T68" fmla="*/ 861 w 2226"/>
                <a:gd name="T69" fmla="*/ 482 h 588"/>
                <a:gd name="T70" fmla="*/ 999 w 2226"/>
                <a:gd name="T71" fmla="*/ 448 h 588"/>
                <a:gd name="T72" fmla="*/ 974 w 2226"/>
                <a:gd name="T73" fmla="*/ 574 h 588"/>
                <a:gd name="T74" fmla="*/ 772 w 2226"/>
                <a:gd name="T75" fmla="*/ 575 h 588"/>
                <a:gd name="T76" fmla="*/ 659 w 2226"/>
                <a:gd name="T77" fmla="*/ 476 h 588"/>
                <a:gd name="T78" fmla="*/ 649 w 2226"/>
                <a:gd name="T79" fmla="*/ 300 h 588"/>
                <a:gd name="T80" fmla="*/ 753 w 2226"/>
                <a:gd name="T81" fmla="*/ 177 h 588"/>
                <a:gd name="T82" fmla="*/ 901 w 2226"/>
                <a:gd name="T83" fmla="*/ 155 h 588"/>
                <a:gd name="T84" fmla="*/ 1027 w 2226"/>
                <a:gd name="T85" fmla="*/ 233 h 588"/>
                <a:gd name="T86" fmla="*/ 921 w 2226"/>
                <a:gd name="T87" fmla="*/ 325 h 588"/>
                <a:gd name="T88" fmla="*/ 895 w 2226"/>
                <a:gd name="T89" fmla="*/ 267 h 588"/>
                <a:gd name="T90" fmla="*/ 818 w 2226"/>
                <a:gd name="T91" fmla="*/ 277 h 588"/>
                <a:gd name="T92" fmla="*/ 1595 w 2226"/>
                <a:gd name="T93" fmla="*/ 588 h 588"/>
                <a:gd name="T94" fmla="*/ 1393 w 2226"/>
                <a:gd name="T95" fmla="*/ 532 h 588"/>
                <a:gd name="T96" fmla="*/ 1483 w 2226"/>
                <a:gd name="T97" fmla="*/ 465 h 588"/>
                <a:gd name="T98" fmla="*/ 1638 w 2226"/>
                <a:gd name="T99" fmla="*/ 480 h 588"/>
                <a:gd name="T100" fmla="*/ 1609 w 2226"/>
                <a:gd name="T101" fmla="*/ 434 h 588"/>
                <a:gd name="T102" fmla="*/ 1433 w 2226"/>
                <a:gd name="T103" fmla="*/ 371 h 588"/>
                <a:gd name="T104" fmla="*/ 1410 w 2226"/>
                <a:gd name="T105" fmla="*/ 261 h 588"/>
                <a:gd name="T106" fmla="*/ 1497 w 2226"/>
                <a:gd name="T107" fmla="*/ 166 h 588"/>
                <a:gd name="T108" fmla="*/ 1713 w 2226"/>
                <a:gd name="T109" fmla="*/ 174 h 588"/>
                <a:gd name="T110" fmla="*/ 1716 w 2226"/>
                <a:gd name="T111" fmla="*/ 292 h 588"/>
                <a:gd name="T112" fmla="*/ 1568 w 2226"/>
                <a:gd name="T113" fmla="*/ 256 h 588"/>
                <a:gd name="T114" fmla="*/ 1563 w 2226"/>
                <a:gd name="T115" fmla="*/ 299 h 588"/>
                <a:gd name="T116" fmla="*/ 1752 w 2226"/>
                <a:gd name="T117" fmla="*/ 356 h 588"/>
                <a:gd name="T118" fmla="*/ 1787 w 2226"/>
                <a:gd name="T119" fmla="*/ 458 h 588"/>
                <a:gd name="T120" fmla="*/ 1721 w 2226"/>
                <a:gd name="T121" fmla="*/ 55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26" h="588">
                  <a:moveTo>
                    <a:pt x="2065" y="439"/>
                  </a:moveTo>
                  <a:lnTo>
                    <a:pt x="2065" y="391"/>
                  </a:lnTo>
                  <a:lnTo>
                    <a:pt x="2064" y="389"/>
                  </a:lnTo>
                  <a:lnTo>
                    <a:pt x="2063" y="388"/>
                  </a:lnTo>
                  <a:lnTo>
                    <a:pt x="2061" y="387"/>
                  </a:lnTo>
                  <a:lnTo>
                    <a:pt x="2060" y="387"/>
                  </a:lnTo>
                  <a:lnTo>
                    <a:pt x="2047" y="388"/>
                  </a:lnTo>
                  <a:lnTo>
                    <a:pt x="2035" y="389"/>
                  </a:lnTo>
                  <a:lnTo>
                    <a:pt x="2024" y="390"/>
                  </a:lnTo>
                  <a:lnTo>
                    <a:pt x="2014" y="392"/>
                  </a:lnTo>
                  <a:lnTo>
                    <a:pt x="2004" y="395"/>
                  </a:lnTo>
                  <a:lnTo>
                    <a:pt x="1996" y="397"/>
                  </a:lnTo>
                  <a:lnTo>
                    <a:pt x="1988" y="400"/>
                  </a:lnTo>
                  <a:lnTo>
                    <a:pt x="1981" y="403"/>
                  </a:lnTo>
                  <a:lnTo>
                    <a:pt x="1976" y="407"/>
                  </a:lnTo>
                  <a:lnTo>
                    <a:pt x="1971" y="411"/>
                  </a:lnTo>
                  <a:lnTo>
                    <a:pt x="1966" y="415"/>
                  </a:lnTo>
                  <a:lnTo>
                    <a:pt x="1963" y="420"/>
                  </a:lnTo>
                  <a:lnTo>
                    <a:pt x="1960" y="425"/>
                  </a:lnTo>
                  <a:lnTo>
                    <a:pt x="1958" y="430"/>
                  </a:lnTo>
                  <a:lnTo>
                    <a:pt x="1957" y="435"/>
                  </a:lnTo>
                  <a:lnTo>
                    <a:pt x="1957" y="441"/>
                  </a:lnTo>
                  <a:lnTo>
                    <a:pt x="1957" y="445"/>
                  </a:lnTo>
                  <a:lnTo>
                    <a:pt x="1958" y="448"/>
                  </a:lnTo>
                  <a:lnTo>
                    <a:pt x="1958" y="451"/>
                  </a:lnTo>
                  <a:lnTo>
                    <a:pt x="1959" y="454"/>
                  </a:lnTo>
                  <a:lnTo>
                    <a:pt x="1961" y="457"/>
                  </a:lnTo>
                  <a:lnTo>
                    <a:pt x="1963" y="459"/>
                  </a:lnTo>
                  <a:lnTo>
                    <a:pt x="1965" y="461"/>
                  </a:lnTo>
                  <a:lnTo>
                    <a:pt x="1967" y="463"/>
                  </a:lnTo>
                  <a:lnTo>
                    <a:pt x="1972" y="467"/>
                  </a:lnTo>
                  <a:lnTo>
                    <a:pt x="1975" y="468"/>
                  </a:lnTo>
                  <a:lnTo>
                    <a:pt x="1978" y="469"/>
                  </a:lnTo>
                  <a:lnTo>
                    <a:pt x="1984" y="470"/>
                  </a:lnTo>
                  <a:lnTo>
                    <a:pt x="1991" y="471"/>
                  </a:lnTo>
                  <a:lnTo>
                    <a:pt x="2005" y="470"/>
                  </a:lnTo>
                  <a:lnTo>
                    <a:pt x="2011" y="470"/>
                  </a:lnTo>
                  <a:lnTo>
                    <a:pt x="2017" y="469"/>
                  </a:lnTo>
                  <a:lnTo>
                    <a:pt x="2023" y="468"/>
                  </a:lnTo>
                  <a:lnTo>
                    <a:pt x="2028" y="467"/>
                  </a:lnTo>
                  <a:lnTo>
                    <a:pt x="2037" y="464"/>
                  </a:lnTo>
                  <a:lnTo>
                    <a:pt x="2045" y="461"/>
                  </a:lnTo>
                  <a:lnTo>
                    <a:pt x="2051" y="458"/>
                  </a:lnTo>
                  <a:lnTo>
                    <a:pt x="2056" y="454"/>
                  </a:lnTo>
                  <a:lnTo>
                    <a:pt x="2059" y="452"/>
                  </a:lnTo>
                  <a:lnTo>
                    <a:pt x="2061" y="450"/>
                  </a:lnTo>
                  <a:lnTo>
                    <a:pt x="2063" y="447"/>
                  </a:lnTo>
                  <a:lnTo>
                    <a:pt x="2064" y="443"/>
                  </a:lnTo>
                  <a:lnTo>
                    <a:pt x="2065" y="440"/>
                  </a:lnTo>
                  <a:lnTo>
                    <a:pt x="2065" y="439"/>
                  </a:lnTo>
                  <a:close/>
                  <a:moveTo>
                    <a:pt x="2225" y="572"/>
                  </a:moveTo>
                  <a:lnTo>
                    <a:pt x="2226" y="575"/>
                  </a:lnTo>
                  <a:lnTo>
                    <a:pt x="2225" y="577"/>
                  </a:lnTo>
                  <a:lnTo>
                    <a:pt x="2225" y="578"/>
                  </a:lnTo>
                  <a:lnTo>
                    <a:pt x="2224" y="579"/>
                  </a:lnTo>
                  <a:lnTo>
                    <a:pt x="2221" y="579"/>
                  </a:lnTo>
                  <a:lnTo>
                    <a:pt x="2220" y="579"/>
                  </a:lnTo>
                  <a:lnTo>
                    <a:pt x="2081" y="579"/>
                  </a:lnTo>
                  <a:lnTo>
                    <a:pt x="2079" y="579"/>
                  </a:lnTo>
                  <a:lnTo>
                    <a:pt x="2077" y="579"/>
                  </a:lnTo>
                  <a:lnTo>
                    <a:pt x="2074" y="577"/>
                  </a:lnTo>
                  <a:lnTo>
                    <a:pt x="2073" y="574"/>
                  </a:lnTo>
                  <a:lnTo>
                    <a:pt x="2072" y="572"/>
                  </a:lnTo>
                  <a:lnTo>
                    <a:pt x="2069" y="560"/>
                  </a:lnTo>
                  <a:lnTo>
                    <a:pt x="2067" y="548"/>
                  </a:lnTo>
                  <a:lnTo>
                    <a:pt x="2065" y="537"/>
                  </a:lnTo>
                  <a:lnTo>
                    <a:pt x="2065" y="526"/>
                  </a:lnTo>
                  <a:lnTo>
                    <a:pt x="2064" y="524"/>
                  </a:lnTo>
                  <a:lnTo>
                    <a:pt x="2064" y="522"/>
                  </a:lnTo>
                  <a:lnTo>
                    <a:pt x="2063" y="522"/>
                  </a:lnTo>
                  <a:lnTo>
                    <a:pt x="2062" y="522"/>
                  </a:lnTo>
                  <a:lnTo>
                    <a:pt x="2061" y="523"/>
                  </a:lnTo>
                  <a:lnTo>
                    <a:pt x="2060" y="524"/>
                  </a:lnTo>
                  <a:lnTo>
                    <a:pt x="2054" y="531"/>
                  </a:lnTo>
                  <a:lnTo>
                    <a:pt x="2048" y="537"/>
                  </a:lnTo>
                  <a:lnTo>
                    <a:pt x="2042" y="544"/>
                  </a:lnTo>
                  <a:lnTo>
                    <a:pt x="2035" y="549"/>
                  </a:lnTo>
                  <a:lnTo>
                    <a:pt x="2028" y="555"/>
                  </a:lnTo>
                  <a:lnTo>
                    <a:pt x="2021" y="560"/>
                  </a:lnTo>
                  <a:lnTo>
                    <a:pt x="2013" y="564"/>
                  </a:lnTo>
                  <a:lnTo>
                    <a:pt x="2005" y="569"/>
                  </a:lnTo>
                  <a:lnTo>
                    <a:pt x="1996" y="573"/>
                  </a:lnTo>
                  <a:lnTo>
                    <a:pt x="1987" y="576"/>
                  </a:lnTo>
                  <a:lnTo>
                    <a:pt x="1978" y="579"/>
                  </a:lnTo>
                  <a:lnTo>
                    <a:pt x="1968" y="581"/>
                  </a:lnTo>
                  <a:lnTo>
                    <a:pt x="1958" y="583"/>
                  </a:lnTo>
                  <a:lnTo>
                    <a:pt x="1948" y="584"/>
                  </a:lnTo>
                  <a:lnTo>
                    <a:pt x="1937" y="585"/>
                  </a:lnTo>
                  <a:lnTo>
                    <a:pt x="1925" y="586"/>
                  </a:lnTo>
                  <a:lnTo>
                    <a:pt x="1914" y="585"/>
                  </a:lnTo>
                  <a:lnTo>
                    <a:pt x="1903" y="584"/>
                  </a:lnTo>
                  <a:lnTo>
                    <a:pt x="1892" y="582"/>
                  </a:lnTo>
                  <a:lnTo>
                    <a:pt x="1881" y="579"/>
                  </a:lnTo>
                  <a:lnTo>
                    <a:pt x="1871" y="574"/>
                  </a:lnTo>
                  <a:lnTo>
                    <a:pt x="1861" y="570"/>
                  </a:lnTo>
                  <a:lnTo>
                    <a:pt x="1856" y="567"/>
                  </a:lnTo>
                  <a:lnTo>
                    <a:pt x="1851" y="564"/>
                  </a:lnTo>
                  <a:lnTo>
                    <a:pt x="1843" y="557"/>
                  </a:lnTo>
                  <a:lnTo>
                    <a:pt x="1835" y="549"/>
                  </a:lnTo>
                  <a:lnTo>
                    <a:pt x="1827" y="540"/>
                  </a:lnTo>
                  <a:lnTo>
                    <a:pt x="1824" y="536"/>
                  </a:lnTo>
                  <a:lnTo>
                    <a:pt x="1821" y="531"/>
                  </a:lnTo>
                  <a:lnTo>
                    <a:pt x="1816" y="520"/>
                  </a:lnTo>
                  <a:lnTo>
                    <a:pt x="1813" y="514"/>
                  </a:lnTo>
                  <a:lnTo>
                    <a:pt x="1811" y="508"/>
                  </a:lnTo>
                  <a:lnTo>
                    <a:pt x="1808" y="495"/>
                  </a:lnTo>
                  <a:lnTo>
                    <a:pt x="1806" y="481"/>
                  </a:lnTo>
                  <a:lnTo>
                    <a:pt x="1806" y="474"/>
                  </a:lnTo>
                  <a:lnTo>
                    <a:pt x="1805" y="466"/>
                  </a:lnTo>
                  <a:lnTo>
                    <a:pt x="1806" y="458"/>
                  </a:lnTo>
                  <a:lnTo>
                    <a:pt x="1806" y="449"/>
                  </a:lnTo>
                  <a:lnTo>
                    <a:pt x="1808" y="441"/>
                  </a:lnTo>
                  <a:lnTo>
                    <a:pt x="1809" y="433"/>
                  </a:lnTo>
                  <a:lnTo>
                    <a:pt x="1812" y="425"/>
                  </a:lnTo>
                  <a:lnTo>
                    <a:pt x="1814" y="418"/>
                  </a:lnTo>
                  <a:lnTo>
                    <a:pt x="1818" y="410"/>
                  </a:lnTo>
                  <a:lnTo>
                    <a:pt x="1822" y="403"/>
                  </a:lnTo>
                  <a:lnTo>
                    <a:pt x="1826" y="396"/>
                  </a:lnTo>
                  <a:lnTo>
                    <a:pt x="1831" y="390"/>
                  </a:lnTo>
                  <a:lnTo>
                    <a:pt x="1836" y="383"/>
                  </a:lnTo>
                  <a:lnTo>
                    <a:pt x="1842" y="377"/>
                  </a:lnTo>
                  <a:lnTo>
                    <a:pt x="1848" y="371"/>
                  </a:lnTo>
                  <a:lnTo>
                    <a:pt x="1855" y="365"/>
                  </a:lnTo>
                  <a:lnTo>
                    <a:pt x="1862" y="360"/>
                  </a:lnTo>
                  <a:lnTo>
                    <a:pt x="1869" y="355"/>
                  </a:lnTo>
                  <a:lnTo>
                    <a:pt x="1886" y="345"/>
                  </a:lnTo>
                  <a:lnTo>
                    <a:pt x="1895" y="341"/>
                  </a:lnTo>
                  <a:lnTo>
                    <a:pt x="1905" y="337"/>
                  </a:lnTo>
                  <a:lnTo>
                    <a:pt x="1915" y="333"/>
                  </a:lnTo>
                  <a:lnTo>
                    <a:pt x="1926" y="329"/>
                  </a:lnTo>
                  <a:lnTo>
                    <a:pt x="1948" y="323"/>
                  </a:lnTo>
                  <a:lnTo>
                    <a:pt x="1960" y="320"/>
                  </a:lnTo>
                  <a:lnTo>
                    <a:pt x="1973" y="317"/>
                  </a:lnTo>
                  <a:lnTo>
                    <a:pt x="1999" y="313"/>
                  </a:lnTo>
                  <a:lnTo>
                    <a:pt x="2013" y="311"/>
                  </a:lnTo>
                  <a:lnTo>
                    <a:pt x="2027" y="310"/>
                  </a:lnTo>
                  <a:lnTo>
                    <a:pt x="2057" y="308"/>
                  </a:lnTo>
                  <a:lnTo>
                    <a:pt x="2061" y="307"/>
                  </a:lnTo>
                  <a:lnTo>
                    <a:pt x="2064" y="306"/>
                  </a:lnTo>
                  <a:lnTo>
                    <a:pt x="2065" y="305"/>
                  </a:lnTo>
                  <a:lnTo>
                    <a:pt x="2065" y="302"/>
                  </a:lnTo>
                  <a:lnTo>
                    <a:pt x="2064" y="295"/>
                  </a:lnTo>
                  <a:lnTo>
                    <a:pt x="2063" y="291"/>
                  </a:lnTo>
                  <a:lnTo>
                    <a:pt x="2063" y="288"/>
                  </a:lnTo>
                  <a:lnTo>
                    <a:pt x="2061" y="285"/>
                  </a:lnTo>
                  <a:lnTo>
                    <a:pt x="2060" y="282"/>
                  </a:lnTo>
                  <a:lnTo>
                    <a:pt x="2055" y="277"/>
                  </a:lnTo>
                  <a:lnTo>
                    <a:pt x="2052" y="275"/>
                  </a:lnTo>
                  <a:lnTo>
                    <a:pt x="2049" y="273"/>
                  </a:lnTo>
                  <a:lnTo>
                    <a:pt x="2045" y="271"/>
                  </a:lnTo>
                  <a:lnTo>
                    <a:pt x="2041" y="269"/>
                  </a:lnTo>
                  <a:lnTo>
                    <a:pt x="2031" y="267"/>
                  </a:lnTo>
                  <a:lnTo>
                    <a:pt x="2025" y="267"/>
                  </a:lnTo>
                  <a:lnTo>
                    <a:pt x="2018" y="267"/>
                  </a:lnTo>
                  <a:lnTo>
                    <a:pt x="2009" y="267"/>
                  </a:lnTo>
                  <a:lnTo>
                    <a:pt x="2000" y="268"/>
                  </a:lnTo>
                  <a:lnTo>
                    <a:pt x="1992" y="269"/>
                  </a:lnTo>
                  <a:lnTo>
                    <a:pt x="1983" y="270"/>
                  </a:lnTo>
                  <a:lnTo>
                    <a:pt x="1974" y="272"/>
                  </a:lnTo>
                  <a:lnTo>
                    <a:pt x="1966" y="274"/>
                  </a:lnTo>
                  <a:lnTo>
                    <a:pt x="1958" y="277"/>
                  </a:lnTo>
                  <a:lnTo>
                    <a:pt x="1950" y="280"/>
                  </a:lnTo>
                  <a:lnTo>
                    <a:pt x="1934" y="286"/>
                  </a:lnTo>
                  <a:lnTo>
                    <a:pt x="1920" y="293"/>
                  </a:lnTo>
                  <a:lnTo>
                    <a:pt x="1907" y="300"/>
                  </a:lnTo>
                  <a:lnTo>
                    <a:pt x="1895" y="308"/>
                  </a:lnTo>
                  <a:lnTo>
                    <a:pt x="1893" y="309"/>
                  </a:lnTo>
                  <a:lnTo>
                    <a:pt x="1891" y="309"/>
                  </a:lnTo>
                  <a:lnTo>
                    <a:pt x="1889" y="309"/>
                  </a:lnTo>
                  <a:lnTo>
                    <a:pt x="1888" y="309"/>
                  </a:lnTo>
                  <a:lnTo>
                    <a:pt x="1886" y="307"/>
                  </a:lnTo>
                  <a:lnTo>
                    <a:pt x="1885" y="306"/>
                  </a:lnTo>
                  <a:lnTo>
                    <a:pt x="1830" y="230"/>
                  </a:lnTo>
                  <a:lnTo>
                    <a:pt x="1828" y="227"/>
                  </a:lnTo>
                  <a:lnTo>
                    <a:pt x="1828" y="225"/>
                  </a:lnTo>
                  <a:lnTo>
                    <a:pt x="1829" y="224"/>
                  </a:lnTo>
                  <a:lnTo>
                    <a:pt x="1830" y="221"/>
                  </a:lnTo>
                  <a:lnTo>
                    <a:pt x="1831" y="220"/>
                  </a:lnTo>
                  <a:lnTo>
                    <a:pt x="1847" y="207"/>
                  </a:lnTo>
                  <a:lnTo>
                    <a:pt x="1866" y="195"/>
                  </a:lnTo>
                  <a:lnTo>
                    <a:pt x="1876" y="189"/>
                  </a:lnTo>
                  <a:lnTo>
                    <a:pt x="1887" y="184"/>
                  </a:lnTo>
                  <a:lnTo>
                    <a:pt x="1899" y="178"/>
                  </a:lnTo>
                  <a:lnTo>
                    <a:pt x="1912" y="173"/>
                  </a:lnTo>
                  <a:lnTo>
                    <a:pt x="1925" y="169"/>
                  </a:lnTo>
                  <a:lnTo>
                    <a:pt x="1939" y="165"/>
                  </a:lnTo>
                  <a:lnTo>
                    <a:pt x="1954" y="161"/>
                  </a:lnTo>
                  <a:lnTo>
                    <a:pt x="1970" y="158"/>
                  </a:lnTo>
                  <a:lnTo>
                    <a:pt x="1987" y="155"/>
                  </a:lnTo>
                  <a:lnTo>
                    <a:pt x="2005" y="153"/>
                  </a:lnTo>
                  <a:lnTo>
                    <a:pt x="2023" y="152"/>
                  </a:lnTo>
                  <a:lnTo>
                    <a:pt x="2043" y="152"/>
                  </a:lnTo>
                  <a:lnTo>
                    <a:pt x="2054" y="152"/>
                  </a:lnTo>
                  <a:lnTo>
                    <a:pt x="2065" y="152"/>
                  </a:lnTo>
                  <a:lnTo>
                    <a:pt x="2086" y="154"/>
                  </a:lnTo>
                  <a:lnTo>
                    <a:pt x="2096" y="156"/>
                  </a:lnTo>
                  <a:lnTo>
                    <a:pt x="2105" y="158"/>
                  </a:lnTo>
                  <a:lnTo>
                    <a:pt x="2114" y="160"/>
                  </a:lnTo>
                  <a:lnTo>
                    <a:pt x="2122" y="163"/>
                  </a:lnTo>
                  <a:lnTo>
                    <a:pt x="2130" y="166"/>
                  </a:lnTo>
                  <a:lnTo>
                    <a:pt x="2138" y="169"/>
                  </a:lnTo>
                  <a:lnTo>
                    <a:pt x="2145" y="172"/>
                  </a:lnTo>
                  <a:lnTo>
                    <a:pt x="2152" y="176"/>
                  </a:lnTo>
                  <a:lnTo>
                    <a:pt x="2159" y="181"/>
                  </a:lnTo>
                  <a:lnTo>
                    <a:pt x="2165" y="185"/>
                  </a:lnTo>
                  <a:lnTo>
                    <a:pt x="2170" y="190"/>
                  </a:lnTo>
                  <a:lnTo>
                    <a:pt x="2176" y="196"/>
                  </a:lnTo>
                  <a:lnTo>
                    <a:pt x="2181" y="201"/>
                  </a:lnTo>
                  <a:lnTo>
                    <a:pt x="2186" y="207"/>
                  </a:lnTo>
                  <a:lnTo>
                    <a:pt x="2190" y="214"/>
                  </a:lnTo>
                  <a:lnTo>
                    <a:pt x="2194" y="220"/>
                  </a:lnTo>
                  <a:lnTo>
                    <a:pt x="2197" y="227"/>
                  </a:lnTo>
                  <a:lnTo>
                    <a:pt x="2201" y="235"/>
                  </a:lnTo>
                  <a:lnTo>
                    <a:pt x="2204" y="242"/>
                  </a:lnTo>
                  <a:lnTo>
                    <a:pt x="2206" y="251"/>
                  </a:lnTo>
                  <a:lnTo>
                    <a:pt x="2209" y="259"/>
                  </a:lnTo>
                  <a:lnTo>
                    <a:pt x="2211" y="268"/>
                  </a:lnTo>
                  <a:lnTo>
                    <a:pt x="2212" y="277"/>
                  </a:lnTo>
                  <a:lnTo>
                    <a:pt x="2214" y="287"/>
                  </a:lnTo>
                  <a:lnTo>
                    <a:pt x="2215" y="296"/>
                  </a:lnTo>
                  <a:lnTo>
                    <a:pt x="2215" y="307"/>
                  </a:lnTo>
                  <a:lnTo>
                    <a:pt x="2216" y="317"/>
                  </a:lnTo>
                  <a:lnTo>
                    <a:pt x="2216" y="328"/>
                  </a:lnTo>
                  <a:lnTo>
                    <a:pt x="2216" y="478"/>
                  </a:lnTo>
                  <a:lnTo>
                    <a:pt x="2217" y="512"/>
                  </a:lnTo>
                  <a:lnTo>
                    <a:pt x="2218" y="539"/>
                  </a:lnTo>
                  <a:lnTo>
                    <a:pt x="2220" y="549"/>
                  </a:lnTo>
                  <a:lnTo>
                    <a:pt x="2221" y="559"/>
                  </a:lnTo>
                  <a:lnTo>
                    <a:pt x="2223" y="566"/>
                  </a:lnTo>
                  <a:lnTo>
                    <a:pt x="2225" y="572"/>
                  </a:lnTo>
                  <a:close/>
                  <a:moveTo>
                    <a:pt x="1869" y="7"/>
                  </a:moveTo>
                  <a:lnTo>
                    <a:pt x="1869" y="5"/>
                  </a:lnTo>
                  <a:lnTo>
                    <a:pt x="1870" y="3"/>
                  </a:lnTo>
                  <a:lnTo>
                    <a:pt x="1873" y="0"/>
                  </a:lnTo>
                  <a:lnTo>
                    <a:pt x="1875" y="0"/>
                  </a:lnTo>
                  <a:lnTo>
                    <a:pt x="1877" y="0"/>
                  </a:lnTo>
                  <a:lnTo>
                    <a:pt x="1987" y="0"/>
                  </a:lnTo>
                  <a:lnTo>
                    <a:pt x="1989" y="0"/>
                  </a:lnTo>
                  <a:lnTo>
                    <a:pt x="1991" y="1"/>
                  </a:lnTo>
                  <a:lnTo>
                    <a:pt x="1994" y="3"/>
                  </a:lnTo>
                  <a:lnTo>
                    <a:pt x="1994" y="6"/>
                  </a:lnTo>
                  <a:lnTo>
                    <a:pt x="1995" y="7"/>
                  </a:lnTo>
                  <a:lnTo>
                    <a:pt x="1995" y="121"/>
                  </a:lnTo>
                  <a:lnTo>
                    <a:pt x="1994" y="123"/>
                  </a:lnTo>
                  <a:lnTo>
                    <a:pt x="1993" y="125"/>
                  </a:lnTo>
                  <a:lnTo>
                    <a:pt x="1991" y="128"/>
                  </a:lnTo>
                  <a:lnTo>
                    <a:pt x="1988" y="128"/>
                  </a:lnTo>
                  <a:lnTo>
                    <a:pt x="1987" y="129"/>
                  </a:lnTo>
                  <a:lnTo>
                    <a:pt x="1877" y="129"/>
                  </a:lnTo>
                  <a:lnTo>
                    <a:pt x="1874" y="128"/>
                  </a:lnTo>
                  <a:lnTo>
                    <a:pt x="1872" y="127"/>
                  </a:lnTo>
                  <a:lnTo>
                    <a:pt x="1870" y="125"/>
                  </a:lnTo>
                  <a:lnTo>
                    <a:pt x="1869" y="122"/>
                  </a:lnTo>
                  <a:lnTo>
                    <a:pt x="1869" y="121"/>
                  </a:lnTo>
                  <a:lnTo>
                    <a:pt x="1869" y="7"/>
                  </a:lnTo>
                  <a:close/>
                  <a:moveTo>
                    <a:pt x="2047" y="121"/>
                  </a:moveTo>
                  <a:lnTo>
                    <a:pt x="2047" y="7"/>
                  </a:lnTo>
                  <a:lnTo>
                    <a:pt x="2047" y="5"/>
                  </a:lnTo>
                  <a:lnTo>
                    <a:pt x="2048" y="3"/>
                  </a:lnTo>
                  <a:lnTo>
                    <a:pt x="2051" y="0"/>
                  </a:lnTo>
                  <a:lnTo>
                    <a:pt x="2053" y="0"/>
                  </a:lnTo>
                  <a:lnTo>
                    <a:pt x="2054" y="0"/>
                  </a:lnTo>
                  <a:lnTo>
                    <a:pt x="2165" y="0"/>
                  </a:lnTo>
                  <a:lnTo>
                    <a:pt x="2167" y="0"/>
                  </a:lnTo>
                  <a:lnTo>
                    <a:pt x="2169" y="1"/>
                  </a:lnTo>
                  <a:lnTo>
                    <a:pt x="2171" y="3"/>
                  </a:lnTo>
                  <a:lnTo>
                    <a:pt x="2172" y="6"/>
                  </a:lnTo>
                  <a:lnTo>
                    <a:pt x="2172" y="7"/>
                  </a:lnTo>
                  <a:lnTo>
                    <a:pt x="2172" y="121"/>
                  </a:lnTo>
                  <a:lnTo>
                    <a:pt x="2172" y="123"/>
                  </a:lnTo>
                  <a:lnTo>
                    <a:pt x="2171" y="125"/>
                  </a:lnTo>
                  <a:lnTo>
                    <a:pt x="2169" y="127"/>
                  </a:lnTo>
                  <a:lnTo>
                    <a:pt x="2166" y="128"/>
                  </a:lnTo>
                  <a:lnTo>
                    <a:pt x="2165" y="128"/>
                  </a:lnTo>
                  <a:lnTo>
                    <a:pt x="2054" y="128"/>
                  </a:lnTo>
                  <a:lnTo>
                    <a:pt x="2052" y="128"/>
                  </a:lnTo>
                  <a:lnTo>
                    <a:pt x="2050" y="127"/>
                  </a:lnTo>
                  <a:lnTo>
                    <a:pt x="2048" y="125"/>
                  </a:lnTo>
                  <a:lnTo>
                    <a:pt x="2047" y="122"/>
                  </a:lnTo>
                  <a:lnTo>
                    <a:pt x="2047" y="121"/>
                  </a:lnTo>
                  <a:close/>
                  <a:moveTo>
                    <a:pt x="1274" y="585"/>
                  </a:moveTo>
                  <a:lnTo>
                    <a:pt x="1249" y="584"/>
                  </a:lnTo>
                  <a:lnTo>
                    <a:pt x="1226" y="583"/>
                  </a:lnTo>
                  <a:lnTo>
                    <a:pt x="1207" y="580"/>
                  </a:lnTo>
                  <a:lnTo>
                    <a:pt x="1190" y="576"/>
                  </a:lnTo>
                  <a:lnTo>
                    <a:pt x="1175" y="571"/>
                  </a:lnTo>
                  <a:lnTo>
                    <a:pt x="1168" y="568"/>
                  </a:lnTo>
                  <a:lnTo>
                    <a:pt x="1162" y="565"/>
                  </a:lnTo>
                  <a:lnTo>
                    <a:pt x="1156" y="561"/>
                  </a:lnTo>
                  <a:lnTo>
                    <a:pt x="1151" y="558"/>
                  </a:lnTo>
                  <a:lnTo>
                    <a:pt x="1149" y="556"/>
                  </a:lnTo>
                  <a:lnTo>
                    <a:pt x="1147" y="554"/>
                  </a:lnTo>
                  <a:lnTo>
                    <a:pt x="1143" y="550"/>
                  </a:lnTo>
                  <a:lnTo>
                    <a:pt x="1139" y="545"/>
                  </a:lnTo>
                  <a:lnTo>
                    <a:pt x="1135" y="541"/>
                  </a:lnTo>
                  <a:lnTo>
                    <a:pt x="1130" y="531"/>
                  </a:lnTo>
                  <a:lnTo>
                    <a:pt x="1127" y="525"/>
                  </a:lnTo>
                  <a:lnTo>
                    <a:pt x="1125" y="520"/>
                  </a:lnTo>
                  <a:lnTo>
                    <a:pt x="1122" y="508"/>
                  </a:lnTo>
                  <a:lnTo>
                    <a:pt x="1121" y="502"/>
                  </a:lnTo>
                  <a:lnTo>
                    <a:pt x="1120" y="496"/>
                  </a:lnTo>
                  <a:lnTo>
                    <a:pt x="1119" y="482"/>
                  </a:lnTo>
                  <a:lnTo>
                    <a:pt x="1118" y="468"/>
                  </a:lnTo>
                  <a:lnTo>
                    <a:pt x="1118" y="453"/>
                  </a:lnTo>
                  <a:lnTo>
                    <a:pt x="1118" y="278"/>
                  </a:lnTo>
                  <a:lnTo>
                    <a:pt x="1117" y="276"/>
                  </a:lnTo>
                  <a:lnTo>
                    <a:pt x="1117" y="274"/>
                  </a:lnTo>
                  <a:lnTo>
                    <a:pt x="1114" y="272"/>
                  </a:lnTo>
                  <a:lnTo>
                    <a:pt x="1111" y="271"/>
                  </a:lnTo>
                  <a:lnTo>
                    <a:pt x="1110" y="271"/>
                  </a:lnTo>
                  <a:lnTo>
                    <a:pt x="1067" y="271"/>
                  </a:lnTo>
                  <a:lnTo>
                    <a:pt x="1064" y="270"/>
                  </a:lnTo>
                  <a:lnTo>
                    <a:pt x="1062" y="269"/>
                  </a:lnTo>
                  <a:lnTo>
                    <a:pt x="1060" y="267"/>
                  </a:lnTo>
                  <a:lnTo>
                    <a:pt x="1059" y="264"/>
                  </a:lnTo>
                  <a:lnTo>
                    <a:pt x="1059" y="263"/>
                  </a:lnTo>
                  <a:lnTo>
                    <a:pt x="1059" y="167"/>
                  </a:lnTo>
                  <a:lnTo>
                    <a:pt x="1059" y="164"/>
                  </a:lnTo>
                  <a:lnTo>
                    <a:pt x="1060" y="162"/>
                  </a:lnTo>
                  <a:lnTo>
                    <a:pt x="1063" y="160"/>
                  </a:lnTo>
                  <a:lnTo>
                    <a:pt x="1065" y="159"/>
                  </a:lnTo>
                  <a:lnTo>
                    <a:pt x="1067" y="159"/>
                  </a:lnTo>
                  <a:lnTo>
                    <a:pt x="1110" y="159"/>
                  </a:lnTo>
                  <a:lnTo>
                    <a:pt x="1113" y="159"/>
                  </a:lnTo>
                  <a:lnTo>
                    <a:pt x="1115" y="158"/>
                  </a:lnTo>
                  <a:lnTo>
                    <a:pt x="1117" y="157"/>
                  </a:lnTo>
                  <a:lnTo>
                    <a:pt x="1118" y="156"/>
                  </a:lnTo>
                  <a:lnTo>
                    <a:pt x="1120" y="153"/>
                  </a:lnTo>
                  <a:lnTo>
                    <a:pt x="1121" y="152"/>
                  </a:lnTo>
                  <a:lnTo>
                    <a:pt x="1170" y="25"/>
                  </a:lnTo>
                  <a:lnTo>
                    <a:pt x="1171" y="23"/>
                  </a:lnTo>
                  <a:lnTo>
                    <a:pt x="1173" y="21"/>
                  </a:lnTo>
                  <a:lnTo>
                    <a:pt x="1175" y="20"/>
                  </a:lnTo>
                  <a:lnTo>
                    <a:pt x="1176" y="19"/>
                  </a:lnTo>
                  <a:lnTo>
                    <a:pt x="1179" y="18"/>
                  </a:lnTo>
                  <a:lnTo>
                    <a:pt x="1180" y="18"/>
                  </a:lnTo>
                  <a:lnTo>
                    <a:pt x="1265" y="18"/>
                  </a:lnTo>
                  <a:lnTo>
                    <a:pt x="1268" y="19"/>
                  </a:lnTo>
                  <a:lnTo>
                    <a:pt x="1270" y="19"/>
                  </a:lnTo>
                  <a:lnTo>
                    <a:pt x="1272" y="22"/>
                  </a:lnTo>
                  <a:lnTo>
                    <a:pt x="1273" y="25"/>
                  </a:lnTo>
                  <a:lnTo>
                    <a:pt x="1273" y="26"/>
                  </a:lnTo>
                  <a:lnTo>
                    <a:pt x="1273" y="152"/>
                  </a:lnTo>
                  <a:lnTo>
                    <a:pt x="1273" y="154"/>
                  </a:lnTo>
                  <a:lnTo>
                    <a:pt x="1274" y="156"/>
                  </a:lnTo>
                  <a:lnTo>
                    <a:pt x="1277" y="158"/>
                  </a:lnTo>
                  <a:lnTo>
                    <a:pt x="1279" y="159"/>
                  </a:lnTo>
                  <a:lnTo>
                    <a:pt x="1281" y="159"/>
                  </a:lnTo>
                  <a:lnTo>
                    <a:pt x="1374" y="159"/>
                  </a:lnTo>
                  <a:lnTo>
                    <a:pt x="1376" y="160"/>
                  </a:lnTo>
                  <a:lnTo>
                    <a:pt x="1378" y="161"/>
                  </a:lnTo>
                  <a:lnTo>
                    <a:pt x="1381" y="163"/>
                  </a:lnTo>
                  <a:lnTo>
                    <a:pt x="1381" y="166"/>
                  </a:lnTo>
                  <a:lnTo>
                    <a:pt x="1381" y="167"/>
                  </a:lnTo>
                  <a:lnTo>
                    <a:pt x="1381" y="263"/>
                  </a:lnTo>
                  <a:lnTo>
                    <a:pt x="1381" y="266"/>
                  </a:lnTo>
                  <a:lnTo>
                    <a:pt x="1380" y="268"/>
                  </a:lnTo>
                  <a:lnTo>
                    <a:pt x="1378" y="270"/>
                  </a:lnTo>
                  <a:lnTo>
                    <a:pt x="1375" y="271"/>
                  </a:lnTo>
                  <a:lnTo>
                    <a:pt x="1374" y="271"/>
                  </a:lnTo>
                  <a:lnTo>
                    <a:pt x="1281" y="271"/>
                  </a:lnTo>
                  <a:lnTo>
                    <a:pt x="1278" y="271"/>
                  </a:lnTo>
                  <a:lnTo>
                    <a:pt x="1276" y="272"/>
                  </a:lnTo>
                  <a:lnTo>
                    <a:pt x="1274" y="275"/>
                  </a:lnTo>
                  <a:lnTo>
                    <a:pt x="1273" y="277"/>
                  </a:lnTo>
                  <a:lnTo>
                    <a:pt x="1273" y="278"/>
                  </a:lnTo>
                  <a:lnTo>
                    <a:pt x="1273" y="419"/>
                  </a:lnTo>
                  <a:lnTo>
                    <a:pt x="1274" y="434"/>
                  </a:lnTo>
                  <a:lnTo>
                    <a:pt x="1275" y="446"/>
                  </a:lnTo>
                  <a:lnTo>
                    <a:pt x="1277" y="452"/>
                  </a:lnTo>
                  <a:lnTo>
                    <a:pt x="1279" y="456"/>
                  </a:lnTo>
                  <a:lnTo>
                    <a:pt x="1281" y="460"/>
                  </a:lnTo>
                  <a:lnTo>
                    <a:pt x="1284" y="463"/>
                  </a:lnTo>
                  <a:lnTo>
                    <a:pt x="1287" y="466"/>
                  </a:lnTo>
                  <a:lnTo>
                    <a:pt x="1291" y="469"/>
                  </a:lnTo>
                  <a:lnTo>
                    <a:pt x="1296" y="471"/>
                  </a:lnTo>
                  <a:lnTo>
                    <a:pt x="1301" y="472"/>
                  </a:lnTo>
                  <a:lnTo>
                    <a:pt x="1307" y="473"/>
                  </a:lnTo>
                  <a:lnTo>
                    <a:pt x="1313" y="474"/>
                  </a:lnTo>
                  <a:lnTo>
                    <a:pt x="1320" y="474"/>
                  </a:lnTo>
                  <a:lnTo>
                    <a:pt x="1328" y="475"/>
                  </a:lnTo>
                  <a:lnTo>
                    <a:pt x="1340" y="474"/>
                  </a:lnTo>
                  <a:lnTo>
                    <a:pt x="1351" y="473"/>
                  </a:lnTo>
                  <a:lnTo>
                    <a:pt x="1361" y="472"/>
                  </a:lnTo>
                  <a:lnTo>
                    <a:pt x="1366" y="471"/>
                  </a:lnTo>
                  <a:lnTo>
                    <a:pt x="1367" y="471"/>
                  </a:lnTo>
                  <a:lnTo>
                    <a:pt x="1368" y="471"/>
                  </a:lnTo>
                  <a:lnTo>
                    <a:pt x="1369" y="474"/>
                  </a:lnTo>
                  <a:lnTo>
                    <a:pt x="1370" y="477"/>
                  </a:lnTo>
                  <a:lnTo>
                    <a:pt x="1370" y="564"/>
                  </a:lnTo>
                  <a:lnTo>
                    <a:pt x="1369" y="569"/>
                  </a:lnTo>
                  <a:lnTo>
                    <a:pt x="1369" y="572"/>
                  </a:lnTo>
                  <a:lnTo>
                    <a:pt x="1368" y="575"/>
                  </a:lnTo>
                  <a:lnTo>
                    <a:pt x="1366" y="577"/>
                  </a:lnTo>
                  <a:lnTo>
                    <a:pt x="1364" y="578"/>
                  </a:lnTo>
                  <a:lnTo>
                    <a:pt x="1362" y="579"/>
                  </a:lnTo>
                  <a:lnTo>
                    <a:pt x="1358" y="580"/>
                  </a:lnTo>
                  <a:lnTo>
                    <a:pt x="1340" y="582"/>
                  </a:lnTo>
                  <a:lnTo>
                    <a:pt x="1317" y="583"/>
                  </a:lnTo>
                  <a:lnTo>
                    <a:pt x="1294" y="584"/>
                  </a:lnTo>
                  <a:lnTo>
                    <a:pt x="1274" y="585"/>
                  </a:lnTo>
                  <a:close/>
                  <a:moveTo>
                    <a:pt x="0" y="572"/>
                  </a:moveTo>
                  <a:lnTo>
                    <a:pt x="0" y="7"/>
                  </a:lnTo>
                  <a:lnTo>
                    <a:pt x="0" y="5"/>
                  </a:lnTo>
                  <a:lnTo>
                    <a:pt x="1" y="3"/>
                  </a:lnTo>
                  <a:lnTo>
                    <a:pt x="4" y="1"/>
                  </a:lnTo>
                  <a:lnTo>
                    <a:pt x="6" y="0"/>
                  </a:lnTo>
                  <a:lnTo>
                    <a:pt x="7" y="0"/>
                  </a:lnTo>
                  <a:lnTo>
                    <a:pt x="200" y="0"/>
                  </a:lnTo>
                  <a:lnTo>
                    <a:pt x="202" y="0"/>
                  </a:lnTo>
                  <a:lnTo>
                    <a:pt x="204" y="1"/>
                  </a:lnTo>
                  <a:lnTo>
                    <a:pt x="206" y="2"/>
                  </a:lnTo>
                  <a:lnTo>
                    <a:pt x="207" y="3"/>
                  </a:lnTo>
                  <a:lnTo>
                    <a:pt x="209" y="6"/>
                  </a:lnTo>
                  <a:lnTo>
                    <a:pt x="209" y="7"/>
                  </a:lnTo>
                  <a:lnTo>
                    <a:pt x="307" y="386"/>
                  </a:lnTo>
                  <a:lnTo>
                    <a:pt x="307" y="387"/>
                  </a:lnTo>
                  <a:lnTo>
                    <a:pt x="308" y="388"/>
                  </a:lnTo>
                  <a:lnTo>
                    <a:pt x="310" y="389"/>
                  </a:lnTo>
                  <a:lnTo>
                    <a:pt x="312" y="389"/>
                  </a:lnTo>
                  <a:lnTo>
                    <a:pt x="313" y="387"/>
                  </a:lnTo>
                  <a:lnTo>
                    <a:pt x="313" y="386"/>
                  </a:lnTo>
                  <a:lnTo>
                    <a:pt x="401" y="7"/>
                  </a:lnTo>
                  <a:lnTo>
                    <a:pt x="402" y="5"/>
                  </a:lnTo>
                  <a:lnTo>
                    <a:pt x="403" y="3"/>
                  </a:lnTo>
                  <a:lnTo>
                    <a:pt x="406" y="1"/>
                  </a:lnTo>
                  <a:lnTo>
                    <a:pt x="409" y="0"/>
                  </a:lnTo>
                  <a:lnTo>
                    <a:pt x="410" y="0"/>
                  </a:lnTo>
                  <a:lnTo>
                    <a:pt x="607" y="0"/>
                  </a:lnTo>
                  <a:lnTo>
                    <a:pt x="610" y="0"/>
                  </a:lnTo>
                  <a:lnTo>
                    <a:pt x="611" y="1"/>
                  </a:lnTo>
                  <a:lnTo>
                    <a:pt x="614" y="4"/>
                  </a:lnTo>
                  <a:lnTo>
                    <a:pt x="615" y="6"/>
                  </a:lnTo>
                  <a:lnTo>
                    <a:pt x="615" y="7"/>
                  </a:lnTo>
                  <a:lnTo>
                    <a:pt x="615" y="572"/>
                  </a:lnTo>
                  <a:lnTo>
                    <a:pt x="614" y="575"/>
                  </a:lnTo>
                  <a:lnTo>
                    <a:pt x="613" y="576"/>
                  </a:lnTo>
                  <a:lnTo>
                    <a:pt x="611" y="579"/>
                  </a:lnTo>
                  <a:lnTo>
                    <a:pt x="608" y="579"/>
                  </a:lnTo>
                  <a:lnTo>
                    <a:pt x="607" y="580"/>
                  </a:lnTo>
                  <a:lnTo>
                    <a:pt x="473" y="580"/>
                  </a:lnTo>
                  <a:lnTo>
                    <a:pt x="470" y="579"/>
                  </a:lnTo>
                  <a:lnTo>
                    <a:pt x="468" y="578"/>
                  </a:lnTo>
                  <a:lnTo>
                    <a:pt x="466" y="576"/>
                  </a:lnTo>
                  <a:lnTo>
                    <a:pt x="465" y="573"/>
                  </a:lnTo>
                  <a:lnTo>
                    <a:pt x="465" y="572"/>
                  </a:lnTo>
                  <a:lnTo>
                    <a:pt x="465" y="226"/>
                  </a:lnTo>
                  <a:lnTo>
                    <a:pt x="465" y="224"/>
                  </a:lnTo>
                  <a:lnTo>
                    <a:pt x="464" y="223"/>
                  </a:lnTo>
                  <a:lnTo>
                    <a:pt x="463" y="222"/>
                  </a:lnTo>
                  <a:lnTo>
                    <a:pt x="462" y="222"/>
                  </a:lnTo>
                  <a:lnTo>
                    <a:pt x="461" y="222"/>
                  </a:lnTo>
                  <a:lnTo>
                    <a:pt x="460" y="223"/>
                  </a:lnTo>
                  <a:lnTo>
                    <a:pt x="458" y="226"/>
                  </a:lnTo>
                  <a:lnTo>
                    <a:pt x="452" y="264"/>
                  </a:lnTo>
                  <a:lnTo>
                    <a:pt x="446" y="298"/>
                  </a:lnTo>
                  <a:lnTo>
                    <a:pt x="443" y="314"/>
                  </a:lnTo>
                  <a:lnTo>
                    <a:pt x="440" y="330"/>
                  </a:lnTo>
                  <a:lnTo>
                    <a:pt x="436" y="346"/>
                  </a:lnTo>
                  <a:lnTo>
                    <a:pt x="432" y="362"/>
                  </a:lnTo>
                  <a:lnTo>
                    <a:pt x="373" y="572"/>
                  </a:lnTo>
                  <a:lnTo>
                    <a:pt x="372" y="575"/>
                  </a:lnTo>
                  <a:lnTo>
                    <a:pt x="371" y="577"/>
                  </a:lnTo>
                  <a:lnTo>
                    <a:pt x="368" y="579"/>
                  </a:lnTo>
                  <a:lnTo>
                    <a:pt x="365" y="579"/>
                  </a:lnTo>
                  <a:lnTo>
                    <a:pt x="364" y="580"/>
                  </a:lnTo>
                  <a:lnTo>
                    <a:pt x="241" y="580"/>
                  </a:lnTo>
                  <a:lnTo>
                    <a:pt x="238" y="579"/>
                  </a:lnTo>
                  <a:lnTo>
                    <a:pt x="236" y="578"/>
                  </a:lnTo>
                  <a:lnTo>
                    <a:pt x="234" y="577"/>
                  </a:lnTo>
                  <a:lnTo>
                    <a:pt x="233" y="576"/>
                  </a:lnTo>
                  <a:lnTo>
                    <a:pt x="232" y="573"/>
                  </a:lnTo>
                  <a:lnTo>
                    <a:pt x="231" y="572"/>
                  </a:lnTo>
                  <a:lnTo>
                    <a:pt x="174" y="362"/>
                  </a:lnTo>
                  <a:lnTo>
                    <a:pt x="169" y="345"/>
                  </a:lnTo>
                  <a:lnTo>
                    <a:pt x="165" y="330"/>
                  </a:lnTo>
                  <a:lnTo>
                    <a:pt x="159" y="301"/>
                  </a:lnTo>
                  <a:lnTo>
                    <a:pt x="153" y="268"/>
                  </a:lnTo>
                  <a:lnTo>
                    <a:pt x="146" y="224"/>
                  </a:lnTo>
                  <a:lnTo>
                    <a:pt x="146" y="223"/>
                  </a:lnTo>
                  <a:lnTo>
                    <a:pt x="145" y="222"/>
                  </a:lnTo>
                  <a:lnTo>
                    <a:pt x="142" y="221"/>
                  </a:lnTo>
                  <a:lnTo>
                    <a:pt x="140" y="222"/>
                  </a:lnTo>
                  <a:lnTo>
                    <a:pt x="140" y="223"/>
                  </a:lnTo>
                  <a:lnTo>
                    <a:pt x="139" y="224"/>
                  </a:lnTo>
                  <a:lnTo>
                    <a:pt x="139" y="572"/>
                  </a:lnTo>
                  <a:lnTo>
                    <a:pt x="139" y="575"/>
                  </a:lnTo>
                  <a:lnTo>
                    <a:pt x="138" y="576"/>
                  </a:lnTo>
                  <a:lnTo>
                    <a:pt x="136" y="579"/>
                  </a:lnTo>
                  <a:lnTo>
                    <a:pt x="133" y="579"/>
                  </a:lnTo>
                  <a:lnTo>
                    <a:pt x="132" y="580"/>
                  </a:lnTo>
                  <a:lnTo>
                    <a:pt x="8" y="580"/>
                  </a:lnTo>
                  <a:lnTo>
                    <a:pt x="5" y="579"/>
                  </a:lnTo>
                  <a:lnTo>
                    <a:pt x="3" y="578"/>
                  </a:lnTo>
                  <a:lnTo>
                    <a:pt x="1" y="576"/>
                  </a:lnTo>
                  <a:lnTo>
                    <a:pt x="0" y="573"/>
                  </a:lnTo>
                  <a:lnTo>
                    <a:pt x="0" y="572"/>
                  </a:lnTo>
                  <a:close/>
                  <a:moveTo>
                    <a:pt x="1063" y="408"/>
                  </a:moveTo>
                  <a:lnTo>
                    <a:pt x="1062" y="410"/>
                  </a:lnTo>
                  <a:lnTo>
                    <a:pt x="1062" y="412"/>
                  </a:lnTo>
                  <a:lnTo>
                    <a:pt x="1061" y="413"/>
                  </a:lnTo>
                  <a:lnTo>
                    <a:pt x="1060" y="414"/>
                  </a:lnTo>
                  <a:lnTo>
                    <a:pt x="1058" y="414"/>
                  </a:lnTo>
                  <a:lnTo>
                    <a:pt x="1057" y="414"/>
                  </a:lnTo>
                  <a:lnTo>
                    <a:pt x="801" y="414"/>
                  </a:lnTo>
                  <a:lnTo>
                    <a:pt x="799" y="415"/>
                  </a:lnTo>
                  <a:lnTo>
                    <a:pt x="797" y="415"/>
                  </a:lnTo>
                  <a:lnTo>
                    <a:pt x="796" y="417"/>
                  </a:lnTo>
                  <a:lnTo>
                    <a:pt x="795" y="418"/>
                  </a:lnTo>
                  <a:lnTo>
                    <a:pt x="795" y="421"/>
                  </a:lnTo>
                  <a:lnTo>
                    <a:pt x="795" y="422"/>
                  </a:lnTo>
                  <a:lnTo>
                    <a:pt x="796" y="430"/>
                  </a:lnTo>
                  <a:lnTo>
                    <a:pt x="799" y="438"/>
                  </a:lnTo>
                  <a:lnTo>
                    <a:pt x="801" y="445"/>
                  </a:lnTo>
                  <a:lnTo>
                    <a:pt x="804" y="451"/>
                  </a:lnTo>
                  <a:lnTo>
                    <a:pt x="808" y="457"/>
                  </a:lnTo>
                  <a:lnTo>
                    <a:pt x="812" y="462"/>
                  </a:lnTo>
                  <a:lnTo>
                    <a:pt x="817" y="466"/>
                  </a:lnTo>
                  <a:lnTo>
                    <a:pt x="822" y="470"/>
                  </a:lnTo>
                  <a:lnTo>
                    <a:pt x="827" y="473"/>
                  </a:lnTo>
                  <a:lnTo>
                    <a:pt x="833" y="476"/>
                  </a:lnTo>
                  <a:lnTo>
                    <a:pt x="840" y="478"/>
                  </a:lnTo>
                  <a:lnTo>
                    <a:pt x="846" y="480"/>
                  </a:lnTo>
                  <a:lnTo>
                    <a:pt x="854" y="481"/>
                  </a:lnTo>
                  <a:lnTo>
                    <a:pt x="861" y="482"/>
                  </a:lnTo>
                  <a:lnTo>
                    <a:pt x="878" y="482"/>
                  </a:lnTo>
                  <a:lnTo>
                    <a:pt x="886" y="482"/>
                  </a:lnTo>
                  <a:lnTo>
                    <a:pt x="894" y="481"/>
                  </a:lnTo>
                  <a:lnTo>
                    <a:pt x="903" y="480"/>
                  </a:lnTo>
                  <a:lnTo>
                    <a:pt x="911" y="479"/>
                  </a:lnTo>
                  <a:lnTo>
                    <a:pt x="928" y="475"/>
                  </a:lnTo>
                  <a:lnTo>
                    <a:pt x="943" y="470"/>
                  </a:lnTo>
                  <a:lnTo>
                    <a:pt x="958" y="464"/>
                  </a:lnTo>
                  <a:lnTo>
                    <a:pt x="971" y="459"/>
                  </a:lnTo>
                  <a:lnTo>
                    <a:pt x="983" y="453"/>
                  </a:lnTo>
                  <a:lnTo>
                    <a:pt x="992" y="448"/>
                  </a:lnTo>
                  <a:lnTo>
                    <a:pt x="994" y="447"/>
                  </a:lnTo>
                  <a:lnTo>
                    <a:pt x="996" y="447"/>
                  </a:lnTo>
                  <a:lnTo>
                    <a:pt x="998" y="447"/>
                  </a:lnTo>
                  <a:lnTo>
                    <a:pt x="999" y="448"/>
                  </a:lnTo>
                  <a:lnTo>
                    <a:pt x="1002" y="450"/>
                  </a:lnTo>
                  <a:lnTo>
                    <a:pt x="1050" y="531"/>
                  </a:lnTo>
                  <a:lnTo>
                    <a:pt x="1052" y="535"/>
                  </a:lnTo>
                  <a:lnTo>
                    <a:pt x="1052" y="537"/>
                  </a:lnTo>
                  <a:lnTo>
                    <a:pt x="1051" y="538"/>
                  </a:lnTo>
                  <a:lnTo>
                    <a:pt x="1051" y="540"/>
                  </a:lnTo>
                  <a:lnTo>
                    <a:pt x="1050" y="540"/>
                  </a:lnTo>
                  <a:lnTo>
                    <a:pt x="1048" y="542"/>
                  </a:lnTo>
                  <a:lnTo>
                    <a:pt x="1038" y="547"/>
                  </a:lnTo>
                  <a:lnTo>
                    <a:pt x="1028" y="553"/>
                  </a:lnTo>
                  <a:lnTo>
                    <a:pt x="1018" y="558"/>
                  </a:lnTo>
                  <a:lnTo>
                    <a:pt x="1007" y="562"/>
                  </a:lnTo>
                  <a:lnTo>
                    <a:pt x="996" y="567"/>
                  </a:lnTo>
                  <a:lnTo>
                    <a:pt x="985" y="570"/>
                  </a:lnTo>
                  <a:lnTo>
                    <a:pt x="974" y="574"/>
                  </a:lnTo>
                  <a:lnTo>
                    <a:pt x="963" y="577"/>
                  </a:lnTo>
                  <a:lnTo>
                    <a:pt x="951" y="580"/>
                  </a:lnTo>
                  <a:lnTo>
                    <a:pt x="939" y="582"/>
                  </a:lnTo>
                  <a:lnTo>
                    <a:pt x="927" y="584"/>
                  </a:lnTo>
                  <a:lnTo>
                    <a:pt x="915" y="585"/>
                  </a:lnTo>
                  <a:lnTo>
                    <a:pt x="903" y="587"/>
                  </a:lnTo>
                  <a:lnTo>
                    <a:pt x="891" y="587"/>
                  </a:lnTo>
                  <a:lnTo>
                    <a:pt x="866" y="588"/>
                  </a:lnTo>
                  <a:lnTo>
                    <a:pt x="844" y="588"/>
                  </a:lnTo>
                  <a:lnTo>
                    <a:pt x="823" y="586"/>
                  </a:lnTo>
                  <a:lnTo>
                    <a:pt x="813" y="584"/>
                  </a:lnTo>
                  <a:lnTo>
                    <a:pt x="802" y="583"/>
                  </a:lnTo>
                  <a:lnTo>
                    <a:pt x="792" y="580"/>
                  </a:lnTo>
                  <a:lnTo>
                    <a:pt x="782" y="578"/>
                  </a:lnTo>
                  <a:lnTo>
                    <a:pt x="772" y="575"/>
                  </a:lnTo>
                  <a:lnTo>
                    <a:pt x="762" y="572"/>
                  </a:lnTo>
                  <a:lnTo>
                    <a:pt x="753" y="568"/>
                  </a:lnTo>
                  <a:lnTo>
                    <a:pt x="744" y="564"/>
                  </a:lnTo>
                  <a:lnTo>
                    <a:pt x="735" y="559"/>
                  </a:lnTo>
                  <a:lnTo>
                    <a:pt x="726" y="554"/>
                  </a:lnTo>
                  <a:lnTo>
                    <a:pt x="718" y="549"/>
                  </a:lnTo>
                  <a:lnTo>
                    <a:pt x="710" y="543"/>
                  </a:lnTo>
                  <a:lnTo>
                    <a:pt x="702" y="537"/>
                  </a:lnTo>
                  <a:lnTo>
                    <a:pt x="694" y="530"/>
                  </a:lnTo>
                  <a:lnTo>
                    <a:pt x="687" y="522"/>
                  </a:lnTo>
                  <a:lnTo>
                    <a:pt x="681" y="514"/>
                  </a:lnTo>
                  <a:lnTo>
                    <a:pt x="675" y="505"/>
                  </a:lnTo>
                  <a:lnTo>
                    <a:pt x="669" y="496"/>
                  </a:lnTo>
                  <a:lnTo>
                    <a:pt x="664" y="486"/>
                  </a:lnTo>
                  <a:lnTo>
                    <a:pt x="659" y="476"/>
                  </a:lnTo>
                  <a:lnTo>
                    <a:pt x="654" y="465"/>
                  </a:lnTo>
                  <a:lnTo>
                    <a:pt x="652" y="459"/>
                  </a:lnTo>
                  <a:lnTo>
                    <a:pt x="651" y="454"/>
                  </a:lnTo>
                  <a:lnTo>
                    <a:pt x="647" y="441"/>
                  </a:lnTo>
                  <a:lnTo>
                    <a:pt x="645" y="429"/>
                  </a:lnTo>
                  <a:lnTo>
                    <a:pt x="642" y="415"/>
                  </a:lnTo>
                  <a:lnTo>
                    <a:pt x="642" y="408"/>
                  </a:lnTo>
                  <a:lnTo>
                    <a:pt x="641" y="401"/>
                  </a:lnTo>
                  <a:lnTo>
                    <a:pt x="640" y="386"/>
                  </a:lnTo>
                  <a:lnTo>
                    <a:pt x="640" y="370"/>
                  </a:lnTo>
                  <a:lnTo>
                    <a:pt x="640" y="355"/>
                  </a:lnTo>
                  <a:lnTo>
                    <a:pt x="641" y="340"/>
                  </a:lnTo>
                  <a:lnTo>
                    <a:pt x="643" y="326"/>
                  </a:lnTo>
                  <a:lnTo>
                    <a:pt x="646" y="313"/>
                  </a:lnTo>
                  <a:lnTo>
                    <a:pt x="649" y="300"/>
                  </a:lnTo>
                  <a:lnTo>
                    <a:pt x="653" y="288"/>
                  </a:lnTo>
                  <a:lnTo>
                    <a:pt x="657" y="276"/>
                  </a:lnTo>
                  <a:lnTo>
                    <a:pt x="662" y="265"/>
                  </a:lnTo>
                  <a:lnTo>
                    <a:pt x="668" y="255"/>
                  </a:lnTo>
                  <a:lnTo>
                    <a:pt x="674" y="245"/>
                  </a:lnTo>
                  <a:lnTo>
                    <a:pt x="680" y="236"/>
                  </a:lnTo>
                  <a:lnTo>
                    <a:pt x="687" y="227"/>
                  </a:lnTo>
                  <a:lnTo>
                    <a:pt x="694" y="219"/>
                  </a:lnTo>
                  <a:lnTo>
                    <a:pt x="702" y="212"/>
                  </a:lnTo>
                  <a:lnTo>
                    <a:pt x="710" y="204"/>
                  </a:lnTo>
                  <a:lnTo>
                    <a:pt x="718" y="198"/>
                  </a:lnTo>
                  <a:lnTo>
                    <a:pt x="727" y="192"/>
                  </a:lnTo>
                  <a:lnTo>
                    <a:pt x="735" y="186"/>
                  </a:lnTo>
                  <a:lnTo>
                    <a:pt x="744" y="181"/>
                  </a:lnTo>
                  <a:lnTo>
                    <a:pt x="753" y="177"/>
                  </a:lnTo>
                  <a:lnTo>
                    <a:pt x="762" y="172"/>
                  </a:lnTo>
                  <a:lnTo>
                    <a:pt x="771" y="169"/>
                  </a:lnTo>
                  <a:lnTo>
                    <a:pt x="781" y="165"/>
                  </a:lnTo>
                  <a:lnTo>
                    <a:pt x="790" y="162"/>
                  </a:lnTo>
                  <a:lnTo>
                    <a:pt x="799" y="160"/>
                  </a:lnTo>
                  <a:lnTo>
                    <a:pt x="808" y="158"/>
                  </a:lnTo>
                  <a:lnTo>
                    <a:pt x="817" y="156"/>
                  </a:lnTo>
                  <a:lnTo>
                    <a:pt x="826" y="154"/>
                  </a:lnTo>
                  <a:lnTo>
                    <a:pt x="844" y="152"/>
                  </a:lnTo>
                  <a:lnTo>
                    <a:pt x="852" y="152"/>
                  </a:lnTo>
                  <a:lnTo>
                    <a:pt x="860" y="152"/>
                  </a:lnTo>
                  <a:lnTo>
                    <a:pt x="868" y="152"/>
                  </a:lnTo>
                  <a:lnTo>
                    <a:pt x="876" y="152"/>
                  </a:lnTo>
                  <a:lnTo>
                    <a:pt x="893" y="153"/>
                  </a:lnTo>
                  <a:lnTo>
                    <a:pt x="901" y="155"/>
                  </a:lnTo>
                  <a:lnTo>
                    <a:pt x="910" y="156"/>
                  </a:lnTo>
                  <a:lnTo>
                    <a:pt x="927" y="160"/>
                  </a:lnTo>
                  <a:lnTo>
                    <a:pt x="936" y="162"/>
                  </a:lnTo>
                  <a:lnTo>
                    <a:pt x="944" y="165"/>
                  </a:lnTo>
                  <a:lnTo>
                    <a:pt x="953" y="168"/>
                  </a:lnTo>
                  <a:lnTo>
                    <a:pt x="961" y="172"/>
                  </a:lnTo>
                  <a:lnTo>
                    <a:pt x="969" y="177"/>
                  </a:lnTo>
                  <a:lnTo>
                    <a:pt x="977" y="181"/>
                  </a:lnTo>
                  <a:lnTo>
                    <a:pt x="985" y="187"/>
                  </a:lnTo>
                  <a:lnTo>
                    <a:pt x="993" y="193"/>
                  </a:lnTo>
                  <a:lnTo>
                    <a:pt x="1000" y="199"/>
                  </a:lnTo>
                  <a:lnTo>
                    <a:pt x="1007" y="207"/>
                  </a:lnTo>
                  <a:lnTo>
                    <a:pt x="1014" y="215"/>
                  </a:lnTo>
                  <a:lnTo>
                    <a:pt x="1021" y="223"/>
                  </a:lnTo>
                  <a:lnTo>
                    <a:pt x="1027" y="233"/>
                  </a:lnTo>
                  <a:lnTo>
                    <a:pt x="1032" y="243"/>
                  </a:lnTo>
                  <a:lnTo>
                    <a:pt x="1035" y="248"/>
                  </a:lnTo>
                  <a:lnTo>
                    <a:pt x="1038" y="253"/>
                  </a:lnTo>
                  <a:lnTo>
                    <a:pt x="1043" y="265"/>
                  </a:lnTo>
                  <a:lnTo>
                    <a:pt x="1047" y="278"/>
                  </a:lnTo>
                  <a:lnTo>
                    <a:pt x="1051" y="291"/>
                  </a:lnTo>
                  <a:lnTo>
                    <a:pt x="1054" y="305"/>
                  </a:lnTo>
                  <a:lnTo>
                    <a:pt x="1057" y="320"/>
                  </a:lnTo>
                  <a:lnTo>
                    <a:pt x="1060" y="336"/>
                  </a:lnTo>
                  <a:lnTo>
                    <a:pt x="1061" y="354"/>
                  </a:lnTo>
                  <a:lnTo>
                    <a:pt x="1062" y="372"/>
                  </a:lnTo>
                  <a:lnTo>
                    <a:pt x="1063" y="391"/>
                  </a:lnTo>
                  <a:lnTo>
                    <a:pt x="1063" y="408"/>
                  </a:lnTo>
                  <a:close/>
                  <a:moveTo>
                    <a:pt x="918" y="326"/>
                  </a:moveTo>
                  <a:lnTo>
                    <a:pt x="921" y="325"/>
                  </a:lnTo>
                  <a:lnTo>
                    <a:pt x="922" y="325"/>
                  </a:lnTo>
                  <a:lnTo>
                    <a:pt x="923" y="323"/>
                  </a:lnTo>
                  <a:lnTo>
                    <a:pt x="924" y="322"/>
                  </a:lnTo>
                  <a:lnTo>
                    <a:pt x="925" y="319"/>
                  </a:lnTo>
                  <a:lnTo>
                    <a:pt x="924" y="318"/>
                  </a:lnTo>
                  <a:lnTo>
                    <a:pt x="923" y="311"/>
                  </a:lnTo>
                  <a:lnTo>
                    <a:pt x="922" y="304"/>
                  </a:lnTo>
                  <a:lnTo>
                    <a:pt x="920" y="297"/>
                  </a:lnTo>
                  <a:lnTo>
                    <a:pt x="917" y="291"/>
                  </a:lnTo>
                  <a:lnTo>
                    <a:pt x="915" y="286"/>
                  </a:lnTo>
                  <a:lnTo>
                    <a:pt x="911" y="281"/>
                  </a:lnTo>
                  <a:lnTo>
                    <a:pt x="908" y="277"/>
                  </a:lnTo>
                  <a:lnTo>
                    <a:pt x="904" y="273"/>
                  </a:lnTo>
                  <a:lnTo>
                    <a:pt x="900" y="270"/>
                  </a:lnTo>
                  <a:lnTo>
                    <a:pt x="895" y="267"/>
                  </a:lnTo>
                  <a:lnTo>
                    <a:pt x="890" y="265"/>
                  </a:lnTo>
                  <a:lnTo>
                    <a:pt x="885" y="263"/>
                  </a:lnTo>
                  <a:lnTo>
                    <a:pt x="879" y="262"/>
                  </a:lnTo>
                  <a:lnTo>
                    <a:pt x="873" y="261"/>
                  </a:lnTo>
                  <a:lnTo>
                    <a:pt x="866" y="260"/>
                  </a:lnTo>
                  <a:lnTo>
                    <a:pt x="860" y="260"/>
                  </a:lnTo>
                  <a:lnTo>
                    <a:pt x="854" y="260"/>
                  </a:lnTo>
                  <a:lnTo>
                    <a:pt x="849" y="261"/>
                  </a:lnTo>
                  <a:lnTo>
                    <a:pt x="844" y="262"/>
                  </a:lnTo>
                  <a:lnTo>
                    <a:pt x="839" y="263"/>
                  </a:lnTo>
                  <a:lnTo>
                    <a:pt x="834" y="265"/>
                  </a:lnTo>
                  <a:lnTo>
                    <a:pt x="830" y="267"/>
                  </a:lnTo>
                  <a:lnTo>
                    <a:pt x="826" y="270"/>
                  </a:lnTo>
                  <a:lnTo>
                    <a:pt x="821" y="273"/>
                  </a:lnTo>
                  <a:lnTo>
                    <a:pt x="818" y="277"/>
                  </a:lnTo>
                  <a:lnTo>
                    <a:pt x="814" y="281"/>
                  </a:lnTo>
                  <a:lnTo>
                    <a:pt x="810" y="286"/>
                  </a:lnTo>
                  <a:lnTo>
                    <a:pt x="807" y="291"/>
                  </a:lnTo>
                  <a:lnTo>
                    <a:pt x="804" y="297"/>
                  </a:lnTo>
                  <a:lnTo>
                    <a:pt x="802" y="304"/>
                  </a:lnTo>
                  <a:lnTo>
                    <a:pt x="799" y="311"/>
                  </a:lnTo>
                  <a:lnTo>
                    <a:pt x="797" y="318"/>
                  </a:lnTo>
                  <a:lnTo>
                    <a:pt x="797" y="321"/>
                  </a:lnTo>
                  <a:lnTo>
                    <a:pt x="797" y="323"/>
                  </a:lnTo>
                  <a:lnTo>
                    <a:pt x="798" y="324"/>
                  </a:lnTo>
                  <a:lnTo>
                    <a:pt x="799" y="325"/>
                  </a:lnTo>
                  <a:lnTo>
                    <a:pt x="800" y="326"/>
                  </a:lnTo>
                  <a:lnTo>
                    <a:pt x="802" y="326"/>
                  </a:lnTo>
                  <a:lnTo>
                    <a:pt x="918" y="326"/>
                  </a:lnTo>
                  <a:close/>
                  <a:moveTo>
                    <a:pt x="1595" y="588"/>
                  </a:moveTo>
                  <a:lnTo>
                    <a:pt x="1577" y="588"/>
                  </a:lnTo>
                  <a:lnTo>
                    <a:pt x="1560" y="587"/>
                  </a:lnTo>
                  <a:lnTo>
                    <a:pt x="1543" y="585"/>
                  </a:lnTo>
                  <a:lnTo>
                    <a:pt x="1528" y="584"/>
                  </a:lnTo>
                  <a:lnTo>
                    <a:pt x="1513" y="581"/>
                  </a:lnTo>
                  <a:lnTo>
                    <a:pt x="1499" y="578"/>
                  </a:lnTo>
                  <a:lnTo>
                    <a:pt x="1485" y="575"/>
                  </a:lnTo>
                  <a:lnTo>
                    <a:pt x="1472" y="571"/>
                  </a:lnTo>
                  <a:lnTo>
                    <a:pt x="1460" y="567"/>
                  </a:lnTo>
                  <a:lnTo>
                    <a:pt x="1449" y="563"/>
                  </a:lnTo>
                  <a:lnTo>
                    <a:pt x="1438" y="558"/>
                  </a:lnTo>
                  <a:lnTo>
                    <a:pt x="1427" y="553"/>
                  </a:lnTo>
                  <a:lnTo>
                    <a:pt x="1418" y="548"/>
                  </a:lnTo>
                  <a:lnTo>
                    <a:pt x="1409" y="543"/>
                  </a:lnTo>
                  <a:lnTo>
                    <a:pt x="1393" y="532"/>
                  </a:lnTo>
                  <a:lnTo>
                    <a:pt x="1391" y="531"/>
                  </a:lnTo>
                  <a:lnTo>
                    <a:pt x="1390" y="529"/>
                  </a:lnTo>
                  <a:lnTo>
                    <a:pt x="1389" y="527"/>
                  </a:lnTo>
                  <a:lnTo>
                    <a:pt x="1389" y="525"/>
                  </a:lnTo>
                  <a:lnTo>
                    <a:pt x="1390" y="523"/>
                  </a:lnTo>
                  <a:lnTo>
                    <a:pt x="1391" y="522"/>
                  </a:lnTo>
                  <a:lnTo>
                    <a:pt x="1440" y="446"/>
                  </a:lnTo>
                  <a:lnTo>
                    <a:pt x="1442" y="444"/>
                  </a:lnTo>
                  <a:lnTo>
                    <a:pt x="1443" y="444"/>
                  </a:lnTo>
                  <a:lnTo>
                    <a:pt x="1444" y="443"/>
                  </a:lnTo>
                  <a:lnTo>
                    <a:pt x="1446" y="443"/>
                  </a:lnTo>
                  <a:lnTo>
                    <a:pt x="1448" y="444"/>
                  </a:lnTo>
                  <a:lnTo>
                    <a:pt x="1450" y="445"/>
                  </a:lnTo>
                  <a:lnTo>
                    <a:pt x="1465" y="456"/>
                  </a:lnTo>
                  <a:lnTo>
                    <a:pt x="1483" y="465"/>
                  </a:lnTo>
                  <a:lnTo>
                    <a:pt x="1501" y="473"/>
                  </a:lnTo>
                  <a:lnTo>
                    <a:pt x="1510" y="476"/>
                  </a:lnTo>
                  <a:lnTo>
                    <a:pt x="1520" y="479"/>
                  </a:lnTo>
                  <a:lnTo>
                    <a:pt x="1529" y="482"/>
                  </a:lnTo>
                  <a:lnTo>
                    <a:pt x="1539" y="485"/>
                  </a:lnTo>
                  <a:lnTo>
                    <a:pt x="1558" y="489"/>
                  </a:lnTo>
                  <a:lnTo>
                    <a:pt x="1576" y="491"/>
                  </a:lnTo>
                  <a:lnTo>
                    <a:pt x="1594" y="492"/>
                  </a:lnTo>
                  <a:lnTo>
                    <a:pt x="1604" y="491"/>
                  </a:lnTo>
                  <a:lnTo>
                    <a:pt x="1613" y="490"/>
                  </a:lnTo>
                  <a:lnTo>
                    <a:pt x="1622" y="488"/>
                  </a:lnTo>
                  <a:lnTo>
                    <a:pt x="1629" y="486"/>
                  </a:lnTo>
                  <a:lnTo>
                    <a:pt x="1632" y="484"/>
                  </a:lnTo>
                  <a:lnTo>
                    <a:pt x="1635" y="482"/>
                  </a:lnTo>
                  <a:lnTo>
                    <a:pt x="1638" y="480"/>
                  </a:lnTo>
                  <a:lnTo>
                    <a:pt x="1640" y="477"/>
                  </a:lnTo>
                  <a:lnTo>
                    <a:pt x="1642" y="474"/>
                  </a:lnTo>
                  <a:lnTo>
                    <a:pt x="1643" y="471"/>
                  </a:lnTo>
                  <a:lnTo>
                    <a:pt x="1644" y="468"/>
                  </a:lnTo>
                  <a:lnTo>
                    <a:pt x="1644" y="464"/>
                  </a:lnTo>
                  <a:lnTo>
                    <a:pt x="1644" y="461"/>
                  </a:lnTo>
                  <a:lnTo>
                    <a:pt x="1643" y="457"/>
                  </a:lnTo>
                  <a:lnTo>
                    <a:pt x="1642" y="454"/>
                  </a:lnTo>
                  <a:lnTo>
                    <a:pt x="1641" y="451"/>
                  </a:lnTo>
                  <a:lnTo>
                    <a:pt x="1640" y="449"/>
                  </a:lnTo>
                  <a:lnTo>
                    <a:pt x="1638" y="448"/>
                  </a:lnTo>
                  <a:lnTo>
                    <a:pt x="1636" y="445"/>
                  </a:lnTo>
                  <a:lnTo>
                    <a:pt x="1629" y="441"/>
                  </a:lnTo>
                  <a:lnTo>
                    <a:pt x="1620" y="437"/>
                  </a:lnTo>
                  <a:lnTo>
                    <a:pt x="1609" y="434"/>
                  </a:lnTo>
                  <a:lnTo>
                    <a:pt x="1595" y="432"/>
                  </a:lnTo>
                  <a:lnTo>
                    <a:pt x="1579" y="429"/>
                  </a:lnTo>
                  <a:lnTo>
                    <a:pt x="1551" y="425"/>
                  </a:lnTo>
                  <a:lnTo>
                    <a:pt x="1537" y="422"/>
                  </a:lnTo>
                  <a:lnTo>
                    <a:pt x="1522" y="419"/>
                  </a:lnTo>
                  <a:lnTo>
                    <a:pt x="1508" y="415"/>
                  </a:lnTo>
                  <a:lnTo>
                    <a:pt x="1493" y="411"/>
                  </a:lnTo>
                  <a:lnTo>
                    <a:pt x="1480" y="405"/>
                  </a:lnTo>
                  <a:lnTo>
                    <a:pt x="1466" y="398"/>
                  </a:lnTo>
                  <a:lnTo>
                    <a:pt x="1460" y="395"/>
                  </a:lnTo>
                  <a:lnTo>
                    <a:pt x="1454" y="391"/>
                  </a:lnTo>
                  <a:lnTo>
                    <a:pt x="1448" y="386"/>
                  </a:lnTo>
                  <a:lnTo>
                    <a:pt x="1443" y="382"/>
                  </a:lnTo>
                  <a:lnTo>
                    <a:pt x="1438" y="377"/>
                  </a:lnTo>
                  <a:lnTo>
                    <a:pt x="1433" y="371"/>
                  </a:lnTo>
                  <a:lnTo>
                    <a:pt x="1428" y="366"/>
                  </a:lnTo>
                  <a:lnTo>
                    <a:pt x="1424" y="359"/>
                  </a:lnTo>
                  <a:lnTo>
                    <a:pt x="1420" y="353"/>
                  </a:lnTo>
                  <a:lnTo>
                    <a:pt x="1417" y="346"/>
                  </a:lnTo>
                  <a:lnTo>
                    <a:pt x="1414" y="338"/>
                  </a:lnTo>
                  <a:lnTo>
                    <a:pt x="1411" y="330"/>
                  </a:lnTo>
                  <a:lnTo>
                    <a:pt x="1410" y="322"/>
                  </a:lnTo>
                  <a:lnTo>
                    <a:pt x="1408" y="313"/>
                  </a:lnTo>
                  <a:lnTo>
                    <a:pt x="1408" y="308"/>
                  </a:lnTo>
                  <a:lnTo>
                    <a:pt x="1407" y="304"/>
                  </a:lnTo>
                  <a:lnTo>
                    <a:pt x="1407" y="294"/>
                  </a:lnTo>
                  <a:lnTo>
                    <a:pt x="1407" y="285"/>
                  </a:lnTo>
                  <a:lnTo>
                    <a:pt x="1408" y="277"/>
                  </a:lnTo>
                  <a:lnTo>
                    <a:pt x="1409" y="268"/>
                  </a:lnTo>
                  <a:lnTo>
                    <a:pt x="1410" y="261"/>
                  </a:lnTo>
                  <a:lnTo>
                    <a:pt x="1412" y="253"/>
                  </a:lnTo>
                  <a:lnTo>
                    <a:pt x="1415" y="246"/>
                  </a:lnTo>
                  <a:lnTo>
                    <a:pt x="1417" y="239"/>
                  </a:lnTo>
                  <a:lnTo>
                    <a:pt x="1420" y="232"/>
                  </a:lnTo>
                  <a:lnTo>
                    <a:pt x="1424" y="225"/>
                  </a:lnTo>
                  <a:lnTo>
                    <a:pt x="1428" y="219"/>
                  </a:lnTo>
                  <a:lnTo>
                    <a:pt x="1436" y="208"/>
                  </a:lnTo>
                  <a:lnTo>
                    <a:pt x="1441" y="202"/>
                  </a:lnTo>
                  <a:lnTo>
                    <a:pt x="1446" y="197"/>
                  </a:lnTo>
                  <a:lnTo>
                    <a:pt x="1457" y="188"/>
                  </a:lnTo>
                  <a:lnTo>
                    <a:pt x="1463" y="183"/>
                  </a:lnTo>
                  <a:lnTo>
                    <a:pt x="1469" y="179"/>
                  </a:lnTo>
                  <a:lnTo>
                    <a:pt x="1483" y="172"/>
                  </a:lnTo>
                  <a:lnTo>
                    <a:pt x="1490" y="169"/>
                  </a:lnTo>
                  <a:lnTo>
                    <a:pt x="1497" y="166"/>
                  </a:lnTo>
                  <a:lnTo>
                    <a:pt x="1512" y="161"/>
                  </a:lnTo>
                  <a:lnTo>
                    <a:pt x="1528" y="157"/>
                  </a:lnTo>
                  <a:lnTo>
                    <a:pt x="1544" y="154"/>
                  </a:lnTo>
                  <a:lnTo>
                    <a:pt x="1561" y="152"/>
                  </a:lnTo>
                  <a:lnTo>
                    <a:pt x="1579" y="152"/>
                  </a:lnTo>
                  <a:lnTo>
                    <a:pt x="1595" y="152"/>
                  </a:lnTo>
                  <a:lnTo>
                    <a:pt x="1611" y="153"/>
                  </a:lnTo>
                  <a:lnTo>
                    <a:pt x="1626" y="154"/>
                  </a:lnTo>
                  <a:lnTo>
                    <a:pt x="1641" y="156"/>
                  </a:lnTo>
                  <a:lnTo>
                    <a:pt x="1654" y="158"/>
                  </a:lnTo>
                  <a:lnTo>
                    <a:pt x="1667" y="160"/>
                  </a:lnTo>
                  <a:lnTo>
                    <a:pt x="1679" y="163"/>
                  </a:lnTo>
                  <a:lnTo>
                    <a:pt x="1691" y="167"/>
                  </a:lnTo>
                  <a:lnTo>
                    <a:pt x="1702" y="170"/>
                  </a:lnTo>
                  <a:lnTo>
                    <a:pt x="1713" y="174"/>
                  </a:lnTo>
                  <a:lnTo>
                    <a:pt x="1723" y="179"/>
                  </a:lnTo>
                  <a:lnTo>
                    <a:pt x="1733" y="183"/>
                  </a:lnTo>
                  <a:lnTo>
                    <a:pt x="1742" y="188"/>
                  </a:lnTo>
                  <a:lnTo>
                    <a:pt x="1751" y="194"/>
                  </a:lnTo>
                  <a:lnTo>
                    <a:pt x="1768" y="205"/>
                  </a:lnTo>
                  <a:lnTo>
                    <a:pt x="1770" y="207"/>
                  </a:lnTo>
                  <a:lnTo>
                    <a:pt x="1771" y="209"/>
                  </a:lnTo>
                  <a:lnTo>
                    <a:pt x="1772" y="211"/>
                  </a:lnTo>
                  <a:lnTo>
                    <a:pt x="1772" y="212"/>
                  </a:lnTo>
                  <a:lnTo>
                    <a:pt x="1771" y="215"/>
                  </a:lnTo>
                  <a:lnTo>
                    <a:pt x="1770" y="216"/>
                  </a:lnTo>
                  <a:lnTo>
                    <a:pt x="1722" y="288"/>
                  </a:lnTo>
                  <a:lnTo>
                    <a:pt x="1720" y="290"/>
                  </a:lnTo>
                  <a:lnTo>
                    <a:pt x="1718" y="292"/>
                  </a:lnTo>
                  <a:lnTo>
                    <a:pt x="1716" y="292"/>
                  </a:lnTo>
                  <a:lnTo>
                    <a:pt x="1715" y="292"/>
                  </a:lnTo>
                  <a:lnTo>
                    <a:pt x="1711" y="292"/>
                  </a:lnTo>
                  <a:lnTo>
                    <a:pt x="1708" y="290"/>
                  </a:lnTo>
                  <a:lnTo>
                    <a:pt x="1693" y="282"/>
                  </a:lnTo>
                  <a:lnTo>
                    <a:pt x="1677" y="274"/>
                  </a:lnTo>
                  <a:lnTo>
                    <a:pt x="1662" y="268"/>
                  </a:lnTo>
                  <a:lnTo>
                    <a:pt x="1647" y="263"/>
                  </a:lnTo>
                  <a:lnTo>
                    <a:pt x="1633" y="258"/>
                  </a:lnTo>
                  <a:lnTo>
                    <a:pt x="1619" y="255"/>
                  </a:lnTo>
                  <a:lnTo>
                    <a:pt x="1612" y="254"/>
                  </a:lnTo>
                  <a:lnTo>
                    <a:pt x="1606" y="254"/>
                  </a:lnTo>
                  <a:lnTo>
                    <a:pt x="1593" y="253"/>
                  </a:lnTo>
                  <a:lnTo>
                    <a:pt x="1584" y="253"/>
                  </a:lnTo>
                  <a:lnTo>
                    <a:pt x="1576" y="254"/>
                  </a:lnTo>
                  <a:lnTo>
                    <a:pt x="1568" y="256"/>
                  </a:lnTo>
                  <a:lnTo>
                    <a:pt x="1562" y="259"/>
                  </a:lnTo>
                  <a:lnTo>
                    <a:pt x="1560" y="261"/>
                  </a:lnTo>
                  <a:lnTo>
                    <a:pt x="1557" y="263"/>
                  </a:lnTo>
                  <a:lnTo>
                    <a:pt x="1554" y="267"/>
                  </a:lnTo>
                  <a:lnTo>
                    <a:pt x="1552" y="270"/>
                  </a:lnTo>
                  <a:lnTo>
                    <a:pt x="1551" y="273"/>
                  </a:lnTo>
                  <a:lnTo>
                    <a:pt x="1551" y="276"/>
                  </a:lnTo>
                  <a:lnTo>
                    <a:pt x="1550" y="280"/>
                  </a:lnTo>
                  <a:lnTo>
                    <a:pt x="1551" y="283"/>
                  </a:lnTo>
                  <a:lnTo>
                    <a:pt x="1551" y="286"/>
                  </a:lnTo>
                  <a:lnTo>
                    <a:pt x="1553" y="289"/>
                  </a:lnTo>
                  <a:lnTo>
                    <a:pt x="1555" y="292"/>
                  </a:lnTo>
                  <a:lnTo>
                    <a:pt x="1557" y="295"/>
                  </a:lnTo>
                  <a:lnTo>
                    <a:pt x="1560" y="297"/>
                  </a:lnTo>
                  <a:lnTo>
                    <a:pt x="1563" y="299"/>
                  </a:lnTo>
                  <a:lnTo>
                    <a:pt x="1567" y="301"/>
                  </a:lnTo>
                  <a:lnTo>
                    <a:pt x="1576" y="304"/>
                  </a:lnTo>
                  <a:lnTo>
                    <a:pt x="1587" y="307"/>
                  </a:lnTo>
                  <a:lnTo>
                    <a:pt x="1600" y="309"/>
                  </a:lnTo>
                  <a:lnTo>
                    <a:pt x="1615" y="312"/>
                  </a:lnTo>
                  <a:lnTo>
                    <a:pt x="1642" y="316"/>
                  </a:lnTo>
                  <a:lnTo>
                    <a:pt x="1657" y="318"/>
                  </a:lnTo>
                  <a:lnTo>
                    <a:pt x="1672" y="321"/>
                  </a:lnTo>
                  <a:lnTo>
                    <a:pt x="1686" y="325"/>
                  </a:lnTo>
                  <a:lnTo>
                    <a:pt x="1701" y="329"/>
                  </a:lnTo>
                  <a:lnTo>
                    <a:pt x="1715" y="334"/>
                  </a:lnTo>
                  <a:lnTo>
                    <a:pt x="1728" y="340"/>
                  </a:lnTo>
                  <a:lnTo>
                    <a:pt x="1740" y="348"/>
                  </a:lnTo>
                  <a:lnTo>
                    <a:pt x="1746" y="352"/>
                  </a:lnTo>
                  <a:lnTo>
                    <a:pt x="1752" y="356"/>
                  </a:lnTo>
                  <a:lnTo>
                    <a:pt x="1757" y="361"/>
                  </a:lnTo>
                  <a:lnTo>
                    <a:pt x="1762" y="366"/>
                  </a:lnTo>
                  <a:lnTo>
                    <a:pt x="1766" y="371"/>
                  </a:lnTo>
                  <a:lnTo>
                    <a:pt x="1771" y="377"/>
                  </a:lnTo>
                  <a:lnTo>
                    <a:pt x="1774" y="383"/>
                  </a:lnTo>
                  <a:lnTo>
                    <a:pt x="1778" y="390"/>
                  </a:lnTo>
                  <a:lnTo>
                    <a:pt x="1781" y="397"/>
                  </a:lnTo>
                  <a:lnTo>
                    <a:pt x="1783" y="404"/>
                  </a:lnTo>
                  <a:lnTo>
                    <a:pt x="1785" y="412"/>
                  </a:lnTo>
                  <a:lnTo>
                    <a:pt x="1787" y="420"/>
                  </a:lnTo>
                  <a:lnTo>
                    <a:pt x="1787" y="425"/>
                  </a:lnTo>
                  <a:lnTo>
                    <a:pt x="1787" y="429"/>
                  </a:lnTo>
                  <a:lnTo>
                    <a:pt x="1788" y="438"/>
                  </a:lnTo>
                  <a:lnTo>
                    <a:pt x="1787" y="449"/>
                  </a:lnTo>
                  <a:lnTo>
                    <a:pt x="1787" y="458"/>
                  </a:lnTo>
                  <a:lnTo>
                    <a:pt x="1785" y="468"/>
                  </a:lnTo>
                  <a:lnTo>
                    <a:pt x="1783" y="477"/>
                  </a:lnTo>
                  <a:lnTo>
                    <a:pt x="1781" y="485"/>
                  </a:lnTo>
                  <a:lnTo>
                    <a:pt x="1778" y="494"/>
                  </a:lnTo>
                  <a:lnTo>
                    <a:pt x="1775" y="501"/>
                  </a:lnTo>
                  <a:lnTo>
                    <a:pt x="1771" y="509"/>
                  </a:lnTo>
                  <a:lnTo>
                    <a:pt x="1767" y="516"/>
                  </a:lnTo>
                  <a:lnTo>
                    <a:pt x="1763" y="523"/>
                  </a:lnTo>
                  <a:lnTo>
                    <a:pt x="1758" y="529"/>
                  </a:lnTo>
                  <a:lnTo>
                    <a:pt x="1752" y="535"/>
                  </a:lnTo>
                  <a:lnTo>
                    <a:pt x="1747" y="540"/>
                  </a:lnTo>
                  <a:lnTo>
                    <a:pt x="1741" y="546"/>
                  </a:lnTo>
                  <a:lnTo>
                    <a:pt x="1734" y="550"/>
                  </a:lnTo>
                  <a:lnTo>
                    <a:pt x="1728" y="555"/>
                  </a:lnTo>
                  <a:lnTo>
                    <a:pt x="1721" y="559"/>
                  </a:lnTo>
                  <a:lnTo>
                    <a:pt x="1714" y="563"/>
                  </a:lnTo>
                  <a:lnTo>
                    <a:pt x="1699" y="570"/>
                  </a:lnTo>
                  <a:lnTo>
                    <a:pt x="1683" y="576"/>
                  </a:lnTo>
                  <a:lnTo>
                    <a:pt x="1675" y="578"/>
                  </a:lnTo>
                  <a:lnTo>
                    <a:pt x="1666" y="580"/>
                  </a:lnTo>
                  <a:lnTo>
                    <a:pt x="1649" y="584"/>
                  </a:lnTo>
                  <a:lnTo>
                    <a:pt x="1631" y="586"/>
                  </a:lnTo>
                  <a:lnTo>
                    <a:pt x="1613" y="588"/>
                  </a:lnTo>
                  <a:lnTo>
                    <a:pt x="1595" y="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Tree>
    <p:extLst>
      <p:ext uri="{BB962C8B-B14F-4D97-AF65-F5344CB8AC3E}">
        <p14:creationId xmlns:p14="http://schemas.microsoft.com/office/powerpoint/2010/main" val="3310190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 picture, light">
    <p:bg>
      <p:bgPr>
        <a:solidFill>
          <a:schemeClr val="bg2"/>
        </a:solidFill>
        <a:effectLst/>
      </p:bgPr>
    </p:bg>
    <p:spTree>
      <p:nvGrpSpPr>
        <p:cNvPr id="1" name=""/>
        <p:cNvGrpSpPr/>
        <p:nvPr/>
      </p:nvGrpSpPr>
      <p:grpSpPr>
        <a:xfrm>
          <a:off x="0" y="0"/>
          <a:ext cx="0" cy="0"/>
          <a:chOff x="0" y="0"/>
          <a:chExt cx="0" cy="0"/>
        </a:xfrm>
      </p:grpSpPr>
      <p:sp>
        <p:nvSpPr>
          <p:cNvPr id="18" name="Picture Placeholder 5"/>
          <p:cNvSpPr>
            <a:spLocks noGrp="1"/>
          </p:cNvSpPr>
          <p:nvPr>
            <p:ph type="pic" sz="quarter" idx="17" hasCustomPrompt="1"/>
          </p:nvPr>
        </p:nvSpPr>
        <p:spPr>
          <a:xfrm>
            <a:off x="0" y="1"/>
            <a:ext cx="12191999" cy="6858000"/>
          </a:xfrm>
          <a:solidFill>
            <a:schemeClr val="bg1">
              <a:lumMod val="95000"/>
            </a:schemeClr>
          </a:solidFill>
        </p:spPr>
        <p:txBody>
          <a:bodyPr/>
          <a:lstStyle>
            <a:lvl1pPr marL="0" indent="0">
              <a:buFontTx/>
              <a:buNone/>
              <a:defRPr sz="1000"/>
            </a:lvl1pPr>
          </a:lstStyle>
          <a:p>
            <a:r>
              <a:rPr lang="en-US" dirty="0"/>
              <a:t>Select this placeholder and insert picture from insert menu</a:t>
            </a:r>
          </a:p>
        </p:txBody>
      </p:sp>
      <p:sp>
        <p:nvSpPr>
          <p:cNvPr id="8" name="Text Placeholder 7"/>
          <p:cNvSpPr>
            <a:spLocks noGrp="1"/>
          </p:cNvSpPr>
          <p:nvPr>
            <p:ph type="body" sz="quarter" idx="13" hasCustomPrompt="1"/>
          </p:nvPr>
        </p:nvSpPr>
        <p:spPr>
          <a:xfrm>
            <a:off x="766764" y="5949950"/>
            <a:ext cx="10658474" cy="215354"/>
          </a:xfrm>
        </p:spPr>
        <p:txBody>
          <a:bodyPr vert="horz" lIns="0" tIns="0" rIns="0" bIns="0" rtlCol="0" anchor="b" anchorCtr="0">
            <a:noAutofit/>
          </a:bodyPr>
          <a:lstStyle>
            <a:lvl1pPr marL="0" indent="0">
              <a:lnSpc>
                <a:spcPct val="95000"/>
              </a:lnSpc>
              <a:spcBef>
                <a:spcPts val="0"/>
              </a:spcBef>
              <a:buFontTx/>
              <a:buNone/>
              <a:defRPr lang="fi-FI" sz="1600" spc="40" baseline="0" dirty="0">
                <a:solidFill>
                  <a:schemeClr val="tx1"/>
                </a:solidFill>
              </a:defRPr>
            </a:lvl1pPr>
          </a:lstStyle>
          <a:p>
            <a:pPr marL="0" marR="0" lvl="0" indent="0" algn="l" defTabSz="1219170" rtl="0" eaLnBrk="1" fontAlgn="auto" latinLnBrk="0" hangingPunct="1">
              <a:lnSpc>
                <a:spcPct val="95000"/>
              </a:lnSpc>
              <a:spcBef>
                <a:spcPts val="0"/>
              </a:spcBef>
              <a:spcAft>
                <a:spcPts val="0"/>
              </a:spcAft>
              <a:buClr>
                <a:schemeClr val="tx1"/>
              </a:buClr>
              <a:buSzTx/>
              <a:buFontTx/>
              <a:buNone/>
              <a:tabLst/>
              <a:defRPr/>
            </a:pPr>
            <a:r>
              <a:rPr lang="en-US" dirty="0"/>
              <a:t>Date / Author</a:t>
            </a:r>
            <a:endParaRPr lang="fi-FI" dirty="0"/>
          </a:p>
        </p:txBody>
      </p:sp>
      <p:sp>
        <p:nvSpPr>
          <p:cNvPr id="2" name="Title 1"/>
          <p:cNvSpPr>
            <a:spLocks noGrp="1"/>
          </p:cNvSpPr>
          <p:nvPr>
            <p:ph type="ctrTitle"/>
          </p:nvPr>
        </p:nvSpPr>
        <p:spPr>
          <a:xfrm>
            <a:off x="766764" y="1773238"/>
            <a:ext cx="10658474" cy="1943794"/>
          </a:xfrm>
        </p:spPr>
        <p:txBody>
          <a:bodyPr anchor="b" anchorCtr="0"/>
          <a:lstStyle>
            <a:lvl1pPr>
              <a:lnSpc>
                <a:spcPct val="95000"/>
              </a:lnSpc>
              <a:defRPr sz="4400" b="0" spc="0" baseline="0">
                <a:solidFill>
                  <a:schemeClr val="tx1"/>
                </a:solidFill>
              </a:defRPr>
            </a:lvl1pPr>
          </a:lstStyle>
          <a:p>
            <a:r>
              <a:rPr lang="en-US"/>
              <a:t>Click to edit Master title style</a:t>
            </a:r>
            <a:endParaRPr lang="fi-FI" dirty="0"/>
          </a:p>
        </p:txBody>
      </p:sp>
      <p:sp>
        <p:nvSpPr>
          <p:cNvPr id="3" name="Subtitle 2"/>
          <p:cNvSpPr>
            <a:spLocks noGrp="1"/>
          </p:cNvSpPr>
          <p:nvPr>
            <p:ph type="subTitle" idx="1"/>
          </p:nvPr>
        </p:nvSpPr>
        <p:spPr>
          <a:xfrm>
            <a:off x="766763" y="3933055"/>
            <a:ext cx="10658475" cy="936105"/>
          </a:xfrm>
        </p:spPr>
        <p:txBody>
          <a:bodyPr/>
          <a:lstStyle>
            <a:lvl1pPr marL="0" indent="0" algn="l">
              <a:lnSpc>
                <a:spcPct val="95000"/>
              </a:lnSpc>
              <a:spcBef>
                <a:spcPts val="0"/>
              </a:spcBef>
              <a:buNone/>
              <a:defRPr b="0" spc="-40" baseline="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fi-FI" dirty="0"/>
          </a:p>
        </p:txBody>
      </p:sp>
      <p:sp>
        <p:nvSpPr>
          <p:cNvPr id="9" name="Date Placeholder 8"/>
          <p:cNvSpPr>
            <a:spLocks noGrp="1"/>
          </p:cNvSpPr>
          <p:nvPr>
            <p:ph type="dt" sz="half" idx="14"/>
          </p:nvPr>
        </p:nvSpPr>
        <p:spPr/>
        <p:txBody>
          <a:bodyPr/>
          <a:lstStyle>
            <a:lvl1pPr>
              <a:defRPr>
                <a:noFill/>
              </a:defRPr>
            </a:lvl1pPr>
          </a:lstStyle>
          <a:p>
            <a:fld id="{A06CA5E9-B2BF-4462-83F1-3DD4D6BFB3CF}" type="datetime1">
              <a:rPr lang="en-GB" smtClean="0"/>
              <a:t>22/10/2025</a:t>
            </a:fld>
            <a:endParaRPr lang="fi-FI" dirty="0"/>
          </a:p>
        </p:txBody>
      </p:sp>
      <p:sp>
        <p:nvSpPr>
          <p:cNvPr id="10" name="Footer Placeholder 9"/>
          <p:cNvSpPr>
            <a:spLocks noGrp="1"/>
          </p:cNvSpPr>
          <p:nvPr>
            <p:ph type="ftr" sz="quarter" idx="15"/>
          </p:nvPr>
        </p:nvSpPr>
        <p:spPr/>
        <p:txBody>
          <a:bodyPr/>
          <a:lstStyle>
            <a:lvl1pPr>
              <a:defRPr>
                <a:noFill/>
              </a:defRPr>
            </a:lvl1pPr>
          </a:lstStyle>
          <a:p>
            <a:r>
              <a:rPr lang="fi-FI"/>
              <a:t>Presentation name / Author</a:t>
            </a:r>
            <a:endParaRPr lang="fi-FI" dirty="0"/>
          </a:p>
        </p:txBody>
      </p:sp>
      <p:sp>
        <p:nvSpPr>
          <p:cNvPr id="11" name="Slide Number Placeholder 10"/>
          <p:cNvSpPr>
            <a:spLocks noGrp="1"/>
          </p:cNvSpPr>
          <p:nvPr>
            <p:ph type="sldNum" sz="quarter" idx="16"/>
          </p:nvPr>
        </p:nvSpPr>
        <p:spPr/>
        <p:txBody>
          <a:bodyPr/>
          <a:lstStyle>
            <a:lvl1pPr>
              <a:defRPr>
                <a:noFill/>
              </a:defRPr>
            </a:lvl1pPr>
          </a:lstStyle>
          <a:p>
            <a:fld id="{49A25110-65A2-4B67-BF3F-8D6D3162EF46}" type="slidenum">
              <a:rPr lang="fi-FI" smtClean="0"/>
              <a:pPr/>
              <a:t>‹#›</a:t>
            </a:fld>
            <a:endParaRPr lang="fi-FI" dirty="0"/>
          </a:p>
        </p:txBody>
      </p:sp>
      <p:sp>
        <p:nvSpPr>
          <p:cNvPr id="12" name="Text Placeholder 2">
            <a:extLst>
              <a:ext uri="{FF2B5EF4-FFF2-40B4-BE49-F238E27FC236}">
                <a16:creationId xmlns:a16="http://schemas.microsoft.com/office/drawing/2014/main" id="{F7F2C066-1B7D-4C32-A446-27BD28D7E3D4}"/>
              </a:ext>
            </a:extLst>
          </p:cNvPr>
          <p:cNvSpPr>
            <a:spLocks noGrp="1" noChangeAspect="1"/>
          </p:cNvSpPr>
          <p:nvPr>
            <p:ph type="body" sz="quarter" idx="20"/>
          </p:nvPr>
        </p:nvSpPr>
        <p:spPr>
          <a:xfrm>
            <a:off x="458096" y="404776"/>
            <a:ext cx="2901599" cy="1008000"/>
          </a:xfrm>
          <a:blipFill>
            <a:blip r:embed="rId2"/>
            <a:stretch>
              <a:fillRect/>
            </a:stretch>
          </a:blipFill>
        </p:spPr>
        <p:txBody>
          <a:bodyPr/>
          <a:lstStyle>
            <a:lvl1pPr>
              <a:defRPr sz="100">
                <a:noFill/>
              </a:defRPr>
            </a:lvl1pPr>
          </a:lstStyle>
          <a:p>
            <a:pPr lvl="0"/>
            <a:r>
              <a:rPr lang="en-US"/>
              <a:t>Click to edit Master text styles</a:t>
            </a:r>
          </a:p>
        </p:txBody>
      </p:sp>
    </p:spTree>
    <p:extLst>
      <p:ext uri="{BB962C8B-B14F-4D97-AF65-F5344CB8AC3E}">
        <p14:creationId xmlns:p14="http://schemas.microsoft.com/office/powerpoint/2010/main" val="430876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255AF2C-0F4F-AD4E-86F8-34132E1A34CD}"/>
              </a:ext>
            </a:extLst>
          </p:cNvPr>
          <p:cNvSpPr>
            <a:spLocks noGrp="1"/>
          </p:cNvSpPr>
          <p:nvPr>
            <p:ph type="title"/>
          </p:nvPr>
        </p:nvSpPr>
        <p:spPr>
          <a:xfrm>
            <a:off x="340453" y="2224923"/>
            <a:ext cx="10515600" cy="1325563"/>
          </a:xfrm>
          <a:prstGeom prst="rect">
            <a:avLst/>
          </a:prstGeom>
        </p:spPr>
        <p:txBody>
          <a:bodyPr/>
          <a:lstStyle>
            <a:lvl1pPr>
              <a:defRPr sz="6000" b="1" i="0">
                <a:solidFill>
                  <a:schemeClr val="tx2"/>
                </a:solidFill>
                <a:latin typeface="Calibri" panose="020F0502020204030204" pitchFamily="34" charset="0"/>
                <a:cs typeface="Calibri" panose="020F0502020204030204" pitchFamily="34" charset="0"/>
              </a:defRPr>
            </a:lvl1pPr>
          </a:lstStyle>
          <a:p>
            <a:r>
              <a:rPr lang="en-US"/>
              <a:t>Click to edit Master title style</a:t>
            </a:r>
            <a:endParaRPr lang="en-FI"/>
          </a:p>
        </p:txBody>
      </p:sp>
    </p:spTree>
    <p:extLst>
      <p:ext uri="{BB962C8B-B14F-4D97-AF65-F5344CB8AC3E}">
        <p14:creationId xmlns:p14="http://schemas.microsoft.com/office/powerpoint/2010/main" val="359295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 picture, dark">
    <p:bg>
      <p:bgPr>
        <a:solidFill>
          <a:schemeClr val="bg2"/>
        </a:solidFill>
        <a:effectLst/>
      </p:bgPr>
    </p:bg>
    <p:spTree>
      <p:nvGrpSpPr>
        <p:cNvPr id="1" name=""/>
        <p:cNvGrpSpPr/>
        <p:nvPr/>
      </p:nvGrpSpPr>
      <p:grpSpPr>
        <a:xfrm>
          <a:off x="0" y="0"/>
          <a:ext cx="0" cy="0"/>
          <a:chOff x="0" y="0"/>
          <a:chExt cx="0" cy="0"/>
        </a:xfrm>
      </p:grpSpPr>
      <p:sp>
        <p:nvSpPr>
          <p:cNvPr id="18" name="Picture Placeholder 5"/>
          <p:cNvSpPr>
            <a:spLocks noGrp="1"/>
          </p:cNvSpPr>
          <p:nvPr>
            <p:ph type="pic" sz="quarter" idx="17" hasCustomPrompt="1"/>
          </p:nvPr>
        </p:nvSpPr>
        <p:spPr>
          <a:xfrm>
            <a:off x="0" y="1"/>
            <a:ext cx="12191999" cy="6858000"/>
          </a:xfrm>
          <a:solidFill>
            <a:schemeClr val="accent2">
              <a:lumMod val="60000"/>
              <a:lumOff val="40000"/>
            </a:schemeClr>
          </a:solidFill>
        </p:spPr>
        <p:txBody>
          <a:bodyPr/>
          <a:lstStyle>
            <a:lvl1pPr marL="0" indent="0">
              <a:buFontTx/>
              <a:buNone/>
              <a:defRPr sz="1000">
                <a:solidFill>
                  <a:schemeClr val="bg1"/>
                </a:solidFill>
              </a:defRPr>
            </a:lvl1pPr>
          </a:lstStyle>
          <a:p>
            <a:r>
              <a:rPr lang="en-US" dirty="0"/>
              <a:t>Select this placeholder and insert picture from insert menu</a:t>
            </a:r>
          </a:p>
        </p:txBody>
      </p:sp>
      <p:sp>
        <p:nvSpPr>
          <p:cNvPr id="8" name="Text Placeholder 7"/>
          <p:cNvSpPr>
            <a:spLocks noGrp="1"/>
          </p:cNvSpPr>
          <p:nvPr>
            <p:ph type="body" sz="quarter" idx="13" hasCustomPrompt="1"/>
          </p:nvPr>
        </p:nvSpPr>
        <p:spPr>
          <a:xfrm>
            <a:off x="766764" y="5949950"/>
            <a:ext cx="10658474" cy="215354"/>
          </a:xfrm>
        </p:spPr>
        <p:txBody>
          <a:bodyPr vert="horz" lIns="0" tIns="0" rIns="0" bIns="0" rtlCol="0" anchor="b" anchorCtr="0">
            <a:noAutofit/>
          </a:bodyPr>
          <a:lstStyle>
            <a:lvl1pPr marL="0" indent="0">
              <a:lnSpc>
                <a:spcPct val="95000"/>
              </a:lnSpc>
              <a:spcBef>
                <a:spcPts val="0"/>
              </a:spcBef>
              <a:buFontTx/>
              <a:buNone/>
              <a:defRPr lang="fi-FI" sz="1600" spc="40" baseline="0" dirty="0">
                <a:solidFill>
                  <a:schemeClr val="bg1"/>
                </a:solidFill>
              </a:defRPr>
            </a:lvl1pPr>
          </a:lstStyle>
          <a:p>
            <a:pPr marL="0" marR="0" lvl="0" indent="0" algn="l" defTabSz="1219170" rtl="0" eaLnBrk="1" fontAlgn="auto" latinLnBrk="0" hangingPunct="1">
              <a:lnSpc>
                <a:spcPct val="95000"/>
              </a:lnSpc>
              <a:spcBef>
                <a:spcPts val="0"/>
              </a:spcBef>
              <a:spcAft>
                <a:spcPts val="0"/>
              </a:spcAft>
              <a:buClr>
                <a:schemeClr val="tx1"/>
              </a:buClr>
              <a:buSzTx/>
              <a:buFontTx/>
              <a:buNone/>
              <a:tabLst/>
              <a:defRPr/>
            </a:pPr>
            <a:r>
              <a:rPr lang="en-US" dirty="0"/>
              <a:t>Date / Author</a:t>
            </a:r>
            <a:endParaRPr lang="fi-FI" dirty="0"/>
          </a:p>
        </p:txBody>
      </p:sp>
      <p:sp>
        <p:nvSpPr>
          <p:cNvPr id="2" name="Title 1"/>
          <p:cNvSpPr>
            <a:spLocks noGrp="1"/>
          </p:cNvSpPr>
          <p:nvPr>
            <p:ph type="ctrTitle"/>
          </p:nvPr>
        </p:nvSpPr>
        <p:spPr>
          <a:xfrm>
            <a:off x="766764" y="1773238"/>
            <a:ext cx="10658474" cy="1943794"/>
          </a:xfrm>
        </p:spPr>
        <p:txBody>
          <a:bodyPr anchor="b" anchorCtr="0"/>
          <a:lstStyle>
            <a:lvl1pPr>
              <a:lnSpc>
                <a:spcPct val="95000"/>
              </a:lnSpc>
              <a:defRPr sz="4400" b="0" spc="0" baseline="0">
                <a:solidFill>
                  <a:schemeClr val="bg1"/>
                </a:solidFill>
              </a:defRPr>
            </a:lvl1pPr>
          </a:lstStyle>
          <a:p>
            <a:r>
              <a:rPr lang="en-US"/>
              <a:t>Click to edit Master title style</a:t>
            </a:r>
            <a:endParaRPr lang="fi-FI" dirty="0"/>
          </a:p>
        </p:txBody>
      </p:sp>
      <p:sp>
        <p:nvSpPr>
          <p:cNvPr id="3" name="Subtitle 2"/>
          <p:cNvSpPr>
            <a:spLocks noGrp="1"/>
          </p:cNvSpPr>
          <p:nvPr>
            <p:ph type="subTitle" idx="1"/>
          </p:nvPr>
        </p:nvSpPr>
        <p:spPr>
          <a:xfrm>
            <a:off x="766763" y="3933055"/>
            <a:ext cx="10658475" cy="936105"/>
          </a:xfrm>
        </p:spPr>
        <p:txBody>
          <a:bodyPr/>
          <a:lstStyle>
            <a:lvl1pPr marL="0" indent="0" algn="l">
              <a:lnSpc>
                <a:spcPct val="95000"/>
              </a:lnSpc>
              <a:spcBef>
                <a:spcPts val="0"/>
              </a:spcBef>
              <a:buNone/>
              <a:defRPr b="0" spc="-40"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fi-FI" dirty="0"/>
          </a:p>
        </p:txBody>
      </p:sp>
      <p:sp>
        <p:nvSpPr>
          <p:cNvPr id="9" name="Date Placeholder 8"/>
          <p:cNvSpPr>
            <a:spLocks noGrp="1"/>
          </p:cNvSpPr>
          <p:nvPr>
            <p:ph type="dt" sz="half" idx="14"/>
          </p:nvPr>
        </p:nvSpPr>
        <p:spPr/>
        <p:txBody>
          <a:bodyPr/>
          <a:lstStyle>
            <a:lvl1pPr>
              <a:defRPr>
                <a:noFill/>
              </a:defRPr>
            </a:lvl1pPr>
          </a:lstStyle>
          <a:p>
            <a:fld id="{A06CA5E9-B2BF-4462-83F1-3DD4D6BFB3CF}" type="datetime1">
              <a:rPr lang="en-GB" smtClean="0"/>
              <a:t>22/10/2025</a:t>
            </a:fld>
            <a:endParaRPr lang="fi-FI" dirty="0"/>
          </a:p>
        </p:txBody>
      </p:sp>
      <p:sp>
        <p:nvSpPr>
          <p:cNvPr id="10" name="Footer Placeholder 9"/>
          <p:cNvSpPr>
            <a:spLocks noGrp="1"/>
          </p:cNvSpPr>
          <p:nvPr>
            <p:ph type="ftr" sz="quarter" idx="15"/>
          </p:nvPr>
        </p:nvSpPr>
        <p:spPr/>
        <p:txBody>
          <a:bodyPr/>
          <a:lstStyle>
            <a:lvl1pPr>
              <a:defRPr>
                <a:noFill/>
              </a:defRPr>
            </a:lvl1pPr>
          </a:lstStyle>
          <a:p>
            <a:r>
              <a:rPr lang="fi-FI"/>
              <a:t>Presentation name / Author</a:t>
            </a:r>
            <a:endParaRPr lang="fi-FI" dirty="0"/>
          </a:p>
        </p:txBody>
      </p:sp>
      <p:sp>
        <p:nvSpPr>
          <p:cNvPr id="11" name="Slide Number Placeholder 10"/>
          <p:cNvSpPr>
            <a:spLocks noGrp="1"/>
          </p:cNvSpPr>
          <p:nvPr>
            <p:ph type="sldNum" sz="quarter" idx="16"/>
          </p:nvPr>
        </p:nvSpPr>
        <p:spPr/>
        <p:txBody>
          <a:bodyPr/>
          <a:lstStyle>
            <a:lvl1pPr>
              <a:defRPr>
                <a:noFill/>
              </a:defRPr>
            </a:lvl1pPr>
          </a:lstStyle>
          <a:p>
            <a:fld id="{49A25110-65A2-4B67-BF3F-8D6D3162EF46}" type="slidenum">
              <a:rPr lang="fi-FI" smtClean="0"/>
              <a:pPr/>
              <a:t>‹#›</a:t>
            </a:fld>
            <a:endParaRPr lang="fi-FI" dirty="0"/>
          </a:p>
        </p:txBody>
      </p:sp>
      <p:sp>
        <p:nvSpPr>
          <p:cNvPr id="20" name="Text Placeholder 2"/>
          <p:cNvSpPr>
            <a:spLocks noGrp="1" noChangeAspect="1"/>
          </p:cNvSpPr>
          <p:nvPr>
            <p:ph type="body" sz="quarter" idx="19"/>
          </p:nvPr>
        </p:nvSpPr>
        <p:spPr>
          <a:xfrm>
            <a:off x="458096" y="404776"/>
            <a:ext cx="2901600" cy="1008000"/>
          </a:xfrm>
          <a:blipFill>
            <a:blip r:embed="rId2"/>
            <a:stretch>
              <a:fillRect/>
            </a:stretch>
          </a:blipFill>
        </p:spPr>
        <p:txBody>
          <a:bodyPr/>
          <a:lstStyle>
            <a:lvl1pPr>
              <a:defRPr sz="100">
                <a:noFill/>
              </a:defRPr>
            </a:lvl1pPr>
          </a:lstStyle>
          <a:p>
            <a:pPr lvl="0"/>
            <a:r>
              <a:rPr lang="en-US"/>
              <a:t>Click to edit Master text styles</a:t>
            </a:r>
          </a:p>
        </p:txBody>
      </p:sp>
    </p:spTree>
    <p:extLst>
      <p:ext uri="{BB962C8B-B14F-4D97-AF65-F5344CB8AC3E}">
        <p14:creationId xmlns:p14="http://schemas.microsoft.com/office/powerpoint/2010/main" val="2848764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header /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66762" y="3035936"/>
            <a:ext cx="10658475" cy="643253"/>
          </a:xfrm>
        </p:spPr>
        <p:txBody>
          <a:bodyPr anchor="ctr" anchorCtr="0">
            <a:spAutoFit/>
          </a:bodyPr>
          <a:lstStyle>
            <a:lvl1pPr algn="l">
              <a:lnSpc>
                <a:spcPct val="95000"/>
              </a:lnSpc>
              <a:defRPr sz="4400" b="0" cap="none" spc="0" baseline="0">
                <a:solidFill>
                  <a:schemeClr val="tx1"/>
                </a:solidFill>
              </a:defRPr>
            </a:lvl1pPr>
          </a:lstStyle>
          <a:p>
            <a:r>
              <a:rPr lang="en-US"/>
              <a:t>Click to edit Master title style</a:t>
            </a:r>
            <a:endParaRPr lang="fi-FI" dirty="0"/>
          </a:p>
        </p:txBody>
      </p:sp>
      <p:sp>
        <p:nvSpPr>
          <p:cNvPr id="4" name="Date Placeholder 3"/>
          <p:cNvSpPr>
            <a:spLocks noGrp="1"/>
          </p:cNvSpPr>
          <p:nvPr>
            <p:ph type="dt" sz="half" idx="10"/>
          </p:nvPr>
        </p:nvSpPr>
        <p:spPr/>
        <p:txBody>
          <a:bodyPr/>
          <a:lstStyle>
            <a:lvl1pPr>
              <a:defRPr>
                <a:noFill/>
              </a:defRPr>
            </a:lvl1pPr>
          </a:lstStyle>
          <a:p>
            <a:fld id="{0EFE15CB-DF76-4428-AA1A-F64EDAEF0077}" type="datetime1">
              <a:rPr lang="en-GB" smtClean="0"/>
              <a:t>22/10/2025</a:t>
            </a:fld>
            <a:endParaRPr lang="fi-FI"/>
          </a:p>
        </p:txBody>
      </p:sp>
      <p:sp>
        <p:nvSpPr>
          <p:cNvPr id="5" name="Footer Placeholder 4"/>
          <p:cNvSpPr>
            <a:spLocks noGrp="1"/>
          </p:cNvSpPr>
          <p:nvPr>
            <p:ph type="ftr" sz="quarter" idx="11"/>
          </p:nvPr>
        </p:nvSpPr>
        <p:spPr/>
        <p:txBody>
          <a:bodyPr/>
          <a:lstStyle>
            <a:lvl1pPr>
              <a:defRPr>
                <a:noFill/>
              </a:defRPr>
            </a:lvl1pPr>
          </a:lstStyle>
          <a:p>
            <a:r>
              <a:rPr lang="fi-FI"/>
              <a:t>Presentation name / Author</a:t>
            </a:r>
          </a:p>
        </p:txBody>
      </p:sp>
      <p:sp>
        <p:nvSpPr>
          <p:cNvPr id="6" name="Slide Number Placeholder 5"/>
          <p:cNvSpPr>
            <a:spLocks noGrp="1"/>
          </p:cNvSpPr>
          <p:nvPr>
            <p:ph type="sldNum" sz="quarter" idx="12"/>
          </p:nvPr>
        </p:nvSpPr>
        <p:spPr/>
        <p:txBody>
          <a:bodyPr/>
          <a:lstStyle>
            <a:lvl1pPr>
              <a:defRPr>
                <a:noFill/>
              </a:defRPr>
            </a:lvl1pPr>
          </a:lstStyle>
          <a:p>
            <a:fld id="{49A25110-65A2-4B67-BF3F-8D6D3162EF46}" type="slidenum">
              <a:rPr lang="fi-FI" smtClean="0"/>
              <a:pPr/>
              <a:t>‹#›</a:t>
            </a:fld>
            <a:endParaRPr lang="fi-FI"/>
          </a:p>
        </p:txBody>
      </p:sp>
    </p:spTree>
    <p:extLst>
      <p:ext uri="{BB962C8B-B14F-4D97-AF65-F5344CB8AC3E}">
        <p14:creationId xmlns:p14="http://schemas.microsoft.com/office/powerpoint/2010/main" val="1736453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ection header / kaarna">
    <p:bg>
      <p:bgPr>
        <a:solidFill>
          <a:srgbClr val="85717A"/>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noFill/>
              </a:defRPr>
            </a:lvl1pPr>
          </a:lstStyle>
          <a:p>
            <a:fld id="{0EFE15CB-DF76-4428-AA1A-F64EDAEF0077}" type="datetime1">
              <a:rPr lang="en-GB" smtClean="0"/>
              <a:t>22/10/2025</a:t>
            </a:fld>
            <a:endParaRPr lang="fi-FI"/>
          </a:p>
        </p:txBody>
      </p:sp>
      <p:sp>
        <p:nvSpPr>
          <p:cNvPr id="5" name="Footer Placeholder 4"/>
          <p:cNvSpPr>
            <a:spLocks noGrp="1"/>
          </p:cNvSpPr>
          <p:nvPr>
            <p:ph type="ftr" sz="quarter" idx="11"/>
          </p:nvPr>
        </p:nvSpPr>
        <p:spPr/>
        <p:txBody>
          <a:bodyPr/>
          <a:lstStyle>
            <a:lvl1pPr>
              <a:defRPr>
                <a:noFill/>
              </a:defRPr>
            </a:lvl1pPr>
          </a:lstStyle>
          <a:p>
            <a:r>
              <a:rPr lang="fi-FI"/>
              <a:t>Presentation name / Author</a:t>
            </a:r>
          </a:p>
        </p:txBody>
      </p:sp>
      <p:sp>
        <p:nvSpPr>
          <p:cNvPr id="6" name="Slide Number Placeholder 5"/>
          <p:cNvSpPr>
            <a:spLocks noGrp="1"/>
          </p:cNvSpPr>
          <p:nvPr>
            <p:ph type="sldNum" sz="quarter" idx="12"/>
          </p:nvPr>
        </p:nvSpPr>
        <p:spPr/>
        <p:txBody>
          <a:bodyPr/>
          <a:lstStyle>
            <a:lvl1pPr>
              <a:defRPr>
                <a:noFill/>
              </a:defRPr>
            </a:lvl1pPr>
          </a:lstStyle>
          <a:p>
            <a:fld id="{49A25110-65A2-4B67-BF3F-8D6D3162EF46}" type="slidenum">
              <a:rPr lang="fi-FI" smtClean="0"/>
              <a:pPr/>
              <a:t>‹#›</a:t>
            </a:fld>
            <a:endParaRPr lang="fi-FI"/>
          </a:p>
        </p:txBody>
      </p:sp>
      <p:sp>
        <p:nvSpPr>
          <p:cNvPr id="10" name="Title 1"/>
          <p:cNvSpPr>
            <a:spLocks noGrp="1"/>
          </p:cNvSpPr>
          <p:nvPr>
            <p:ph type="title"/>
          </p:nvPr>
        </p:nvSpPr>
        <p:spPr>
          <a:xfrm>
            <a:off x="766762" y="3035936"/>
            <a:ext cx="10658475" cy="643253"/>
          </a:xfrm>
        </p:spPr>
        <p:txBody>
          <a:bodyPr anchor="ctr" anchorCtr="0">
            <a:spAutoFit/>
          </a:bodyPr>
          <a:lstStyle>
            <a:lvl1pPr algn="l">
              <a:lnSpc>
                <a:spcPct val="95000"/>
              </a:lnSpc>
              <a:defRPr sz="4400" b="0" cap="none" spc="0" baseline="0">
                <a:solidFill>
                  <a:schemeClr val="bg1"/>
                </a:solidFill>
              </a:defRPr>
            </a:lvl1pPr>
          </a:lstStyle>
          <a:p>
            <a:r>
              <a:rPr lang="en-US"/>
              <a:t>Click to edit Master title style</a:t>
            </a:r>
            <a:endParaRPr lang="fi-FI" dirty="0"/>
          </a:p>
        </p:txBody>
      </p:sp>
      <p:grpSp>
        <p:nvGrpSpPr>
          <p:cNvPr id="11" name="Group 10"/>
          <p:cNvGrpSpPr>
            <a:grpSpLocks noChangeAspect="1"/>
          </p:cNvGrpSpPr>
          <p:nvPr/>
        </p:nvGrpSpPr>
        <p:grpSpPr>
          <a:xfrm>
            <a:off x="335360" y="6093296"/>
            <a:ext cx="1243838" cy="432000"/>
            <a:chOff x="3279775" y="2451101"/>
            <a:chExt cx="5640388" cy="1958974"/>
          </a:xfrm>
          <a:solidFill>
            <a:schemeClr val="bg1"/>
          </a:solidFill>
        </p:grpSpPr>
        <p:sp>
          <p:nvSpPr>
            <p:cNvPr id="12" name="Freeform 6"/>
            <p:cNvSpPr>
              <a:spLocks/>
            </p:cNvSpPr>
            <p:nvPr/>
          </p:nvSpPr>
          <p:spPr bwMode="auto">
            <a:xfrm>
              <a:off x="3279775" y="2451101"/>
              <a:ext cx="1838325" cy="1944687"/>
            </a:xfrm>
            <a:custGeom>
              <a:avLst/>
              <a:gdLst>
                <a:gd name="T0" fmla="*/ 978 w 1158"/>
                <a:gd name="T1" fmla="*/ 608 h 1225"/>
                <a:gd name="T2" fmla="*/ 974 w 1158"/>
                <a:gd name="T3" fmla="*/ 610 h 1225"/>
                <a:gd name="T4" fmla="*/ 968 w 1158"/>
                <a:gd name="T5" fmla="*/ 608 h 1225"/>
                <a:gd name="T6" fmla="*/ 966 w 1158"/>
                <a:gd name="T7" fmla="*/ 134 h 1225"/>
                <a:gd name="T8" fmla="*/ 963 w 1158"/>
                <a:gd name="T9" fmla="*/ 128 h 1225"/>
                <a:gd name="T10" fmla="*/ 956 w 1158"/>
                <a:gd name="T11" fmla="*/ 128 h 1225"/>
                <a:gd name="T12" fmla="*/ 953 w 1158"/>
                <a:gd name="T13" fmla="*/ 132 h 1225"/>
                <a:gd name="T14" fmla="*/ 784 w 1158"/>
                <a:gd name="T15" fmla="*/ 603 h 1225"/>
                <a:gd name="T16" fmla="*/ 779 w 1158"/>
                <a:gd name="T17" fmla="*/ 607 h 1225"/>
                <a:gd name="T18" fmla="*/ 773 w 1158"/>
                <a:gd name="T19" fmla="*/ 605 h 1225"/>
                <a:gd name="T20" fmla="*/ 771 w 1158"/>
                <a:gd name="T21" fmla="*/ 466 h 1225"/>
                <a:gd name="T22" fmla="*/ 769 w 1158"/>
                <a:gd name="T23" fmla="*/ 461 h 1225"/>
                <a:gd name="T24" fmla="*/ 764 w 1158"/>
                <a:gd name="T25" fmla="*/ 459 h 1225"/>
                <a:gd name="T26" fmla="*/ 584 w 1158"/>
                <a:gd name="T27" fmla="*/ 614 h 1225"/>
                <a:gd name="T28" fmla="*/ 579 w 1158"/>
                <a:gd name="T29" fmla="*/ 616 h 1225"/>
                <a:gd name="T30" fmla="*/ 396 w 1158"/>
                <a:gd name="T31" fmla="*/ 461 h 1225"/>
                <a:gd name="T32" fmla="*/ 390 w 1158"/>
                <a:gd name="T33" fmla="*/ 460 h 1225"/>
                <a:gd name="T34" fmla="*/ 386 w 1158"/>
                <a:gd name="T35" fmla="*/ 464 h 1225"/>
                <a:gd name="T36" fmla="*/ 386 w 1158"/>
                <a:gd name="T37" fmla="*/ 603 h 1225"/>
                <a:gd name="T38" fmla="*/ 381 w 1158"/>
                <a:gd name="T39" fmla="*/ 607 h 1225"/>
                <a:gd name="T40" fmla="*/ 375 w 1158"/>
                <a:gd name="T41" fmla="*/ 605 h 1225"/>
                <a:gd name="T42" fmla="*/ 292 w 1158"/>
                <a:gd name="T43" fmla="*/ 378 h 1225"/>
                <a:gd name="T44" fmla="*/ 203 w 1158"/>
                <a:gd name="T45" fmla="*/ 130 h 1225"/>
                <a:gd name="T46" fmla="*/ 197 w 1158"/>
                <a:gd name="T47" fmla="*/ 128 h 1225"/>
                <a:gd name="T48" fmla="*/ 192 w 1158"/>
                <a:gd name="T49" fmla="*/ 132 h 1225"/>
                <a:gd name="T50" fmla="*/ 191 w 1158"/>
                <a:gd name="T51" fmla="*/ 606 h 1225"/>
                <a:gd name="T52" fmla="*/ 186 w 1158"/>
                <a:gd name="T53" fmla="*/ 610 h 1225"/>
                <a:gd name="T54" fmla="*/ 181 w 1158"/>
                <a:gd name="T55" fmla="*/ 609 h 1225"/>
                <a:gd name="T56" fmla="*/ 13 w 1158"/>
                <a:gd name="T57" fmla="*/ 5 h 1225"/>
                <a:gd name="T58" fmla="*/ 10 w 1158"/>
                <a:gd name="T59" fmla="*/ 1 h 1225"/>
                <a:gd name="T60" fmla="*/ 4 w 1158"/>
                <a:gd name="T61" fmla="*/ 1 h 1225"/>
                <a:gd name="T62" fmla="*/ 0 w 1158"/>
                <a:gd name="T63" fmla="*/ 7 h 1225"/>
                <a:gd name="T64" fmla="*/ 1 w 1158"/>
                <a:gd name="T65" fmla="*/ 552 h 1225"/>
                <a:gd name="T66" fmla="*/ 147 w 1158"/>
                <a:gd name="T67" fmla="*/ 644 h 1225"/>
                <a:gd name="T68" fmla="*/ 389 w 1158"/>
                <a:gd name="T69" fmla="*/ 646 h 1225"/>
                <a:gd name="T70" fmla="*/ 397 w 1158"/>
                <a:gd name="T71" fmla="*/ 649 h 1225"/>
                <a:gd name="T72" fmla="*/ 500 w 1158"/>
                <a:gd name="T73" fmla="*/ 909 h 1225"/>
                <a:gd name="T74" fmla="*/ 501 w 1158"/>
                <a:gd name="T75" fmla="*/ 917 h 1225"/>
                <a:gd name="T76" fmla="*/ 447 w 1158"/>
                <a:gd name="T77" fmla="*/ 1030 h 1225"/>
                <a:gd name="T78" fmla="*/ 519 w 1158"/>
                <a:gd name="T79" fmla="*/ 1218 h 1225"/>
                <a:gd name="T80" fmla="*/ 526 w 1158"/>
                <a:gd name="T81" fmla="*/ 1224 h 1225"/>
                <a:gd name="T82" fmla="*/ 629 w 1158"/>
                <a:gd name="T83" fmla="*/ 1225 h 1225"/>
                <a:gd name="T84" fmla="*/ 637 w 1158"/>
                <a:gd name="T85" fmla="*/ 1221 h 1225"/>
                <a:gd name="T86" fmla="*/ 710 w 1158"/>
                <a:gd name="T87" fmla="*/ 1036 h 1225"/>
                <a:gd name="T88" fmla="*/ 710 w 1158"/>
                <a:gd name="T89" fmla="*/ 1030 h 1225"/>
                <a:gd name="T90" fmla="*/ 657 w 1158"/>
                <a:gd name="T91" fmla="*/ 917 h 1225"/>
                <a:gd name="T92" fmla="*/ 758 w 1158"/>
                <a:gd name="T93" fmla="*/ 652 h 1225"/>
                <a:gd name="T94" fmla="*/ 765 w 1158"/>
                <a:gd name="T95" fmla="*/ 646 h 1225"/>
                <a:gd name="T96" fmla="*/ 1009 w 1158"/>
                <a:gd name="T97" fmla="*/ 645 h 1225"/>
                <a:gd name="T98" fmla="*/ 1155 w 1158"/>
                <a:gd name="T99" fmla="*/ 554 h 1225"/>
                <a:gd name="T100" fmla="*/ 1158 w 1158"/>
                <a:gd name="T101" fmla="*/ 549 h 1225"/>
                <a:gd name="T102" fmla="*/ 1158 w 1158"/>
                <a:gd name="T103" fmla="*/ 4 h 1225"/>
                <a:gd name="T104" fmla="*/ 1152 w 1158"/>
                <a:gd name="T105" fmla="*/ 0 h 1225"/>
                <a:gd name="T106" fmla="*/ 1146 w 1158"/>
                <a:gd name="T107" fmla="*/ 3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8" h="1225">
                  <a:moveTo>
                    <a:pt x="1145" y="5"/>
                  </a:moveTo>
                  <a:lnTo>
                    <a:pt x="979" y="605"/>
                  </a:lnTo>
                  <a:lnTo>
                    <a:pt x="978" y="608"/>
                  </a:lnTo>
                  <a:lnTo>
                    <a:pt x="977" y="608"/>
                  </a:lnTo>
                  <a:lnTo>
                    <a:pt x="976" y="609"/>
                  </a:lnTo>
                  <a:lnTo>
                    <a:pt x="974" y="610"/>
                  </a:lnTo>
                  <a:lnTo>
                    <a:pt x="972" y="610"/>
                  </a:lnTo>
                  <a:lnTo>
                    <a:pt x="970" y="609"/>
                  </a:lnTo>
                  <a:lnTo>
                    <a:pt x="968" y="608"/>
                  </a:lnTo>
                  <a:lnTo>
                    <a:pt x="967" y="606"/>
                  </a:lnTo>
                  <a:lnTo>
                    <a:pt x="966" y="603"/>
                  </a:lnTo>
                  <a:lnTo>
                    <a:pt x="966" y="134"/>
                  </a:lnTo>
                  <a:lnTo>
                    <a:pt x="966" y="132"/>
                  </a:lnTo>
                  <a:lnTo>
                    <a:pt x="964" y="130"/>
                  </a:lnTo>
                  <a:lnTo>
                    <a:pt x="963" y="128"/>
                  </a:lnTo>
                  <a:lnTo>
                    <a:pt x="961" y="128"/>
                  </a:lnTo>
                  <a:lnTo>
                    <a:pt x="958" y="128"/>
                  </a:lnTo>
                  <a:lnTo>
                    <a:pt x="956" y="128"/>
                  </a:lnTo>
                  <a:lnTo>
                    <a:pt x="955" y="129"/>
                  </a:lnTo>
                  <a:lnTo>
                    <a:pt x="955" y="130"/>
                  </a:lnTo>
                  <a:lnTo>
                    <a:pt x="953" y="132"/>
                  </a:lnTo>
                  <a:lnTo>
                    <a:pt x="916" y="240"/>
                  </a:lnTo>
                  <a:lnTo>
                    <a:pt x="865" y="378"/>
                  </a:lnTo>
                  <a:lnTo>
                    <a:pt x="784" y="603"/>
                  </a:lnTo>
                  <a:lnTo>
                    <a:pt x="782" y="605"/>
                  </a:lnTo>
                  <a:lnTo>
                    <a:pt x="781" y="606"/>
                  </a:lnTo>
                  <a:lnTo>
                    <a:pt x="779" y="607"/>
                  </a:lnTo>
                  <a:lnTo>
                    <a:pt x="776" y="607"/>
                  </a:lnTo>
                  <a:lnTo>
                    <a:pt x="774" y="606"/>
                  </a:lnTo>
                  <a:lnTo>
                    <a:pt x="773" y="605"/>
                  </a:lnTo>
                  <a:lnTo>
                    <a:pt x="772" y="603"/>
                  </a:lnTo>
                  <a:lnTo>
                    <a:pt x="771" y="600"/>
                  </a:lnTo>
                  <a:lnTo>
                    <a:pt x="771" y="466"/>
                  </a:lnTo>
                  <a:lnTo>
                    <a:pt x="771" y="464"/>
                  </a:lnTo>
                  <a:lnTo>
                    <a:pt x="770" y="462"/>
                  </a:lnTo>
                  <a:lnTo>
                    <a:pt x="769" y="461"/>
                  </a:lnTo>
                  <a:lnTo>
                    <a:pt x="767" y="460"/>
                  </a:lnTo>
                  <a:lnTo>
                    <a:pt x="766" y="459"/>
                  </a:lnTo>
                  <a:lnTo>
                    <a:pt x="764" y="459"/>
                  </a:lnTo>
                  <a:lnTo>
                    <a:pt x="762" y="460"/>
                  </a:lnTo>
                  <a:lnTo>
                    <a:pt x="761" y="461"/>
                  </a:lnTo>
                  <a:lnTo>
                    <a:pt x="584" y="614"/>
                  </a:lnTo>
                  <a:lnTo>
                    <a:pt x="583" y="615"/>
                  </a:lnTo>
                  <a:lnTo>
                    <a:pt x="581" y="615"/>
                  </a:lnTo>
                  <a:lnTo>
                    <a:pt x="579" y="616"/>
                  </a:lnTo>
                  <a:lnTo>
                    <a:pt x="576" y="615"/>
                  </a:lnTo>
                  <a:lnTo>
                    <a:pt x="573" y="614"/>
                  </a:lnTo>
                  <a:lnTo>
                    <a:pt x="396" y="461"/>
                  </a:lnTo>
                  <a:lnTo>
                    <a:pt x="393" y="459"/>
                  </a:lnTo>
                  <a:lnTo>
                    <a:pt x="391" y="460"/>
                  </a:lnTo>
                  <a:lnTo>
                    <a:pt x="390" y="460"/>
                  </a:lnTo>
                  <a:lnTo>
                    <a:pt x="388" y="461"/>
                  </a:lnTo>
                  <a:lnTo>
                    <a:pt x="387" y="462"/>
                  </a:lnTo>
                  <a:lnTo>
                    <a:pt x="386" y="464"/>
                  </a:lnTo>
                  <a:lnTo>
                    <a:pt x="386" y="466"/>
                  </a:lnTo>
                  <a:lnTo>
                    <a:pt x="386" y="601"/>
                  </a:lnTo>
                  <a:lnTo>
                    <a:pt x="386" y="603"/>
                  </a:lnTo>
                  <a:lnTo>
                    <a:pt x="384" y="605"/>
                  </a:lnTo>
                  <a:lnTo>
                    <a:pt x="383" y="606"/>
                  </a:lnTo>
                  <a:lnTo>
                    <a:pt x="381" y="607"/>
                  </a:lnTo>
                  <a:lnTo>
                    <a:pt x="379" y="607"/>
                  </a:lnTo>
                  <a:lnTo>
                    <a:pt x="377" y="606"/>
                  </a:lnTo>
                  <a:lnTo>
                    <a:pt x="375" y="605"/>
                  </a:lnTo>
                  <a:lnTo>
                    <a:pt x="374" y="603"/>
                  </a:lnTo>
                  <a:lnTo>
                    <a:pt x="340" y="511"/>
                  </a:lnTo>
                  <a:lnTo>
                    <a:pt x="292" y="378"/>
                  </a:lnTo>
                  <a:lnTo>
                    <a:pt x="242" y="240"/>
                  </a:lnTo>
                  <a:lnTo>
                    <a:pt x="205" y="132"/>
                  </a:lnTo>
                  <a:lnTo>
                    <a:pt x="203" y="130"/>
                  </a:lnTo>
                  <a:lnTo>
                    <a:pt x="202" y="128"/>
                  </a:lnTo>
                  <a:lnTo>
                    <a:pt x="200" y="128"/>
                  </a:lnTo>
                  <a:lnTo>
                    <a:pt x="197" y="128"/>
                  </a:lnTo>
                  <a:lnTo>
                    <a:pt x="195" y="128"/>
                  </a:lnTo>
                  <a:lnTo>
                    <a:pt x="194" y="130"/>
                  </a:lnTo>
                  <a:lnTo>
                    <a:pt x="192" y="132"/>
                  </a:lnTo>
                  <a:lnTo>
                    <a:pt x="192" y="134"/>
                  </a:lnTo>
                  <a:lnTo>
                    <a:pt x="192" y="604"/>
                  </a:lnTo>
                  <a:lnTo>
                    <a:pt x="191" y="606"/>
                  </a:lnTo>
                  <a:lnTo>
                    <a:pt x="190" y="608"/>
                  </a:lnTo>
                  <a:lnTo>
                    <a:pt x="188" y="609"/>
                  </a:lnTo>
                  <a:lnTo>
                    <a:pt x="186" y="610"/>
                  </a:lnTo>
                  <a:lnTo>
                    <a:pt x="184" y="610"/>
                  </a:lnTo>
                  <a:lnTo>
                    <a:pt x="182" y="609"/>
                  </a:lnTo>
                  <a:lnTo>
                    <a:pt x="181" y="609"/>
                  </a:lnTo>
                  <a:lnTo>
                    <a:pt x="180" y="608"/>
                  </a:lnTo>
                  <a:lnTo>
                    <a:pt x="179" y="605"/>
                  </a:lnTo>
                  <a:lnTo>
                    <a:pt x="13" y="5"/>
                  </a:lnTo>
                  <a:lnTo>
                    <a:pt x="12" y="3"/>
                  </a:lnTo>
                  <a:lnTo>
                    <a:pt x="11" y="2"/>
                  </a:lnTo>
                  <a:lnTo>
                    <a:pt x="10" y="1"/>
                  </a:lnTo>
                  <a:lnTo>
                    <a:pt x="8" y="1"/>
                  </a:lnTo>
                  <a:lnTo>
                    <a:pt x="6" y="0"/>
                  </a:lnTo>
                  <a:lnTo>
                    <a:pt x="4" y="1"/>
                  </a:lnTo>
                  <a:lnTo>
                    <a:pt x="2" y="3"/>
                  </a:lnTo>
                  <a:lnTo>
                    <a:pt x="1" y="4"/>
                  </a:lnTo>
                  <a:lnTo>
                    <a:pt x="0" y="7"/>
                  </a:lnTo>
                  <a:lnTo>
                    <a:pt x="0" y="546"/>
                  </a:lnTo>
                  <a:lnTo>
                    <a:pt x="0" y="549"/>
                  </a:lnTo>
                  <a:lnTo>
                    <a:pt x="1" y="552"/>
                  </a:lnTo>
                  <a:lnTo>
                    <a:pt x="3" y="554"/>
                  </a:lnTo>
                  <a:lnTo>
                    <a:pt x="5" y="555"/>
                  </a:lnTo>
                  <a:lnTo>
                    <a:pt x="147" y="644"/>
                  </a:lnTo>
                  <a:lnTo>
                    <a:pt x="150" y="645"/>
                  </a:lnTo>
                  <a:lnTo>
                    <a:pt x="153" y="646"/>
                  </a:lnTo>
                  <a:lnTo>
                    <a:pt x="389" y="646"/>
                  </a:lnTo>
                  <a:lnTo>
                    <a:pt x="392" y="646"/>
                  </a:lnTo>
                  <a:lnTo>
                    <a:pt x="395" y="647"/>
                  </a:lnTo>
                  <a:lnTo>
                    <a:pt x="397" y="649"/>
                  </a:lnTo>
                  <a:lnTo>
                    <a:pt x="398" y="651"/>
                  </a:lnTo>
                  <a:lnTo>
                    <a:pt x="399" y="652"/>
                  </a:lnTo>
                  <a:lnTo>
                    <a:pt x="500" y="909"/>
                  </a:lnTo>
                  <a:lnTo>
                    <a:pt x="501" y="912"/>
                  </a:lnTo>
                  <a:lnTo>
                    <a:pt x="501" y="914"/>
                  </a:lnTo>
                  <a:lnTo>
                    <a:pt x="501" y="917"/>
                  </a:lnTo>
                  <a:lnTo>
                    <a:pt x="500" y="920"/>
                  </a:lnTo>
                  <a:lnTo>
                    <a:pt x="448" y="1028"/>
                  </a:lnTo>
                  <a:lnTo>
                    <a:pt x="447" y="1030"/>
                  </a:lnTo>
                  <a:lnTo>
                    <a:pt x="447" y="1032"/>
                  </a:lnTo>
                  <a:lnTo>
                    <a:pt x="447" y="1036"/>
                  </a:lnTo>
                  <a:lnTo>
                    <a:pt x="519" y="1218"/>
                  </a:lnTo>
                  <a:lnTo>
                    <a:pt x="520" y="1221"/>
                  </a:lnTo>
                  <a:lnTo>
                    <a:pt x="523" y="1223"/>
                  </a:lnTo>
                  <a:lnTo>
                    <a:pt x="526" y="1224"/>
                  </a:lnTo>
                  <a:lnTo>
                    <a:pt x="529" y="1225"/>
                  </a:lnTo>
                  <a:lnTo>
                    <a:pt x="579" y="1225"/>
                  </a:lnTo>
                  <a:lnTo>
                    <a:pt x="629" y="1225"/>
                  </a:lnTo>
                  <a:lnTo>
                    <a:pt x="632" y="1224"/>
                  </a:lnTo>
                  <a:lnTo>
                    <a:pt x="635" y="1223"/>
                  </a:lnTo>
                  <a:lnTo>
                    <a:pt x="637" y="1221"/>
                  </a:lnTo>
                  <a:lnTo>
                    <a:pt x="638" y="1219"/>
                  </a:lnTo>
                  <a:lnTo>
                    <a:pt x="638" y="1218"/>
                  </a:lnTo>
                  <a:lnTo>
                    <a:pt x="710" y="1036"/>
                  </a:lnTo>
                  <a:lnTo>
                    <a:pt x="711" y="1034"/>
                  </a:lnTo>
                  <a:lnTo>
                    <a:pt x="711" y="1032"/>
                  </a:lnTo>
                  <a:lnTo>
                    <a:pt x="710" y="1030"/>
                  </a:lnTo>
                  <a:lnTo>
                    <a:pt x="710" y="1028"/>
                  </a:lnTo>
                  <a:lnTo>
                    <a:pt x="657" y="920"/>
                  </a:lnTo>
                  <a:lnTo>
                    <a:pt x="657" y="917"/>
                  </a:lnTo>
                  <a:lnTo>
                    <a:pt x="656" y="914"/>
                  </a:lnTo>
                  <a:lnTo>
                    <a:pt x="657" y="909"/>
                  </a:lnTo>
                  <a:lnTo>
                    <a:pt x="758" y="652"/>
                  </a:lnTo>
                  <a:lnTo>
                    <a:pt x="760" y="650"/>
                  </a:lnTo>
                  <a:lnTo>
                    <a:pt x="762" y="647"/>
                  </a:lnTo>
                  <a:lnTo>
                    <a:pt x="765" y="646"/>
                  </a:lnTo>
                  <a:lnTo>
                    <a:pt x="768" y="646"/>
                  </a:lnTo>
                  <a:lnTo>
                    <a:pt x="1006" y="646"/>
                  </a:lnTo>
                  <a:lnTo>
                    <a:pt x="1009" y="645"/>
                  </a:lnTo>
                  <a:lnTo>
                    <a:pt x="1011" y="644"/>
                  </a:lnTo>
                  <a:lnTo>
                    <a:pt x="1153" y="555"/>
                  </a:lnTo>
                  <a:lnTo>
                    <a:pt x="1155" y="554"/>
                  </a:lnTo>
                  <a:lnTo>
                    <a:pt x="1156" y="553"/>
                  </a:lnTo>
                  <a:lnTo>
                    <a:pt x="1157" y="552"/>
                  </a:lnTo>
                  <a:lnTo>
                    <a:pt x="1158" y="549"/>
                  </a:lnTo>
                  <a:lnTo>
                    <a:pt x="1158" y="546"/>
                  </a:lnTo>
                  <a:lnTo>
                    <a:pt x="1158" y="7"/>
                  </a:lnTo>
                  <a:lnTo>
                    <a:pt x="1158" y="4"/>
                  </a:lnTo>
                  <a:lnTo>
                    <a:pt x="1156" y="3"/>
                  </a:lnTo>
                  <a:lnTo>
                    <a:pt x="1154" y="1"/>
                  </a:lnTo>
                  <a:lnTo>
                    <a:pt x="1152" y="0"/>
                  </a:lnTo>
                  <a:lnTo>
                    <a:pt x="1150" y="1"/>
                  </a:lnTo>
                  <a:lnTo>
                    <a:pt x="1148" y="1"/>
                  </a:lnTo>
                  <a:lnTo>
                    <a:pt x="1146" y="3"/>
                  </a:lnTo>
                  <a:lnTo>
                    <a:pt x="1145" y="4"/>
                  </a:lnTo>
                  <a:lnTo>
                    <a:pt x="11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3" name="Freeform 7"/>
            <p:cNvSpPr>
              <a:spLocks noEditPoints="1"/>
            </p:cNvSpPr>
            <p:nvPr/>
          </p:nvSpPr>
          <p:spPr bwMode="auto">
            <a:xfrm>
              <a:off x="5386388" y="3476625"/>
              <a:ext cx="3533775" cy="933450"/>
            </a:xfrm>
            <a:custGeom>
              <a:avLst/>
              <a:gdLst>
                <a:gd name="T0" fmla="*/ 1976 w 2226"/>
                <a:gd name="T1" fmla="*/ 407 h 588"/>
                <a:gd name="T2" fmla="*/ 1967 w 2226"/>
                <a:gd name="T3" fmla="*/ 463 h 588"/>
                <a:gd name="T4" fmla="*/ 2059 w 2226"/>
                <a:gd name="T5" fmla="*/ 452 h 588"/>
                <a:gd name="T6" fmla="*/ 2077 w 2226"/>
                <a:gd name="T7" fmla="*/ 579 h 588"/>
                <a:gd name="T8" fmla="*/ 2048 w 2226"/>
                <a:gd name="T9" fmla="*/ 537 h 588"/>
                <a:gd name="T10" fmla="*/ 1914 w 2226"/>
                <a:gd name="T11" fmla="*/ 585 h 588"/>
                <a:gd name="T12" fmla="*/ 1811 w 2226"/>
                <a:gd name="T13" fmla="*/ 508 h 588"/>
                <a:gd name="T14" fmla="*/ 1836 w 2226"/>
                <a:gd name="T15" fmla="*/ 383 h 588"/>
                <a:gd name="T16" fmla="*/ 2013 w 2226"/>
                <a:gd name="T17" fmla="*/ 311 h 588"/>
                <a:gd name="T18" fmla="*/ 2045 w 2226"/>
                <a:gd name="T19" fmla="*/ 271 h 588"/>
                <a:gd name="T20" fmla="*/ 1907 w 2226"/>
                <a:gd name="T21" fmla="*/ 300 h 588"/>
                <a:gd name="T22" fmla="*/ 1866 w 2226"/>
                <a:gd name="T23" fmla="*/ 195 h 588"/>
                <a:gd name="T24" fmla="*/ 2086 w 2226"/>
                <a:gd name="T25" fmla="*/ 154 h 588"/>
                <a:gd name="T26" fmla="*/ 2190 w 2226"/>
                <a:gd name="T27" fmla="*/ 214 h 588"/>
                <a:gd name="T28" fmla="*/ 2217 w 2226"/>
                <a:gd name="T29" fmla="*/ 512 h 588"/>
                <a:gd name="T30" fmla="*/ 1994 w 2226"/>
                <a:gd name="T31" fmla="*/ 3 h 588"/>
                <a:gd name="T32" fmla="*/ 1869 w 2226"/>
                <a:gd name="T33" fmla="*/ 7 h 588"/>
                <a:gd name="T34" fmla="*/ 2172 w 2226"/>
                <a:gd name="T35" fmla="*/ 123 h 588"/>
                <a:gd name="T36" fmla="*/ 1190 w 2226"/>
                <a:gd name="T37" fmla="*/ 576 h 588"/>
                <a:gd name="T38" fmla="*/ 1121 w 2226"/>
                <a:gd name="T39" fmla="*/ 502 h 588"/>
                <a:gd name="T40" fmla="*/ 1059 w 2226"/>
                <a:gd name="T41" fmla="*/ 264 h 588"/>
                <a:gd name="T42" fmla="*/ 1170 w 2226"/>
                <a:gd name="T43" fmla="*/ 25 h 588"/>
                <a:gd name="T44" fmla="*/ 1274 w 2226"/>
                <a:gd name="T45" fmla="*/ 156 h 588"/>
                <a:gd name="T46" fmla="*/ 1374 w 2226"/>
                <a:gd name="T47" fmla="*/ 271 h 588"/>
                <a:gd name="T48" fmla="*/ 1291 w 2226"/>
                <a:gd name="T49" fmla="*/ 469 h 588"/>
                <a:gd name="T50" fmla="*/ 1370 w 2226"/>
                <a:gd name="T51" fmla="*/ 564 h 588"/>
                <a:gd name="T52" fmla="*/ 1 w 2226"/>
                <a:gd name="T53" fmla="*/ 3 h 588"/>
                <a:gd name="T54" fmla="*/ 312 w 2226"/>
                <a:gd name="T55" fmla="*/ 389 h 588"/>
                <a:gd name="T56" fmla="*/ 615 w 2226"/>
                <a:gd name="T57" fmla="*/ 572 h 588"/>
                <a:gd name="T58" fmla="*/ 463 w 2226"/>
                <a:gd name="T59" fmla="*/ 222 h 588"/>
                <a:gd name="T60" fmla="*/ 365 w 2226"/>
                <a:gd name="T61" fmla="*/ 579 h 588"/>
                <a:gd name="T62" fmla="*/ 146 w 2226"/>
                <a:gd name="T63" fmla="*/ 223 h 588"/>
                <a:gd name="T64" fmla="*/ 1 w 2226"/>
                <a:gd name="T65" fmla="*/ 576 h 588"/>
                <a:gd name="T66" fmla="*/ 795 w 2226"/>
                <a:gd name="T67" fmla="*/ 421 h 588"/>
                <a:gd name="T68" fmla="*/ 861 w 2226"/>
                <a:gd name="T69" fmla="*/ 482 h 588"/>
                <a:gd name="T70" fmla="*/ 999 w 2226"/>
                <a:gd name="T71" fmla="*/ 448 h 588"/>
                <a:gd name="T72" fmla="*/ 974 w 2226"/>
                <a:gd name="T73" fmla="*/ 574 h 588"/>
                <a:gd name="T74" fmla="*/ 772 w 2226"/>
                <a:gd name="T75" fmla="*/ 575 h 588"/>
                <a:gd name="T76" fmla="*/ 659 w 2226"/>
                <a:gd name="T77" fmla="*/ 476 h 588"/>
                <a:gd name="T78" fmla="*/ 649 w 2226"/>
                <a:gd name="T79" fmla="*/ 300 h 588"/>
                <a:gd name="T80" fmla="*/ 753 w 2226"/>
                <a:gd name="T81" fmla="*/ 177 h 588"/>
                <a:gd name="T82" fmla="*/ 901 w 2226"/>
                <a:gd name="T83" fmla="*/ 155 h 588"/>
                <a:gd name="T84" fmla="*/ 1027 w 2226"/>
                <a:gd name="T85" fmla="*/ 233 h 588"/>
                <a:gd name="T86" fmla="*/ 921 w 2226"/>
                <a:gd name="T87" fmla="*/ 325 h 588"/>
                <a:gd name="T88" fmla="*/ 895 w 2226"/>
                <a:gd name="T89" fmla="*/ 267 h 588"/>
                <a:gd name="T90" fmla="*/ 818 w 2226"/>
                <a:gd name="T91" fmla="*/ 277 h 588"/>
                <a:gd name="T92" fmla="*/ 1595 w 2226"/>
                <a:gd name="T93" fmla="*/ 588 h 588"/>
                <a:gd name="T94" fmla="*/ 1393 w 2226"/>
                <a:gd name="T95" fmla="*/ 532 h 588"/>
                <a:gd name="T96" fmla="*/ 1483 w 2226"/>
                <a:gd name="T97" fmla="*/ 465 h 588"/>
                <a:gd name="T98" fmla="*/ 1638 w 2226"/>
                <a:gd name="T99" fmla="*/ 480 h 588"/>
                <a:gd name="T100" fmla="*/ 1609 w 2226"/>
                <a:gd name="T101" fmla="*/ 434 h 588"/>
                <a:gd name="T102" fmla="*/ 1433 w 2226"/>
                <a:gd name="T103" fmla="*/ 371 h 588"/>
                <a:gd name="T104" fmla="*/ 1410 w 2226"/>
                <a:gd name="T105" fmla="*/ 261 h 588"/>
                <a:gd name="T106" fmla="*/ 1497 w 2226"/>
                <a:gd name="T107" fmla="*/ 166 h 588"/>
                <a:gd name="T108" fmla="*/ 1713 w 2226"/>
                <a:gd name="T109" fmla="*/ 174 h 588"/>
                <a:gd name="T110" fmla="*/ 1716 w 2226"/>
                <a:gd name="T111" fmla="*/ 292 h 588"/>
                <a:gd name="T112" fmla="*/ 1568 w 2226"/>
                <a:gd name="T113" fmla="*/ 256 h 588"/>
                <a:gd name="T114" fmla="*/ 1563 w 2226"/>
                <a:gd name="T115" fmla="*/ 299 h 588"/>
                <a:gd name="T116" fmla="*/ 1752 w 2226"/>
                <a:gd name="T117" fmla="*/ 356 h 588"/>
                <a:gd name="T118" fmla="*/ 1787 w 2226"/>
                <a:gd name="T119" fmla="*/ 458 h 588"/>
                <a:gd name="T120" fmla="*/ 1721 w 2226"/>
                <a:gd name="T121" fmla="*/ 55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26" h="588">
                  <a:moveTo>
                    <a:pt x="2065" y="439"/>
                  </a:moveTo>
                  <a:lnTo>
                    <a:pt x="2065" y="391"/>
                  </a:lnTo>
                  <a:lnTo>
                    <a:pt x="2064" y="389"/>
                  </a:lnTo>
                  <a:lnTo>
                    <a:pt x="2063" y="388"/>
                  </a:lnTo>
                  <a:lnTo>
                    <a:pt x="2061" y="387"/>
                  </a:lnTo>
                  <a:lnTo>
                    <a:pt x="2060" y="387"/>
                  </a:lnTo>
                  <a:lnTo>
                    <a:pt x="2047" y="388"/>
                  </a:lnTo>
                  <a:lnTo>
                    <a:pt x="2035" y="389"/>
                  </a:lnTo>
                  <a:lnTo>
                    <a:pt x="2024" y="390"/>
                  </a:lnTo>
                  <a:lnTo>
                    <a:pt x="2014" y="392"/>
                  </a:lnTo>
                  <a:lnTo>
                    <a:pt x="2004" y="395"/>
                  </a:lnTo>
                  <a:lnTo>
                    <a:pt x="1996" y="397"/>
                  </a:lnTo>
                  <a:lnTo>
                    <a:pt x="1988" y="400"/>
                  </a:lnTo>
                  <a:lnTo>
                    <a:pt x="1981" y="403"/>
                  </a:lnTo>
                  <a:lnTo>
                    <a:pt x="1976" y="407"/>
                  </a:lnTo>
                  <a:lnTo>
                    <a:pt x="1971" y="411"/>
                  </a:lnTo>
                  <a:lnTo>
                    <a:pt x="1966" y="415"/>
                  </a:lnTo>
                  <a:lnTo>
                    <a:pt x="1963" y="420"/>
                  </a:lnTo>
                  <a:lnTo>
                    <a:pt x="1960" y="425"/>
                  </a:lnTo>
                  <a:lnTo>
                    <a:pt x="1958" y="430"/>
                  </a:lnTo>
                  <a:lnTo>
                    <a:pt x="1957" y="435"/>
                  </a:lnTo>
                  <a:lnTo>
                    <a:pt x="1957" y="441"/>
                  </a:lnTo>
                  <a:lnTo>
                    <a:pt x="1957" y="445"/>
                  </a:lnTo>
                  <a:lnTo>
                    <a:pt x="1958" y="448"/>
                  </a:lnTo>
                  <a:lnTo>
                    <a:pt x="1958" y="451"/>
                  </a:lnTo>
                  <a:lnTo>
                    <a:pt x="1959" y="454"/>
                  </a:lnTo>
                  <a:lnTo>
                    <a:pt x="1961" y="457"/>
                  </a:lnTo>
                  <a:lnTo>
                    <a:pt x="1963" y="459"/>
                  </a:lnTo>
                  <a:lnTo>
                    <a:pt x="1965" y="461"/>
                  </a:lnTo>
                  <a:lnTo>
                    <a:pt x="1967" y="463"/>
                  </a:lnTo>
                  <a:lnTo>
                    <a:pt x="1972" y="467"/>
                  </a:lnTo>
                  <a:lnTo>
                    <a:pt x="1975" y="468"/>
                  </a:lnTo>
                  <a:lnTo>
                    <a:pt x="1978" y="469"/>
                  </a:lnTo>
                  <a:lnTo>
                    <a:pt x="1984" y="470"/>
                  </a:lnTo>
                  <a:lnTo>
                    <a:pt x="1991" y="471"/>
                  </a:lnTo>
                  <a:lnTo>
                    <a:pt x="2005" y="470"/>
                  </a:lnTo>
                  <a:lnTo>
                    <a:pt x="2011" y="470"/>
                  </a:lnTo>
                  <a:lnTo>
                    <a:pt x="2017" y="469"/>
                  </a:lnTo>
                  <a:lnTo>
                    <a:pt x="2023" y="468"/>
                  </a:lnTo>
                  <a:lnTo>
                    <a:pt x="2028" y="467"/>
                  </a:lnTo>
                  <a:lnTo>
                    <a:pt x="2037" y="464"/>
                  </a:lnTo>
                  <a:lnTo>
                    <a:pt x="2045" y="461"/>
                  </a:lnTo>
                  <a:lnTo>
                    <a:pt x="2051" y="458"/>
                  </a:lnTo>
                  <a:lnTo>
                    <a:pt x="2056" y="454"/>
                  </a:lnTo>
                  <a:lnTo>
                    <a:pt x="2059" y="452"/>
                  </a:lnTo>
                  <a:lnTo>
                    <a:pt x="2061" y="450"/>
                  </a:lnTo>
                  <a:lnTo>
                    <a:pt x="2063" y="447"/>
                  </a:lnTo>
                  <a:lnTo>
                    <a:pt x="2064" y="443"/>
                  </a:lnTo>
                  <a:lnTo>
                    <a:pt x="2065" y="440"/>
                  </a:lnTo>
                  <a:lnTo>
                    <a:pt x="2065" y="439"/>
                  </a:lnTo>
                  <a:close/>
                  <a:moveTo>
                    <a:pt x="2225" y="572"/>
                  </a:moveTo>
                  <a:lnTo>
                    <a:pt x="2226" y="575"/>
                  </a:lnTo>
                  <a:lnTo>
                    <a:pt x="2225" y="577"/>
                  </a:lnTo>
                  <a:lnTo>
                    <a:pt x="2225" y="578"/>
                  </a:lnTo>
                  <a:lnTo>
                    <a:pt x="2224" y="579"/>
                  </a:lnTo>
                  <a:lnTo>
                    <a:pt x="2221" y="579"/>
                  </a:lnTo>
                  <a:lnTo>
                    <a:pt x="2220" y="579"/>
                  </a:lnTo>
                  <a:lnTo>
                    <a:pt x="2081" y="579"/>
                  </a:lnTo>
                  <a:lnTo>
                    <a:pt x="2079" y="579"/>
                  </a:lnTo>
                  <a:lnTo>
                    <a:pt x="2077" y="579"/>
                  </a:lnTo>
                  <a:lnTo>
                    <a:pt x="2074" y="577"/>
                  </a:lnTo>
                  <a:lnTo>
                    <a:pt x="2073" y="574"/>
                  </a:lnTo>
                  <a:lnTo>
                    <a:pt x="2072" y="572"/>
                  </a:lnTo>
                  <a:lnTo>
                    <a:pt x="2069" y="560"/>
                  </a:lnTo>
                  <a:lnTo>
                    <a:pt x="2067" y="548"/>
                  </a:lnTo>
                  <a:lnTo>
                    <a:pt x="2065" y="537"/>
                  </a:lnTo>
                  <a:lnTo>
                    <a:pt x="2065" y="526"/>
                  </a:lnTo>
                  <a:lnTo>
                    <a:pt x="2064" y="524"/>
                  </a:lnTo>
                  <a:lnTo>
                    <a:pt x="2064" y="522"/>
                  </a:lnTo>
                  <a:lnTo>
                    <a:pt x="2063" y="522"/>
                  </a:lnTo>
                  <a:lnTo>
                    <a:pt x="2062" y="522"/>
                  </a:lnTo>
                  <a:lnTo>
                    <a:pt x="2061" y="523"/>
                  </a:lnTo>
                  <a:lnTo>
                    <a:pt x="2060" y="524"/>
                  </a:lnTo>
                  <a:lnTo>
                    <a:pt x="2054" y="531"/>
                  </a:lnTo>
                  <a:lnTo>
                    <a:pt x="2048" y="537"/>
                  </a:lnTo>
                  <a:lnTo>
                    <a:pt x="2042" y="544"/>
                  </a:lnTo>
                  <a:lnTo>
                    <a:pt x="2035" y="549"/>
                  </a:lnTo>
                  <a:lnTo>
                    <a:pt x="2028" y="555"/>
                  </a:lnTo>
                  <a:lnTo>
                    <a:pt x="2021" y="560"/>
                  </a:lnTo>
                  <a:lnTo>
                    <a:pt x="2013" y="564"/>
                  </a:lnTo>
                  <a:lnTo>
                    <a:pt x="2005" y="569"/>
                  </a:lnTo>
                  <a:lnTo>
                    <a:pt x="1996" y="573"/>
                  </a:lnTo>
                  <a:lnTo>
                    <a:pt x="1987" y="576"/>
                  </a:lnTo>
                  <a:lnTo>
                    <a:pt x="1978" y="579"/>
                  </a:lnTo>
                  <a:lnTo>
                    <a:pt x="1968" y="581"/>
                  </a:lnTo>
                  <a:lnTo>
                    <a:pt x="1958" y="583"/>
                  </a:lnTo>
                  <a:lnTo>
                    <a:pt x="1948" y="584"/>
                  </a:lnTo>
                  <a:lnTo>
                    <a:pt x="1937" y="585"/>
                  </a:lnTo>
                  <a:lnTo>
                    <a:pt x="1925" y="586"/>
                  </a:lnTo>
                  <a:lnTo>
                    <a:pt x="1914" y="585"/>
                  </a:lnTo>
                  <a:lnTo>
                    <a:pt x="1903" y="584"/>
                  </a:lnTo>
                  <a:lnTo>
                    <a:pt x="1892" y="582"/>
                  </a:lnTo>
                  <a:lnTo>
                    <a:pt x="1881" y="579"/>
                  </a:lnTo>
                  <a:lnTo>
                    <a:pt x="1871" y="574"/>
                  </a:lnTo>
                  <a:lnTo>
                    <a:pt x="1861" y="570"/>
                  </a:lnTo>
                  <a:lnTo>
                    <a:pt x="1856" y="567"/>
                  </a:lnTo>
                  <a:lnTo>
                    <a:pt x="1851" y="564"/>
                  </a:lnTo>
                  <a:lnTo>
                    <a:pt x="1843" y="557"/>
                  </a:lnTo>
                  <a:lnTo>
                    <a:pt x="1835" y="549"/>
                  </a:lnTo>
                  <a:lnTo>
                    <a:pt x="1827" y="540"/>
                  </a:lnTo>
                  <a:lnTo>
                    <a:pt x="1824" y="536"/>
                  </a:lnTo>
                  <a:lnTo>
                    <a:pt x="1821" y="531"/>
                  </a:lnTo>
                  <a:lnTo>
                    <a:pt x="1816" y="520"/>
                  </a:lnTo>
                  <a:lnTo>
                    <a:pt x="1813" y="514"/>
                  </a:lnTo>
                  <a:lnTo>
                    <a:pt x="1811" y="508"/>
                  </a:lnTo>
                  <a:lnTo>
                    <a:pt x="1808" y="495"/>
                  </a:lnTo>
                  <a:lnTo>
                    <a:pt x="1806" y="481"/>
                  </a:lnTo>
                  <a:lnTo>
                    <a:pt x="1806" y="474"/>
                  </a:lnTo>
                  <a:lnTo>
                    <a:pt x="1805" y="466"/>
                  </a:lnTo>
                  <a:lnTo>
                    <a:pt x="1806" y="458"/>
                  </a:lnTo>
                  <a:lnTo>
                    <a:pt x="1806" y="449"/>
                  </a:lnTo>
                  <a:lnTo>
                    <a:pt x="1808" y="441"/>
                  </a:lnTo>
                  <a:lnTo>
                    <a:pt x="1809" y="433"/>
                  </a:lnTo>
                  <a:lnTo>
                    <a:pt x="1812" y="425"/>
                  </a:lnTo>
                  <a:lnTo>
                    <a:pt x="1814" y="418"/>
                  </a:lnTo>
                  <a:lnTo>
                    <a:pt x="1818" y="410"/>
                  </a:lnTo>
                  <a:lnTo>
                    <a:pt x="1822" y="403"/>
                  </a:lnTo>
                  <a:lnTo>
                    <a:pt x="1826" y="396"/>
                  </a:lnTo>
                  <a:lnTo>
                    <a:pt x="1831" y="390"/>
                  </a:lnTo>
                  <a:lnTo>
                    <a:pt x="1836" y="383"/>
                  </a:lnTo>
                  <a:lnTo>
                    <a:pt x="1842" y="377"/>
                  </a:lnTo>
                  <a:lnTo>
                    <a:pt x="1848" y="371"/>
                  </a:lnTo>
                  <a:lnTo>
                    <a:pt x="1855" y="365"/>
                  </a:lnTo>
                  <a:lnTo>
                    <a:pt x="1862" y="360"/>
                  </a:lnTo>
                  <a:lnTo>
                    <a:pt x="1869" y="355"/>
                  </a:lnTo>
                  <a:lnTo>
                    <a:pt x="1886" y="345"/>
                  </a:lnTo>
                  <a:lnTo>
                    <a:pt x="1895" y="341"/>
                  </a:lnTo>
                  <a:lnTo>
                    <a:pt x="1905" y="337"/>
                  </a:lnTo>
                  <a:lnTo>
                    <a:pt x="1915" y="333"/>
                  </a:lnTo>
                  <a:lnTo>
                    <a:pt x="1926" y="329"/>
                  </a:lnTo>
                  <a:lnTo>
                    <a:pt x="1948" y="323"/>
                  </a:lnTo>
                  <a:lnTo>
                    <a:pt x="1960" y="320"/>
                  </a:lnTo>
                  <a:lnTo>
                    <a:pt x="1973" y="317"/>
                  </a:lnTo>
                  <a:lnTo>
                    <a:pt x="1999" y="313"/>
                  </a:lnTo>
                  <a:lnTo>
                    <a:pt x="2013" y="311"/>
                  </a:lnTo>
                  <a:lnTo>
                    <a:pt x="2027" y="310"/>
                  </a:lnTo>
                  <a:lnTo>
                    <a:pt x="2057" y="308"/>
                  </a:lnTo>
                  <a:lnTo>
                    <a:pt x="2061" y="307"/>
                  </a:lnTo>
                  <a:lnTo>
                    <a:pt x="2064" y="306"/>
                  </a:lnTo>
                  <a:lnTo>
                    <a:pt x="2065" y="305"/>
                  </a:lnTo>
                  <a:lnTo>
                    <a:pt x="2065" y="302"/>
                  </a:lnTo>
                  <a:lnTo>
                    <a:pt x="2064" y="295"/>
                  </a:lnTo>
                  <a:lnTo>
                    <a:pt x="2063" y="291"/>
                  </a:lnTo>
                  <a:lnTo>
                    <a:pt x="2063" y="288"/>
                  </a:lnTo>
                  <a:lnTo>
                    <a:pt x="2061" y="285"/>
                  </a:lnTo>
                  <a:lnTo>
                    <a:pt x="2060" y="282"/>
                  </a:lnTo>
                  <a:lnTo>
                    <a:pt x="2055" y="277"/>
                  </a:lnTo>
                  <a:lnTo>
                    <a:pt x="2052" y="275"/>
                  </a:lnTo>
                  <a:lnTo>
                    <a:pt x="2049" y="273"/>
                  </a:lnTo>
                  <a:lnTo>
                    <a:pt x="2045" y="271"/>
                  </a:lnTo>
                  <a:lnTo>
                    <a:pt x="2041" y="269"/>
                  </a:lnTo>
                  <a:lnTo>
                    <a:pt x="2031" y="267"/>
                  </a:lnTo>
                  <a:lnTo>
                    <a:pt x="2025" y="267"/>
                  </a:lnTo>
                  <a:lnTo>
                    <a:pt x="2018" y="267"/>
                  </a:lnTo>
                  <a:lnTo>
                    <a:pt x="2009" y="267"/>
                  </a:lnTo>
                  <a:lnTo>
                    <a:pt x="2000" y="268"/>
                  </a:lnTo>
                  <a:lnTo>
                    <a:pt x="1992" y="269"/>
                  </a:lnTo>
                  <a:lnTo>
                    <a:pt x="1983" y="270"/>
                  </a:lnTo>
                  <a:lnTo>
                    <a:pt x="1974" y="272"/>
                  </a:lnTo>
                  <a:lnTo>
                    <a:pt x="1966" y="274"/>
                  </a:lnTo>
                  <a:lnTo>
                    <a:pt x="1958" y="277"/>
                  </a:lnTo>
                  <a:lnTo>
                    <a:pt x="1950" y="280"/>
                  </a:lnTo>
                  <a:lnTo>
                    <a:pt x="1934" y="286"/>
                  </a:lnTo>
                  <a:lnTo>
                    <a:pt x="1920" y="293"/>
                  </a:lnTo>
                  <a:lnTo>
                    <a:pt x="1907" y="300"/>
                  </a:lnTo>
                  <a:lnTo>
                    <a:pt x="1895" y="308"/>
                  </a:lnTo>
                  <a:lnTo>
                    <a:pt x="1893" y="309"/>
                  </a:lnTo>
                  <a:lnTo>
                    <a:pt x="1891" y="309"/>
                  </a:lnTo>
                  <a:lnTo>
                    <a:pt x="1889" y="309"/>
                  </a:lnTo>
                  <a:lnTo>
                    <a:pt x="1888" y="309"/>
                  </a:lnTo>
                  <a:lnTo>
                    <a:pt x="1886" y="307"/>
                  </a:lnTo>
                  <a:lnTo>
                    <a:pt x="1885" y="306"/>
                  </a:lnTo>
                  <a:lnTo>
                    <a:pt x="1830" y="230"/>
                  </a:lnTo>
                  <a:lnTo>
                    <a:pt x="1828" y="227"/>
                  </a:lnTo>
                  <a:lnTo>
                    <a:pt x="1828" y="225"/>
                  </a:lnTo>
                  <a:lnTo>
                    <a:pt x="1829" y="224"/>
                  </a:lnTo>
                  <a:lnTo>
                    <a:pt x="1830" y="221"/>
                  </a:lnTo>
                  <a:lnTo>
                    <a:pt x="1831" y="220"/>
                  </a:lnTo>
                  <a:lnTo>
                    <a:pt x="1847" y="207"/>
                  </a:lnTo>
                  <a:lnTo>
                    <a:pt x="1866" y="195"/>
                  </a:lnTo>
                  <a:lnTo>
                    <a:pt x="1876" y="189"/>
                  </a:lnTo>
                  <a:lnTo>
                    <a:pt x="1887" y="184"/>
                  </a:lnTo>
                  <a:lnTo>
                    <a:pt x="1899" y="178"/>
                  </a:lnTo>
                  <a:lnTo>
                    <a:pt x="1912" y="173"/>
                  </a:lnTo>
                  <a:lnTo>
                    <a:pt x="1925" y="169"/>
                  </a:lnTo>
                  <a:lnTo>
                    <a:pt x="1939" y="165"/>
                  </a:lnTo>
                  <a:lnTo>
                    <a:pt x="1954" y="161"/>
                  </a:lnTo>
                  <a:lnTo>
                    <a:pt x="1970" y="158"/>
                  </a:lnTo>
                  <a:lnTo>
                    <a:pt x="1987" y="155"/>
                  </a:lnTo>
                  <a:lnTo>
                    <a:pt x="2005" y="153"/>
                  </a:lnTo>
                  <a:lnTo>
                    <a:pt x="2023" y="152"/>
                  </a:lnTo>
                  <a:lnTo>
                    <a:pt x="2043" y="152"/>
                  </a:lnTo>
                  <a:lnTo>
                    <a:pt x="2054" y="152"/>
                  </a:lnTo>
                  <a:lnTo>
                    <a:pt x="2065" y="152"/>
                  </a:lnTo>
                  <a:lnTo>
                    <a:pt x="2086" y="154"/>
                  </a:lnTo>
                  <a:lnTo>
                    <a:pt x="2096" y="156"/>
                  </a:lnTo>
                  <a:lnTo>
                    <a:pt x="2105" y="158"/>
                  </a:lnTo>
                  <a:lnTo>
                    <a:pt x="2114" y="160"/>
                  </a:lnTo>
                  <a:lnTo>
                    <a:pt x="2122" y="163"/>
                  </a:lnTo>
                  <a:lnTo>
                    <a:pt x="2130" y="166"/>
                  </a:lnTo>
                  <a:lnTo>
                    <a:pt x="2138" y="169"/>
                  </a:lnTo>
                  <a:lnTo>
                    <a:pt x="2145" y="172"/>
                  </a:lnTo>
                  <a:lnTo>
                    <a:pt x="2152" y="176"/>
                  </a:lnTo>
                  <a:lnTo>
                    <a:pt x="2159" y="181"/>
                  </a:lnTo>
                  <a:lnTo>
                    <a:pt x="2165" y="185"/>
                  </a:lnTo>
                  <a:lnTo>
                    <a:pt x="2170" y="190"/>
                  </a:lnTo>
                  <a:lnTo>
                    <a:pt x="2176" y="196"/>
                  </a:lnTo>
                  <a:lnTo>
                    <a:pt x="2181" y="201"/>
                  </a:lnTo>
                  <a:lnTo>
                    <a:pt x="2186" y="207"/>
                  </a:lnTo>
                  <a:lnTo>
                    <a:pt x="2190" y="214"/>
                  </a:lnTo>
                  <a:lnTo>
                    <a:pt x="2194" y="220"/>
                  </a:lnTo>
                  <a:lnTo>
                    <a:pt x="2197" y="227"/>
                  </a:lnTo>
                  <a:lnTo>
                    <a:pt x="2201" y="235"/>
                  </a:lnTo>
                  <a:lnTo>
                    <a:pt x="2204" y="242"/>
                  </a:lnTo>
                  <a:lnTo>
                    <a:pt x="2206" y="251"/>
                  </a:lnTo>
                  <a:lnTo>
                    <a:pt x="2209" y="259"/>
                  </a:lnTo>
                  <a:lnTo>
                    <a:pt x="2211" y="268"/>
                  </a:lnTo>
                  <a:lnTo>
                    <a:pt x="2212" y="277"/>
                  </a:lnTo>
                  <a:lnTo>
                    <a:pt x="2214" y="287"/>
                  </a:lnTo>
                  <a:lnTo>
                    <a:pt x="2215" y="296"/>
                  </a:lnTo>
                  <a:lnTo>
                    <a:pt x="2215" y="307"/>
                  </a:lnTo>
                  <a:lnTo>
                    <a:pt x="2216" y="317"/>
                  </a:lnTo>
                  <a:lnTo>
                    <a:pt x="2216" y="328"/>
                  </a:lnTo>
                  <a:lnTo>
                    <a:pt x="2216" y="478"/>
                  </a:lnTo>
                  <a:lnTo>
                    <a:pt x="2217" y="512"/>
                  </a:lnTo>
                  <a:lnTo>
                    <a:pt x="2218" y="539"/>
                  </a:lnTo>
                  <a:lnTo>
                    <a:pt x="2220" y="549"/>
                  </a:lnTo>
                  <a:lnTo>
                    <a:pt x="2221" y="559"/>
                  </a:lnTo>
                  <a:lnTo>
                    <a:pt x="2223" y="566"/>
                  </a:lnTo>
                  <a:lnTo>
                    <a:pt x="2225" y="572"/>
                  </a:lnTo>
                  <a:close/>
                  <a:moveTo>
                    <a:pt x="1869" y="7"/>
                  </a:moveTo>
                  <a:lnTo>
                    <a:pt x="1869" y="5"/>
                  </a:lnTo>
                  <a:lnTo>
                    <a:pt x="1870" y="3"/>
                  </a:lnTo>
                  <a:lnTo>
                    <a:pt x="1873" y="0"/>
                  </a:lnTo>
                  <a:lnTo>
                    <a:pt x="1875" y="0"/>
                  </a:lnTo>
                  <a:lnTo>
                    <a:pt x="1877" y="0"/>
                  </a:lnTo>
                  <a:lnTo>
                    <a:pt x="1987" y="0"/>
                  </a:lnTo>
                  <a:lnTo>
                    <a:pt x="1989" y="0"/>
                  </a:lnTo>
                  <a:lnTo>
                    <a:pt x="1991" y="1"/>
                  </a:lnTo>
                  <a:lnTo>
                    <a:pt x="1994" y="3"/>
                  </a:lnTo>
                  <a:lnTo>
                    <a:pt x="1994" y="6"/>
                  </a:lnTo>
                  <a:lnTo>
                    <a:pt x="1995" y="7"/>
                  </a:lnTo>
                  <a:lnTo>
                    <a:pt x="1995" y="121"/>
                  </a:lnTo>
                  <a:lnTo>
                    <a:pt x="1994" y="123"/>
                  </a:lnTo>
                  <a:lnTo>
                    <a:pt x="1993" y="125"/>
                  </a:lnTo>
                  <a:lnTo>
                    <a:pt x="1991" y="128"/>
                  </a:lnTo>
                  <a:lnTo>
                    <a:pt x="1988" y="128"/>
                  </a:lnTo>
                  <a:lnTo>
                    <a:pt x="1987" y="129"/>
                  </a:lnTo>
                  <a:lnTo>
                    <a:pt x="1877" y="129"/>
                  </a:lnTo>
                  <a:lnTo>
                    <a:pt x="1874" y="128"/>
                  </a:lnTo>
                  <a:lnTo>
                    <a:pt x="1872" y="127"/>
                  </a:lnTo>
                  <a:lnTo>
                    <a:pt x="1870" y="125"/>
                  </a:lnTo>
                  <a:lnTo>
                    <a:pt x="1869" y="122"/>
                  </a:lnTo>
                  <a:lnTo>
                    <a:pt x="1869" y="121"/>
                  </a:lnTo>
                  <a:lnTo>
                    <a:pt x="1869" y="7"/>
                  </a:lnTo>
                  <a:close/>
                  <a:moveTo>
                    <a:pt x="2047" y="121"/>
                  </a:moveTo>
                  <a:lnTo>
                    <a:pt x="2047" y="7"/>
                  </a:lnTo>
                  <a:lnTo>
                    <a:pt x="2047" y="5"/>
                  </a:lnTo>
                  <a:lnTo>
                    <a:pt x="2048" y="3"/>
                  </a:lnTo>
                  <a:lnTo>
                    <a:pt x="2051" y="0"/>
                  </a:lnTo>
                  <a:lnTo>
                    <a:pt x="2053" y="0"/>
                  </a:lnTo>
                  <a:lnTo>
                    <a:pt x="2054" y="0"/>
                  </a:lnTo>
                  <a:lnTo>
                    <a:pt x="2165" y="0"/>
                  </a:lnTo>
                  <a:lnTo>
                    <a:pt x="2167" y="0"/>
                  </a:lnTo>
                  <a:lnTo>
                    <a:pt x="2169" y="1"/>
                  </a:lnTo>
                  <a:lnTo>
                    <a:pt x="2171" y="3"/>
                  </a:lnTo>
                  <a:lnTo>
                    <a:pt x="2172" y="6"/>
                  </a:lnTo>
                  <a:lnTo>
                    <a:pt x="2172" y="7"/>
                  </a:lnTo>
                  <a:lnTo>
                    <a:pt x="2172" y="121"/>
                  </a:lnTo>
                  <a:lnTo>
                    <a:pt x="2172" y="123"/>
                  </a:lnTo>
                  <a:lnTo>
                    <a:pt x="2171" y="125"/>
                  </a:lnTo>
                  <a:lnTo>
                    <a:pt x="2169" y="127"/>
                  </a:lnTo>
                  <a:lnTo>
                    <a:pt x="2166" y="128"/>
                  </a:lnTo>
                  <a:lnTo>
                    <a:pt x="2165" y="128"/>
                  </a:lnTo>
                  <a:lnTo>
                    <a:pt x="2054" y="128"/>
                  </a:lnTo>
                  <a:lnTo>
                    <a:pt x="2052" y="128"/>
                  </a:lnTo>
                  <a:lnTo>
                    <a:pt x="2050" y="127"/>
                  </a:lnTo>
                  <a:lnTo>
                    <a:pt x="2048" y="125"/>
                  </a:lnTo>
                  <a:lnTo>
                    <a:pt x="2047" y="122"/>
                  </a:lnTo>
                  <a:lnTo>
                    <a:pt x="2047" y="121"/>
                  </a:lnTo>
                  <a:close/>
                  <a:moveTo>
                    <a:pt x="1274" y="585"/>
                  </a:moveTo>
                  <a:lnTo>
                    <a:pt x="1249" y="584"/>
                  </a:lnTo>
                  <a:lnTo>
                    <a:pt x="1226" y="583"/>
                  </a:lnTo>
                  <a:lnTo>
                    <a:pt x="1207" y="580"/>
                  </a:lnTo>
                  <a:lnTo>
                    <a:pt x="1190" y="576"/>
                  </a:lnTo>
                  <a:lnTo>
                    <a:pt x="1175" y="571"/>
                  </a:lnTo>
                  <a:lnTo>
                    <a:pt x="1168" y="568"/>
                  </a:lnTo>
                  <a:lnTo>
                    <a:pt x="1162" y="565"/>
                  </a:lnTo>
                  <a:lnTo>
                    <a:pt x="1156" y="561"/>
                  </a:lnTo>
                  <a:lnTo>
                    <a:pt x="1151" y="558"/>
                  </a:lnTo>
                  <a:lnTo>
                    <a:pt x="1149" y="556"/>
                  </a:lnTo>
                  <a:lnTo>
                    <a:pt x="1147" y="554"/>
                  </a:lnTo>
                  <a:lnTo>
                    <a:pt x="1143" y="550"/>
                  </a:lnTo>
                  <a:lnTo>
                    <a:pt x="1139" y="545"/>
                  </a:lnTo>
                  <a:lnTo>
                    <a:pt x="1135" y="541"/>
                  </a:lnTo>
                  <a:lnTo>
                    <a:pt x="1130" y="531"/>
                  </a:lnTo>
                  <a:lnTo>
                    <a:pt x="1127" y="525"/>
                  </a:lnTo>
                  <a:lnTo>
                    <a:pt x="1125" y="520"/>
                  </a:lnTo>
                  <a:lnTo>
                    <a:pt x="1122" y="508"/>
                  </a:lnTo>
                  <a:lnTo>
                    <a:pt x="1121" y="502"/>
                  </a:lnTo>
                  <a:lnTo>
                    <a:pt x="1120" y="496"/>
                  </a:lnTo>
                  <a:lnTo>
                    <a:pt x="1119" y="482"/>
                  </a:lnTo>
                  <a:lnTo>
                    <a:pt x="1118" y="468"/>
                  </a:lnTo>
                  <a:lnTo>
                    <a:pt x="1118" y="453"/>
                  </a:lnTo>
                  <a:lnTo>
                    <a:pt x="1118" y="278"/>
                  </a:lnTo>
                  <a:lnTo>
                    <a:pt x="1117" y="276"/>
                  </a:lnTo>
                  <a:lnTo>
                    <a:pt x="1117" y="274"/>
                  </a:lnTo>
                  <a:lnTo>
                    <a:pt x="1114" y="272"/>
                  </a:lnTo>
                  <a:lnTo>
                    <a:pt x="1111" y="271"/>
                  </a:lnTo>
                  <a:lnTo>
                    <a:pt x="1110" y="271"/>
                  </a:lnTo>
                  <a:lnTo>
                    <a:pt x="1067" y="271"/>
                  </a:lnTo>
                  <a:lnTo>
                    <a:pt x="1064" y="270"/>
                  </a:lnTo>
                  <a:lnTo>
                    <a:pt x="1062" y="269"/>
                  </a:lnTo>
                  <a:lnTo>
                    <a:pt x="1060" y="267"/>
                  </a:lnTo>
                  <a:lnTo>
                    <a:pt x="1059" y="264"/>
                  </a:lnTo>
                  <a:lnTo>
                    <a:pt x="1059" y="263"/>
                  </a:lnTo>
                  <a:lnTo>
                    <a:pt x="1059" y="167"/>
                  </a:lnTo>
                  <a:lnTo>
                    <a:pt x="1059" y="164"/>
                  </a:lnTo>
                  <a:lnTo>
                    <a:pt x="1060" y="162"/>
                  </a:lnTo>
                  <a:lnTo>
                    <a:pt x="1063" y="160"/>
                  </a:lnTo>
                  <a:lnTo>
                    <a:pt x="1065" y="159"/>
                  </a:lnTo>
                  <a:lnTo>
                    <a:pt x="1067" y="159"/>
                  </a:lnTo>
                  <a:lnTo>
                    <a:pt x="1110" y="159"/>
                  </a:lnTo>
                  <a:lnTo>
                    <a:pt x="1113" y="159"/>
                  </a:lnTo>
                  <a:lnTo>
                    <a:pt x="1115" y="158"/>
                  </a:lnTo>
                  <a:lnTo>
                    <a:pt x="1117" y="157"/>
                  </a:lnTo>
                  <a:lnTo>
                    <a:pt x="1118" y="156"/>
                  </a:lnTo>
                  <a:lnTo>
                    <a:pt x="1120" y="153"/>
                  </a:lnTo>
                  <a:lnTo>
                    <a:pt x="1121" y="152"/>
                  </a:lnTo>
                  <a:lnTo>
                    <a:pt x="1170" y="25"/>
                  </a:lnTo>
                  <a:lnTo>
                    <a:pt x="1171" y="23"/>
                  </a:lnTo>
                  <a:lnTo>
                    <a:pt x="1173" y="21"/>
                  </a:lnTo>
                  <a:lnTo>
                    <a:pt x="1175" y="20"/>
                  </a:lnTo>
                  <a:lnTo>
                    <a:pt x="1176" y="19"/>
                  </a:lnTo>
                  <a:lnTo>
                    <a:pt x="1179" y="18"/>
                  </a:lnTo>
                  <a:lnTo>
                    <a:pt x="1180" y="18"/>
                  </a:lnTo>
                  <a:lnTo>
                    <a:pt x="1265" y="18"/>
                  </a:lnTo>
                  <a:lnTo>
                    <a:pt x="1268" y="19"/>
                  </a:lnTo>
                  <a:lnTo>
                    <a:pt x="1270" y="19"/>
                  </a:lnTo>
                  <a:lnTo>
                    <a:pt x="1272" y="22"/>
                  </a:lnTo>
                  <a:lnTo>
                    <a:pt x="1273" y="25"/>
                  </a:lnTo>
                  <a:lnTo>
                    <a:pt x="1273" y="26"/>
                  </a:lnTo>
                  <a:lnTo>
                    <a:pt x="1273" y="152"/>
                  </a:lnTo>
                  <a:lnTo>
                    <a:pt x="1273" y="154"/>
                  </a:lnTo>
                  <a:lnTo>
                    <a:pt x="1274" y="156"/>
                  </a:lnTo>
                  <a:lnTo>
                    <a:pt x="1277" y="158"/>
                  </a:lnTo>
                  <a:lnTo>
                    <a:pt x="1279" y="159"/>
                  </a:lnTo>
                  <a:lnTo>
                    <a:pt x="1281" y="159"/>
                  </a:lnTo>
                  <a:lnTo>
                    <a:pt x="1374" y="159"/>
                  </a:lnTo>
                  <a:lnTo>
                    <a:pt x="1376" y="160"/>
                  </a:lnTo>
                  <a:lnTo>
                    <a:pt x="1378" y="161"/>
                  </a:lnTo>
                  <a:lnTo>
                    <a:pt x="1381" y="163"/>
                  </a:lnTo>
                  <a:lnTo>
                    <a:pt x="1381" y="166"/>
                  </a:lnTo>
                  <a:lnTo>
                    <a:pt x="1381" y="167"/>
                  </a:lnTo>
                  <a:lnTo>
                    <a:pt x="1381" y="263"/>
                  </a:lnTo>
                  <a:lnTo>
                    <a:pt x="1381" y="266"/>
                  </a:lnTo>
                  <a:lnTo>
                    <a:pt x="1380" y="268"/>
                  </a:lnTo>
                  <a:lnTo>
                    <a:pt x="1378" y="270"/>
                  </a:lnTo>
                  <a:lnTo>
                    <a:pt x="1375" y="271"/>
                  </a:lnTo>
                  <a:lnTo>
                    <a:pt x="1374" y="271"/>
                  </a:lnTo>
                  <a:lnTo>
                    <a:pt x="1281" y="271"/>
                  </a:lnTo>
                  <a:lnTo>
                    <a:pt x="1278" y="271"/>
                  </a:lnTo>
                  <a:lnTo>
                    <a:pt x="1276" y="272"/>
                  </a:lnTo>
                  <a:lnTo>
                    <a:pt x="1274" y="275"/>
                  </a:lnTo>
                  <a:lnTo>
                    <a:pt x="1273" y="277"/>
                  </a:lnTo>
                  <a:lnTo>
                    <a:pt x="1273" y="278"/>
                  </a:lnTo>
                  <a:lnTo>
                    <a:pt x="1273" y="419"/>
                  </a:lnTo>
                  <a:lnTo>
                    <a:pt x="1274" y="434"/>
                  </a:lnTo>
                  <a:lnTo>
                    <a:pt x="1275" y="446"/>
                  </a:lnTo>
                  <a:lnTo>
                    <a:pt x="1277" y="452"/>
                  </a:lnTo>
                  <a:lnTo>
                    <a:pt x="1279" y="456"/>
                  </a:lnTo>
                  <a:lnTo>
                    <a:pt x="1281" y="460"/>
                  </a:lnTo>
                  <a:lnTo>
                    <a:pt x="1284" y="463"/>
                  </a:lnTo>
                  <a:lnTo>
                    <a:pt x="1287" y="466"/>
                  </a:lnTo>
                  <a:lnTo>
                    <a:pt x="1291" y="469"/>
                  </a:lnTo>
                  <a:lnTo>
                    <a:pt x="1296" y="471"/>
                  </a:lnTo>
                  <a:lnTo>
                    <a:pt x="1301" y="472"/>
                  </a:lnTo>
                  <a:lnTo>
                    <a:pt x="1307" y="473"/>
                  </a:lnTo>
                  <a:lnTo>
                    <a:pt x="1313" y="474"/>
                  </a:lnTo>
                  <a:lnTo>
                    <a:pt x="1320" y="474"/>
                  </a:lnTo>
                  <a:lnTo>
                    <a:pt x="1328" y="475"/>
                  </a:lnTo>
                  <a:lnTo>
                    <a:pt x="1340" y="474"/>
                  </a:lnTo>
                  <a:lnTo>
                    <a:pt x="1351" y="473"/>
                  </a:lnTo>
                  <a:lnTo>
                    <a:pt x="1361" y="472"/>
                  </a:lnTo>
                  <a:lnTo>
                    <a:pt x="1366" y="471"/>
                  </a:lnTo>
                  <a:lnTo>
                    <a:pt x="1367" y="471"/>
                  </a:lnTo>
                  <a:lnTo>
                    <a:pt x="1368" y="471"/>
                  </a:lnTo>
                  <a:lnTo>
                    <a:pt x="1369" y="474"/>
                  </a:lnTo>
                  <a:lnTo>
                    <a:pt x="1370" y="477"/>
                  </a:lnTo>
                  <a:lnTo>
                    <a:pt x="1370" y="564"/>
                  </a:lnTo>
                  <a:lnTo>
                    <a:pt x="1369" y="569"/>
                  </a:lnTo>
                  <a:lnTo>
                    <a:pt x="1369" y="572"/>
                  </a:lnTo>
                  <a:lnTo>
                    <a:pt x="1368" y="575"/>
                  </a:lnTo>
                  <a:lnTo>
                    <a:pt x="1366" y="577"/>
                  </a:lnTo>
                  <a:lnTo>
                    <a:pt x="1364" y="578"/>
                  </a:lnTo>
                  <a:lnTo>
                    <a:pt x="1362" y="579"/>
                  </a:lnTo>
                  <a:lnTo>
                    <a:pt x="1358" y="580"/>
                  </a:lnTo>
                  <a:lnTo>
                    <a:pt x="1340" y="582"/>
                  </a:lnTo>
                  <a:lnTo>
                    <a:pt x="1317" y="583"/>
                  </a:lnTo>
                  <a:lnTo>
                    <a:pt x="1294" y="584"/>
                  </a:lnTo>
                  <a:lnTo>
                    <a:pt x="1274" y="585"/>
                  </a:lnTo>
                  <a:close/>
                  <a:moveTo>
                    <a:pt x="0" y="572"/>
                  </a:moveTo>
                  <a:lnTo>
                    <a:pt x="0" y="7"/>
                  </a:lnTo>
                  <a:lnTo>
                    <a:pt x="0" y="5"/>
                  </a:lnTo>
                  <a:lnTo>
                    <a:pt x="1" y="3"/>
                  </a:lnTo>
                  <a:lnTo>
                    <a:pt x="4" y="1"/>
                  </a:lnTo>
                  <a:lnTo>
                    <a:pt x="6" y="0"/>
                  </a:lnTo>
                  <a:lnTo>
                    <a:pt x="7" y="0"/>
                  </a:lnTo>
                  <a:lnTo>
                    <a:pt x="200" y="0"/>
                  </a:lnTo>
                  <a:lnTo>
                    <a:pt x="202" y="0"/>
                  </a:lnTo>
                  <a:lnTo>
                    <a:pt x="204" y="1"/>
                  </a:lnTo>
                  <a:lnTo>
                    <a:pt x="206" y="2"/>
                  </a:lnTo>
                  <a:lnTo>
                    <a:pt x="207" y="3"/>
                  </a:lnTo>
                  <a:lnTo>
                    <a:pt x="209" y="6"/>
                  </a:lnTo>
                  <a:lnTo>
                    <a:pt x="209" y="7"/>
                  </a:lnTo>
                  <a:lnTo>
                    <a:pt x="307" y="386"/>
                  </a:lnTo>
                  <a:lnTo>
                    <a:pt x="307" y="387"/>
                  </a:lnTo>
                  <a:lnTo>
                    <a:pt x="308" y="388"/>
                  </a:lnTo>
                  <a:lnTo>
                    <a:pt x="310" y="389"/>
                  </a:lnTo>
                  <a:lnTo>
                    <a:pt x="312" y="389"/>
                  </a:lnTo>
                  <a:lnTo>
                    <a:pt x="313" y="387"/>
                  </a:lnTo>
                  <a:lnTo>
                    <a:pt x="313" y="386"/>
                  </a:lnTo>
                  <a:lnTo>
                    <a:pt x="401" y="7"/>
                  </a:lnTo>
                  <a:lnTo>
                    <a:pt x="402" y="5"/>
                  </a:lnTo>
                  <a:lnTo>
                    <a:pt x="403" y="3"/>
                  </a:lnTo>
                  <a:lnTo>
                    <a:pt x="406" y="1"/>
                  </a:lnTo>
                  <a:lnTo>
                    <a:pt x="409" y="0"/>
                  </a:lnTo>
                  <a:lnTo>
                    <a:pt x="410" y="0"/>
                  </a:lnTo>
                  <a:lnTo>
                    <a:pt x="607" y="0"/>
                  </a:lnTo>
                  <a:lnTo>
                    <a:pt x="610" y="0"/>
                  </a:lnTo>
                  <a:lnTo>
                    <a:pt x="611" y="1"/>
                  </a:lnTo>
                  <a:lnTo>
                    <a:pt x="614" y="4"/>
                  </a:lnTo>
                  <a:lnTo>
                    <a:pt x="615" y="6"/>
                  </a:lnTo>
                  <a:lnTo>
                    <a:pt x="615" y="7"/>
                  </a:lnTo>
                  <a:lnTo>
                    <a:pt x="615" y="572"/>
                  </a:lnTo>
                  <a:lnTo>
                    <a:pt x="614" y="575"/>
                  </a:lnTo>
                  <a:lnTo>
                    <a:pt x="613" y="576"/>
                  </a:lnTo>
                  <a:lnTo>
                    <a:pt x="611" y="579"/>
                  </a:lnTo>
                  <a:lnTo>
                    <a:pt x="608" y="579"/>
                  </a:lnTo>
                  <a:lnTo>
                    <a:pt x="607" y="580"/>
                  </a:lnTo>
                  <a:lnTo>
                    <a:pt x="473" y="580"/>
                  </a:lnTo>
                  <a:lnTo>
                    <a:pt x="470" y="579"/>
                  </a:lnTo>
                  <a:lnTo>
                    <a:pt x="468" y="578"/>
                  </a:lnTo>
                  <a:lnTo>
                    <a:pt x="466" y="576"/>
                  </a:lnTo>
                  <a:lnTo>
                    <a:pt x="465" y="573"/>
                  </a:lnTo>
                  <a:lnTo>
                    <a:pt x="465" y="572"/>
                  </a:lnTo>
                  <a:lnTo>
                    <a:pt x="465" y="226"/>
                  </a:lnTo>
                  <a:lnTo>
                    <a:pt x="465" y="224"/>
                  </a:lnTo>
                  <a:lnTo>
                    <a:pt x="464" y="223"/>
                  </a:lnTo>
                  <a:lnTo>
                    <a:pt x="463" y="222"/>
                  </a:lnTo>
                  <a:lnTo>
                    <a:pt x="462" y="222"/>
                  </a:lnTo>
                  <a:lnTo>
                    <a:pt x="461" y="222"/>
                  </a:lnTo>
                  <a:lnTo>
                    <a:pt x="460" y="223"/>
                  </a:lnTo>
                  <a:lnTo>
                    <a:pt x="458" y="226"/>
                  </a:lnTo>
                  <a:lnTo>
                    <a:pt x="452" y="264"/>
                  </a:lnTo>
                  <a:lnTo>
                    <a:pt x="446" y="298"/>
                  </a:lnTo>
                  <a:lnTo>
                    <a:pt x="443" y="314"/>
                  </a:lnTo>
                  <a:lnTo>
                    <a:pt x="440" y="330"/>
                  </a:lnTo>
                  <a:lnTo>
                    <a:pt x="436" y="346"/>
                  </a:lnTo>
                  <a:lnTo>
                    <a:pt x="432" y="362"/>
                  </a:lnTo>
                  <a:lnTo>
                    <a:pt x="373" y="572"/>
                  </a:lnTo>
                  <a:lnTo>
                    <a:pt x="372" y="575"/>
                  </a:lnTo>
                  <a:lnTo>
                    <a:pt x="371" y="577"/>
                  </a:lnTo>
                  <a:lnTo>
                    <a:pt x="368" y="579"/>
                  </a:lnTo>
                  <a:lnTo>
                    <a:pt x="365" y="579"/>
                  </a:lnTo>
                  <a:lnTo>
                    <a:pt x="364" y="580"/>
                  </a:lnTo>
                  <a:lnTo>
                    <a:pt x="241" y="580"/>
                  </a:lnTo>
                  <a:lnTo>
                    <a:pt x="238" y="579"/>
                  </a:lnTo>
                  <a:lnTo>
                    <a:pt x="236" y="578"/>
                  </a:lnTo>
                  <a:lnTo>
                    <a:pt x="234" y="577"/>
                  </a:lnTo>
                  <a:lnTo>
                    <a:pt x="233" y="576"/>
                  </a:lnTo>
                  <a:lnTo>
                    <a:pt x="232" y="573"/>
                  </a:lnTo>
                  <a:lnTo>
                    <a:pt x="231" y="572"/>
                  </a:lnTo>
                  <a:lnTo>
                    <a:pt x="174" y="362"/>
                  </a:lnTo>
                  <a:lnTo>
                    <a:pt x="169" y="345"/>
                  </a:lnTo>
                  <a:lnTo>
                    <a:pt x="165" y="330"/>
                  </a:lnTo>
                  <a:lnTo>
                    <a:pt x="159" y="301"/>
                  </a:lnTo>
                  <a:lnTo>
                    <a:pt x="153" y="268"/>
                  </a:lnTo>
                  <a:lnTo>
                    <a:pt x="146" y="224"/>
                  </a:lnTo>
                  <a:lnTo>
                    <a:pt x="146" y="223"/>
                  </a:lnTo>
                  <a:lnTo>
                    <a:pt x="145" y="222"/>
                  </a:lnTo>
                  <a:lnTo>
                    <a:pt x="142" y="221"/>
                  </a:lnTo>
                  <a:lnTo>
                    <a:pt x="140" y="222"/>
                  </a:lnTo>
                  <a:lnTo>
                    <a:pt x="140" y="223"/>
                  </a:lnTo>
                  <a:lnTo>
                    <a:pt x="139" y="224"/>
                  </a:lnTo>
                  <a:lnTo>
                    <a:pt x="139" y="572"/>
                  </a:lnTo>
                  <a:lnTo>
                    <a:pt x="139" y="575"/>
                  </a:lnTo>
                  <a:lnTo>
                    <a:pt x="138" y="576"/>
                  </a:lnTo>
                  <a:lnTo>
                    <a:pt x="136" y="579"/>
                  </a:lnTo>
                  <a:lnTo>
                    <a:pt x="133" y="579"/>
                  </a:lnTo>
                  <a:lnTo>
                    <a:pt x="132" y="580"/>
                  </a:lnTo>
                  <a:lnTo>
                    <a:pt x="8" y="580"/>
                  </a:lnTo>
                  <a:lnTo>
                    <a:pt x="5" y="579"/>
                  </a:lnTo>
                  <a:lnTo>
                    <a:pt x="3" y="578"/>
                  </a:lnTo>
                  <a:lnTo>
                    <a:pt x="1" y="576"/>
                  </a:lnTo>
                  <a:lnTo>
                    <a:pt x="0" y="573"/>
                  </a:lnTo>
                  <a:lnTo>
                    <a:pt x="0" y="572"/>
                  </a:lnTo>
                  <a:close/>
                  <a:moveTo>
                    <a:pt x="1063" y="408"/>
                  </a:moveTo>
                  <a:lnTo>
                    <a:pt x="1062" y="410"/>
                  </a:lnTo>
                  <a:lnTo>
                    <a:pt x="1062" y="412"/>
                  </a:lnTo>
                  <a:lnTo>
                    <a:pt x="1061" y="413"/>
                  </a:lnTo>
                  <a:lnTo>
                    <a:pt x="1060" y="414"/>
                  </a:lnTo>
                  <a:lnTo>
                    <a:pt x="1058" y="414"/>
                  </a:lnTo>
                  <a:lnTo>
                    <a:pt x="1057" y="414"/>
                  </a:lnTo>
                  <a:lnTo>
                    <a:pt x="801" y="414"/>
                  </a:lnTo>
                  <a:lnTo>
                    <a:pt x="799" y="415"/>
                  </a:lnTo>
                  <a:lnTo>
                    <a:pt x="797" y="415"/>
                  </a:lnTo>
                  <a:lnTo>
                    <a:pt x="796" y="417"/>
                  </a:lnTo>
                  <a:lnTo>
                    <a:pt x="795" y="418"/>
                  </a:lnTo>
                  <a:lnTo>
                    <a:pt x="795" y="421"/>
                  </a:lnTo>
                  <a:lnTo>
                    <a:pt x="795" y="422"/>
                  </a:lnTo>
                  <a:lnTo>
                    <a:pt x="796" y="430"/>
                  </a:lnTo>
                  <a:lnTo>
                    <a:pt x="799" y="438"/>
                  </a:lnTo>
                  <a:lnTo>
                    <a:pt x="801" y="445"/>
                  </a:lnTo>
                  <a:lnTo>
                    <a:pt x="804" y="451"/>
                  </a:lnTo>
                  <a:lnTo>
                    <a:pt x="808" y="457"/>
                  </a:lnTo>
                  <a:lnTo>
                    <a:pt x="812" y="462"/>
                  </a:lnTo>
                  <a:lnTo>
                    <a:pt x="817" y="466"/>
                  </a:lnTo>
                  <a:lnTo>
                    <a:pt x="822" y="470"/>
                  </a:lnTo>
                  <a:lnTo>
                    <a:pt x="827" y="473"/>
                  </a:lnTo>
                  <a:lnTo>
                    <a:pt x="833" y="476"/>
                  </a:lnTo>
                  <a:lnTo>
                    <a:pt x="840" y="478"/>
                  </a:lnTo>
                  <a:lnTo>
                    <a:pt x="846" y="480"/>
                  </a:lnTo>
                  <a:lnTo>
                    <a:pt x="854" y="481"/>
                  </a:lnTo>
                  <a:lnTo>
                    <a:pt x="861" y="482"/>
                  </a:lnTo>
                  <a:lnTo>
                    <a:pt x="878" y="482"/>
                  </a:lnTo>
                  <a:lnTo>
                    <a:pt x="886" y="482"/>
                  </a:lnTo>
                  <a:lnTo>
                    <a:pt x="894" y="481"/>
                  </a:lnTo>
                  <a:lnTo>
                    <a:pt x="903" y="480"/>
                  </a:lnTo>
                  <a:lnTo>
                    <a:pt x="911" y="479"/>
                  </a:lnTo>
                  <a:lnTo>
                    <a:pt x="928" y="475"/>
                  </a:lnTo>
                  <a:lnTo>
                    <a:pt x="943" y="470"/>
                  </a:lnTo>
                  <a:lnTo>
                    <a:pt x="958" y="464"/>
                  </a:lnTo>
                  <a:lnTo>
                    <a:pt x="971" y="459"/>
                  </a:lnTo>
                  <a:lnTo>
                    <a:pt x="983" y="453"/>
                  </a:lnTo>
                  <a:lnTo>
                    <a:pt x="992" y="448"/>
                  </a:lnTo>
                  <a:lnTo>
                    <a:pt x="994" y="447"/>
                  </a:lnTo>
                  <a:lnTo>
                    <a:pt x="996" y="447"/>
                  </a:lnTo>
                  <a:lnTo>
                    <a:pt x="998" y="447"/>
                  </a:lnTo>
                  <a:lnTo>
                    <a:pt x="999" y="448"/>
                  </a:lnTo>
                  <a:lnTo>
                    <a:pt x="1002" y="450"/>
                  </a:lnTo>
                  <a:lnTo>
                    <a:pt x="1050" y="531"/>
                  </a:lnTo>
                  <a:lnTo>
                    <a:pt x="1052" y="535"/>
                  </a:lnTo>
                  <a:lnTo>
                    <a:pt x="1052" y="537"/>
                  </a:lnTo>
                  <a:lnTo>
                    <a:pt x="1051" y="538"/>
                  </a:lnTo>
                  <a:lnTo>
                    <a:pt x="1051" y="540"/>
                  </a:lnTo>
                  <a:lnTo>
                    <a:pt x="1050" y="540"/>
                  </a:lnTo>
                  <a:lnTo>
                    <a:pt x="1048" y="542"/>
                  </a:lnTo>
                  <a:lnTo>
                    <a:pt x="1038" y="547"/>
                  </a:lnTo>
                  <a:lnTo>
                    <a:pt x="1028" y="553"/>
                  </a:lnTo>
                  <a:lnTo>
                    <a:pt x="1018" y="558"/>
                  </a:lnTo>
                  <a:lnTo>
                    <a:pt x="1007" y="562"/>
                  </a:lnTo>
                  <a:lnTo>
                    <a:pt x="996" y="567"/>
                  </a:lnTo>
                  <a:lnTo>
                    <a:pt x="985" y="570"/>
                  </a:lnTo>
                  <a:lnTo>
                    <a:pt x="974" y="574"/>
                  </a:lnTo>
                  <a:lnTo>
                    <a:pt x="963" y="577"/>
                  </a:lnTo>
                  <a:lnTo>
                    <a:pt x="951" y="580"/>
                  </a:lnTo>
                  <a:lnTo>
                    <a:pt x="939" y="582"/>
                  </a:lnTo>
                  <a:lnTo>
                    <a:pt x="927" y="584"/>
                  </a:lnTo>
                  <a:lnTo>
                    <a:pt x="915" y="585"/>
                  </a:lnTo>
                  <a:lnTo>
                    <a:pt x="903" y="587"/>
                  </a:lnTo>
                  <a:lnTo>
                    <a:pt x="891" y="587"/>
                  </a:lnTo>
                  <a:lnTo>
                    <a:pt x="866" y="588"/>
                  </a:lnTo>
                  <a:lnTo>
                    <a:pt x="844" y="588"/>
                  </a:lnTo>
                  <a:lnTo>
                    <a:pt x="823" y="586"/>
                  </a:lnTo>
                  <a:lnTo>
                    <a:pt x="813" y="584"/>
                  </a:lnTo>
                  <a:lnTo>
                    <a:pt x="802" y="583"/>
                  </a:lnTo>
                  <a:lnTo>
                    <a:pt x="792" y="580"/>
                  </a:lnTo>
                  <a:lnTo>
                    <a:pt x="782" y="578"/>
                  </a:lnTo>
                  <a:lnTo>
                    <a:pt x="772" y="575"/>
                  </a:lnTo>
                  <a:lnTo>
                    <a:pt x="762" y="572"/>
                  </a:lnTo>
                  <a:lnTo>
                    <a:pt x="753" y="568"/>
                  </a:lnTo>
                  <a:lnTo>
                    <a:pt x="744" y="564"/>
                  </a:lnTo>
                  <a:lnTo>
                    <a:pt x="735" y="559"/>
                  </a:lnTo>
                  <a:lnTo>
                    <a:pt x="726" y="554"/>
                  </a:lnTo>
                  <a:lnTo>
                    <a:pt x="718" y="549"/>
                  </a:lnTo>
                  <a:lnTo>
                    <a:pt x="710" y="543"/>
                  </a:lnTo>
                  <a:lnTo>
                    <a:pt x="702" y="537"/>
                  </a:lnTo>
                  <a:lnTo>
                    <a:pt x="694" y="530"/>
                  </a:lnTo>
                  <a:lnTo>
                    <a:pt x="687" y="522"/>
                  </a:lnTo>
                  <a:lnTo>
                    <a:pt x="681" y="514"/>
                  </a:lnTo>
                  <a:lnTo>
                    <a:pt x="675" y="505"/>
                  </a:lnTo>
                  <a:lnTo>
                    <a:pt x="669" y="496"/>
                  </a:lnTo>
                  <a:lnTo>
                    <a:pt x="664" y="486"/>
                  </a:lnTo>
                  <a:lnTo>
                    <a:pt x="659" y="476"/>
                  </a:lnTo>
                  <a:lnTo>
                    <a:pt x="654" y="465"/>
                  </a:lnTo>
                  <a:lnTo>
                    <a:pt x="652" y="459"/>
                  </a:lnTo>
                  <a:lnTo>
                    <a:pt x="651" y="454"/>
                  </a:lnTo>
                  <a:lnTo>
                    <a:pt x="647" y="441"/>
                  </a:lnTo>
                  <a:lnTo>
                    <a:pt x="645" y="429"/>
                  </a:lnTo>
                  <a:lnTo>
                    <a:pt x="642" y="415"/>
                  </a:lnTo>
                  <a:lnTo>
                    <a:pt x="642" y="408"/>
                  </a:lnTo>
                  <a:lnTo>
                    <a:pt x="641" y="401"/>
                  </a:lnTo>
                  <a:lnTo>
                    <a:pt x="640" y="386"/>
                  </a:lnTo>
                  <a:lnTo>
                    <a:pt x="640" y="370"/>
                  </a:lnTo>
                  <a:lnTo>
                    <a:pt x="640" y="355"/>
                  </a:lnTo>
                  <a:lnTo>
                    <a:pt x="641" y="340"/>
                  </a:lnTo>
                  <a:lnTo>
                    <a:pt x="643" y="326"/>
                  </a:lnTo>
                  <a:lnTo>
                    <a:pt x="646" y="313"/>
                  </a:lnTo>
                  <a:lnTo>
                    <a:pt x="649" y="300"/>
                  </a:lnTo>
                  <a:lnTo>
                    <a:pt x="653" y="288"/>
                  </a:lnTo>
                  <a:lnTo>
                    <a:pt x="657" y="276"/>
                  </a:lnTo>
                  <a:lnTo>
                    <a:pt x="662" y="265"/>
                  </a:lnTo>
                  <a:lnTo>
                    <a:pt x="668" y="255"/>
                  </a:lnTo>
                  <a:lnTo>
                    <a:pt x="674" y="245"/>
                  </a:lnTo>
                  <a:lnTo>
                    <a:pt x="680" y="236"/>
                  </a:lnTo>
                  <a:lnTo>
                    <a:pt x="687" y="227"/>
                  </a:lnTo>
                  <a:lnTo>
                    <a:pt x="694" y="219"/>
                  </a:lnTo>
                  <a:lnTo>
                    <a:pt x="702" y="212"/>
                  </a:lnTo>
                  <a:lnTo>
                    <a:pt x="710" y="204"/>
                  </a:lnTo>
                  <a:lnTo>
                    <a:pt x="718" y="198"/>
                  </a:lnTo>
                  <a:lnTo>
                    <a:pt x="727" y="192"/>
                  </a:lnTo>
                  <a:lnTo>
                    <a:pt x="735" y="186"/>
                  </a:lnTo>
                  <a:lnTo>
                    <a:pt x="744" y="181"/>
                  </a:lnTo>
                  <a:lnTo>
                    <a:pt x="753" y="177"/>
                  </a:lnTo>
                  <a:lnTo>
                    <a:pt x="762" y="172"/>
                  </a:lnTo>
                  <a:lnTo>
                    <a:pt x="771" y="169"/>
                  </a:lnTo>
                  <a:lnTo>
                    <a:pt x="781" y="165"/>
                  </a:lnTo>
                  <a:lnTo>
                    <a:pt x="790" y="162"/>
                  </a:lnTo>
                  <a:lnTo>
                    <a:pt x="799" y="160"/>
                  </a:lnTo>
                  <a:lnTo>
                    <a:pt x="808" y="158"/>
                  </a:lnTo>
                  <a:lnTo>
                    <a:pt x="817" y="156"/>
                  </a:lnTo>
                  <a:lnTo>
                    <a:pt x="826" y="154"/>
                  </a:lnTo>
                  <a:lnTo>
                    <a:pt x="844" y="152"/>
                  </a:lnTo>
                  <a:lnTo>
                    <a:pt x="852" y="152"/>
                  </a:lnTo>
                  <a:lnTo>
                    <a:pt x="860" y="152"/>
                  </a:lnTo>
                  <a:lnTo>
                    <a:pt x="868" y="152"/>
                  </a:lnTo>
                  <a:lnTo>
                    <a:pt x="876" y="152"/>
                  </a:lnTo>
                  <a:lnTo>
                    <a:pt x="893" y="153"/>
                  </a:lnTo>
                  <a:lnTo>
                    <a:pt x="901" y="155"/>
                  </a:lnTo>
                  <a:lnTo>
                    <a:pt x="910" y="156"/>
                  </a:lnTo>
                  <a:lnTo>
                    <a:pt x="927" y="160"/>
                  </a:lnTo>
                  <a:lnTo>
                    <a:pt x="936" y="162"/>
                  </a:lnTo>
                  <a:lnTo>
                    <a:pt x="944" y="165"/>
                  </a:lnTo>
                  <a:lnTo>
                    <a:pt x="953" y="168"/>
                  </a:lnTo>
                  <a:lnTo>
                    <a:pt x="961" y="172"/>
                  </a:lnTo>
                  <a:lnTo>
                    <a:pt x="969" y="177"/>
                  </a:lnTo>
                  <a:lnTo>
                    <a:pt x="977" y="181"/>
                  </a:lnTo>
                  <a:lnTo>
                    <a:pt x="985" y="187"/>
                  </a:lnTo>
                  <a:lnTo>
                    <a:pt x="993" y="193"/>
                  </a:lnTo>
                  <a:lnTo>
                    <a:pt x="1000" y="199"/>
                  </a:lnTo>
                  <a:lnTo>
                    <a:pt x="1007" y="207"/>
                  </a:lnTo>
                  <a:lnTo>
                    <a:pt x="1014" y="215"/>
                  </a:lnTo>
                  <a:lnTo>
                    <a:pt x="1021" y="223"/>
                  </a:lnTo>
                  <a:lnTo>
                    <a:pt x="1027" y="233"/>
                  </a:lnTo>
                  <a:lnTo>
                    <a:pt x="1032" y="243"/>
                  </a:lnTo>
                  <a:lnTo>
                    <a:pt x="1035" y="248"/>
                  </a:lnTo>
                  <a:lnTo>
                    <a:pt x="1038" y="253"/>
                  </a:lnTo>
                  <a:lnTo>
                    <a:pt x="1043" y="265"/>
                  </a:lnTo>
                  <a:lnTo>
                    <a:pt x="1047" y="278"/>
                  </a:lnTo>
                  <a:lnTo>
                    <a:pt x="1051" y="291"/>
                  </a:lnTo>
                  <a:lnTo>
                    <a:pt x="1054" y="305"/>
                  </a:lnTo>
                  <a:lnTo>
                    <a:pt x="1057" y="320"/>
                  </a:lnTo>
                  <a:lnTo>
                    <a:pt x="1060" y="336"/>
                  </a:lnTo>
                  <a:lnTo>
                    <a:pt x="1061" y="354"/>
                  </a:lnTo>
                  <a:lnTo>
                    <a:pt x="1062" y="372"/>
                  </a:lnTo>
                  <a:lnTo>
                    <a:pt x="1063" y="391"/>
                  </a:lnTo>
                  <a:lnTo>
                    <a:pt x="1063" y="408"/>
                  </a:lnTo>
                  <a:close/>
                  <a:moveTo>
                    <a:pt x="918" y="326"/>
                  </a:moveTo>
                  <a:lnTo>
                    <a:pt x="921" y="325"/>
                  </a:lnTo>
                  <a:lnTo>
                    <a:pt x="922" y="325"/>
                  </a:lnTo>
                  <a:lnTo>
                    <a:pt x="923" y="323"/>
                  </a:lnTo>
                  <a:lnTo>
                    <a:pt x="924" y="322"/>
                  </a:lnTo>
                  <a:lnTo>
                    <a:pt x="925" y="319"/>
                  </a:lnTo>
                  <a:lnTo>
                    <a:pt x="924" y="318"/>
                  </a:lnTo>
                  <a:lnTo>
                    <a:pt x="923" y="311"/>
                  </a:lnTo>
                  <a:lnTo>
                    <a:pt x="922" y="304"/>
                  </a:lnTo>
                  <a:lnTo>
                    <a:pt x="920" y="297"/>
                  </a:lnTo>
                  <a:lnTo>
                    <a:pt x="917" y="291"/>
                  </a:lnTo>
                  <a:lnTo>
                    <a:pt x="915" y="286"/>
                  </a:lnTo>
                  <a:lnTo>
                    <a:pt x="911" y="281"/>
                  </a:lnTo>
                  <a:lnTo>
                    <a:pt x="908" y="277"/>
                  </a:lnTo>
                  <a:lnTo>
                    <a:pt x="904" y="273"/>
                  </a:lnTo>
                  <a:lnTo>
                    <a:pt x="900" y="270"/>
                  </a:lnTo>
                  <a:lnTo>
                    <a:pt x="895" y="267"/>
                  </a:lnTo>
                  <a:lnTo>
                    <a:pt x="890" y="265"/>
                  </a:lnTo>
                  <a:lnTo>
                    <a:pt x="885" y="263"/>
                  </a:lnTo>
                  <a:lnTo>
                    <a:pt x="879" y="262"/>
                  </a:lnTo>
                  <a:lnTo>
                    <a:pt x="873" y="261"/>
                  </a:lnTo>
                  <a:lnTo>
                    <a:pt x="866" y="260"/>
                  </a:lnTo>
                  <a:lnTo>
                    <a:pt x="860" y="260"/>
                  </a:lnTo>
                  <a:lnTo>
                    <a:pt x="854" y="260"/>
                  </a:lnTo>
                  <a:lnTo>
                    <a:pt x="849" y="261"/>
                  </a:lnTo>
                  <a:lnTo>
                    <a:pt x="844" y="262"/>
                  </a:lnTo>
                  <a:lnTo>
                    <a:pt x="839" y="263"/>
                  </a:lnTo>
                  <a:lnTo>
                    <a:pt x="834" y="265"/>
                  </a:lnTo>
                  <a:lnTo>
                    <a:pt x="830" y="267"/>
                  </a:lnTo>
                  <a:lnTo>
                    <a:pt x="826" y="270"/>
                  </a:lnTo>
                  <a:lnTo>
                    <a:pt x="821" y="273"/>
                  </a:lnTo>
                  <a:lnTo>
                    <a:pt x="818" y="277"/>
                  </a:lnTo>
                  <a:lnTo>
                    <a:pt x="814" y="281"/>
                  </a:lnTo>
                  <a:lnTo>
                    <a:pt x="810" y="286"/>
                  </a:lnTo>
                  <a:lnTo>
                    <a:pt x="807" y="291"/>
                  </a:lnTo>
                  <a:lnTo>
                    <a:pt x="804" y="297"/>
                  </a:lnTo>
                  <a:lnTo>
                    <a:pt x="802" y="304"/>
                  </a:lnTo>
                  <a:lnTo>
                    <a:pt x="799" y="311"/>
                  </a:lnTo>
                  <a:lnTo>
                    <a:pt x="797" y="318"/>
                  </a:lnTo>
                  <a:lnTo>
                    <a:pt x="797" y="321"/>
                  </a:lnTo>
                  <a:lnTo>
                    <a:pt x="797" y="323"/>
                  </a:lnTo>
                  <a:lnTo>
                    <a:pt x="798" y="324"/>
                  </a:lnTo>
                  <a:lnTo>
                    <a:pt x="799" y="325"/>
                  </a:lnTo>
                  <a:lnTo>
                    <a:pt x="800" y="326"/>
                  </a:lnTo>
                  <a:lnTo>
                    <a:pt x="802" y="326"/>
                  </a:lnTo>
                  <a:lnTo>
                    <a:pt x="918" y="326"/>
                  </a:lnTo>
                  <a:close/>
                  <a:moveTo>
                    <a:pt x="1595" y="588"/>
                  </a:moveTo>
                  <a:lnTo>
                    <a:pt x="1577" y="588"/>
                  </a:lnTo>
                  <a:lnTo>
                    <a:pt x="1560" y="587"/>
                  </a:lnTo>
                  <a:lnTo>
                    <a:pt x="1543" y="585"/>
                  </a:lnTo>
                  <a:lnTo>
                    <a:pt x="1528" y="584"/>
                  </a:lnTo>
                  <a:lnTo>
                    <a:pt x="1513" y="581"/>
                  </a:lnTo>
                  <a:lnTo>
                    <a:pt x="1499" y="578"/>
                  </a:lnTo>
                  <a:lnTo>
                    <a:pt x="1485" y="575"/>
                  </a:lnTo>
                  <a:lnTo>
                    <a:pt x="1472" y="571"/>
                  </a:lnTo>
                  <a:lnTo>
                    <a:pt x="1460" y="567"/>
                  </a:lnTo>
                  <a:lnTo>
                    <a:pt x="1449" y="563"/>
                  </a:lnTo>
                  <a:lnTo>
                    <a:pt x="1438" y="558"/>
                  </a:lnTo>
                  <a:lnTo>
                    <a:pt x="1427" y="553"/>
                  </a:lnTo>
                  <a:lnTo>
                    <a:pt x="1418" y="548"/>
                  </a:lnTo>
                  <a:lnTo>
                    <a:pt x="1409" y="543"/>
                  </a:lnTo>
                  <a:lnTo>
                    <a:pt x="1393" y="532"/>
                  </a:lnTo>
                  <a:lnTo>
                    <a:pt x="1391" y="531"/>
                  </a:lnTo>
                  <a:lnTo>
                    <a:pt x="1390" y="529"/>
                  </a:lnTo>
                  <a:lnTo>
                    <a:pt x="1389" y="527"/>
                  </a:lnTo>
                  <a:lnTo>
                    <a:pt x="1389" y="525"/>
                  </a:lnTo>
                  <a:lnTo>
                    <a:pt x="1390" y="523"/>
                  </a:lnTo>
                  <a:lnTo>
                    <a:pt x="1391" y="522"/>
                  </a:lnTo>
                  <a:lnTo>
                    <a:pt x="1440" y="446"/>
                  </a:lnTo>
                  <a:lnTo>
                    <a:pt x="1442" y="444"/>
                  </a:lnTo>
                  <a:lnTo>
                    <a:pt x="1443" y="444"/>
                  </a:lnTo>
                  <a:lnTo>
                    <a:pt x="1444" y="443"/>
                  </a:lnTo>
                  <a:lnTo>
                    <a:pt x="1446" y="443"/>
                  </a:lnTo>
                  <a:lnTo>
                    <a:pt x="1448" y="444"/>
                  </a:lnTo>
                  <a:lnTo>
                    <a:pt x="1450" y="445"/>
                  </a:lnTo>
                  <a:lnTo>
                    <a:pt x="1465" y="456"/>
                  </a:lnTo>
                  <a:lnTo>
                    <a:pt x="1483" y="465"/>
                  </a:lnTo>
                  <a:lnTo>
                    <a:pt x="1501" y="473"/>
                  </a:lnTo>
                  <a:lnTo>
                    <a:pt x="1510" y="476"/>
                  </a:lnTo>
                  <a:lnTo>
                    <a:pt x="1520" y="479"/>
                  </a:lnTo>
                  <a:lnTo>
                    <a:pt x="1529" y="482"/>
                  </a:lnTo>
                  <a:lnTo>
                    <a:pt x="1539" y="485"/>
                  </a:lnTo>
                  <a:lnTo>
                    <a:pt x="1558" y="489"/>
                  </a:lnTo>
                  <a:lnTo>
                    <a:pt x="1576" y="491"/>
                  </a:lnTo>
                  <a:lnTo>
                    <a:pt x="1594" y="492"/>
                  </a:lnTo>
                  <a:lnTo>
                    <a:pt x="1604" y="491"/>
                  </a:lnTo>
                  <a:lnTo>
                    <a:pt x="1613" y="490"/>
                  </a:lnTo>
                  <a:lnTo>
                    <a:pt x="1622" y="488"/>
                  </a:lnTo>
                  <a:lnTo>
                    <a:pt x="1629" y="486"/>
                  </a:lnTo>
                  <a:lnTo>
                    <a:pt x="1632" y="484"/>
                  </a:lnTo>
                  <a:lnTo>
                    <a:pt x="1635" y="482"/>
                  </a:lnTo>
                  <a:lnTo>
                    <a:pt x="1638" y="480"/>
                  </a:lnTo>
                  <a:lnTo>
                    <a:pt x="1640" y="477"/>
                  </a:lnTo>
                  <a:lnTo>
                    <a:pt x="1642" y="474"/>
                  </a:lnTo>
                  <a:lnTo>
                    <a:pt x="1643" y="471"/>
                  </a:lnTo>
                  <a:lnTo>
                    <a:pt x="1644" y="468"/>
                  </a:lnTo>
                  <a:lnTo>
                    <a:pt x="1644" y="464"/>
                  </a:lnTo>
                  <a:lnTo>
                    <a:pt x="1644" y="461"/>
                  </a:lnTo>
                  <a:lnTo>
                    <a:pt x="1643" y="457"/>
                  </a:lnTo>
                  <a:lnTo>
                    <a:pt x="1642" y="454"/>
                  </a:lnTo>
                  <a:lnTo>
                    <a:pt x="1641" y="451"/>
                  </a:lnTo>
                  <a:lnTo>
                    <a:pt x="1640" y="449"/>
                  </a:lnTo>
                  <a:lnTo>
                    <a:pt x="1638" y="448"/>
                  </a:lnTo>
                  <a:lnTo>
                    <a:pt x="1636" y="445"/>
                  </a:lnTo>
                  <a:lnTo>
                    <a:pt x="1629" y="441"/>
                  </a:lnTo>
                  <a:lnTo>
                    <a:pt x="1620" y="437"/>
                  </a:lnTo>
                  <a:lnTo>
                    <a:pt x="1609" y="434"/>
                  </a:lnTo>
                  <a:lnTo>
                    <a:pt x="1595" y="432"/>
                  </a:lnTo>
                  <a:lnTo>
                    <a:pt x="1579" y="429"/>
                  </a:lnTo>
                  <a:lnTo>
                    <a:pt x="1551" y="425"/>
                  </a:lnTo>
                  <a:lnTo>
                    <a:pt x="1537" y="422"/>
                  </a:lnTo>
                  <a:lnTo>
                    <a:pt x="1522" y="419"/>
                  </a:lnTo>
                  <a:lnTo>
                    <a:pt x="1508" y="415"/>
                  </a:lnTo>
                  <a:lnTo>
                    <a:pt x="1493" y="411"/>
                  </a:lnTo>
                  <a:lnTo>
                    <a:pt x="1480" y="405"/>
                  </a:lnTo>
                  <a:lnTo>
                    <a:pt x="1466" y="398"/>
                  </a:lnTo>
                  <a:lnTo>
                    <a:pt x="1460" y="395"/>
                  </a:lnTo>
                  <a:lnTo>
                    <a:pt x="1454" y="391"/>
                  </a:lnTo>
                  <a:lnTo>
                    <a:pt x="1448" y="386"/>
                  </a:lnTo>
                  <a:lnTo>
                    <a:pt x="1443" y="382"/>
                  </a:lnTo>
                  <a:lnTo>
                    <a:pt x="1438" y="377"/>
                  </a:lnTo>
                  <a:lnTo>
                    <a:pt x="1433" y="371"/>
                  </a:lnTo>
                  <a:lnTo>
                    <a:pt x="1428" y="366"/>
                  </a:lnTo>
                  <a:lnTo>
                    <a:pt x="1424" y="359"/>
                  </a:lnTo>
                  <a:lnTo>
                    <a:pt x="1420" y="353"/>
                  </a:lnTo>
                  <a:lnTo>
                    <a:pt x="1417" y="346"/>
                  </a:lnTo>
                  <a:lnTo>
                    <a:pt x="1414" y="338"/>
                  </a:lnTo>
                  <a:lnTo>
                    <a:pt x="1411" y="330"/>
                  </a:lnTo>
                  <a:lnTo>
                    <a:pt x="1410" y="322"/>
                  </a:lnTo>
                  <a:lnTo>
                    <a:pt x="1408" y="313"/>
                  </a:lnTo>
                  <a:lnTo>
                    <a:pt x="1408" y="308"/>
                  </a:lnTo>
                  <a:lnTo>
                    <a:pt x="1407" y="304"/>
                  </a:lnTo>
                  <a:lnTo>
                    <a:pt x="1407" y="294"/>
                  </a:lnTo>
                  <a:lnTo>
                    <a:pt x="1407" y="285"/>
                  </a:lnTo>
                  <a:lnTo>
                    <a:pt x="1408" y="277"/>
                  </a:lnTo>
                  <a:lnTo>
                    <a:pt x="1409" y="268"/>
                  </a:lnTo>
                  <a:lnTo>
                    <a:pt x="1410" y="261"/>
                  </a:lnTo>
                  <a:lnTo>
                    <a:pt x="1412" y="253"/>
                  </a:lnTo>
                  <a:lnTo>
                    <a:pt x="1415" y="246"/>
                  </a:lnTo>
                  <a:lnTo>
                    <a:pt x="1417" y="239"/>
                  </a:lnTo>
                  <a:lnTo>
                    <a:pt x="1420" y="232"/>
                  </a:lnTo>
                  <a:lnTo>
                    <a:pt x="1424" y="225"/>
                  </a:lnTo>
                  <a:lnTo>
                    <a:pt x="1428" y="219"/>
                  </a:lnTo>
                  <a:lnTo>
                    <a:pt x="1436" y="208"/>
                  </a:lnTo>
                  <a:lnTo>
                    <a:pt x="1441" y="202"/>
                  </a:lnTo>
                  <a:lnTo>
                    <a:pt x="1446" y="197"/>
                  </a:lnTo>
                  <a:lnTo>
                    <a:pt x="1457" y="188"/>
                  </a:lnTo>
                  <a:lnTo>
                    <a:pt x="1463" y="183"/>
                  </a:lnTo>
                  <a:lnTo>
                    <a:pt x="1469" y="179"/>
                  </a:lnTo>
                  <a:lnTo>
                    <a:pt x="1483" y="172"/>
                  </a:lnTo>
                  <a:lnTo>
                    <a:pt x="1490" y="169"/>
                  </a:lnTo>
                  <a:lnTo>
                    <a:pt x="1497" y="166"/>
                  </a:lnTo>
                  <a:lnTo>
                    <a:pt x="1512" y="161"/>
                  </a:lnTo>
                  <a:lnTo>
                    <a:pt x="1528" y="157"/>
                  </a:lnTo>
                  <a:lnTo>
                    <a:pt x="1544" y="154"/>
                  </a:lnTo>
                  <a:lnTo>
                    <a:pt x="1561" y="152"/>
                  </a:lnTo>
                  <a:lnTo>
                    <a:pt x="1579" y="152"/>
                  </a:lnTo>
                  <a:lnTo>
                    <a:pt x="1595" y="152"/>
                  </a:lnTo>
                  <a:lnTo>
                    <a:pt x="1611" y="153"/>
                  </a:lnTo>
                  <a:lnTo>
                    <a:pt x="1626" y="154"/>
                  </a:lnTo>
                  <a:lnTo>
                    <a:pt x="1641" y="156"/>
                  </a:lnTo>
                  <a:lnTo>
                    <a:pt x="1654" y="158"/>
                  </a:lnTo>
                  <a:lnTo>
                    <a:pt x="1667" y="160"/>
                  </a:lnTo>
                  <a:lnTo>
                    <a:pt x="1679" y="163"/>
                  </a:lnTo>
                  <a:lnTo>
                    <a:pt x="1691" y="167"/>
                  </a:lnTo>
                  <a:lnTo>
                    <a:pt x="1702" y="170"/>
                  </a:lnTo>
                  <a:lnTo>
                    <a:pt x="1713" y="174"/>
                  </a:lnTo>
                  <a:lnTo>
                    <a:pt x="1723" y="179"/>
                  </a:lnTo>
                  <a:lnTo>
                    <a:pt x="1733" y="183"/>
                  </a:lnTo>
                  <a:lnTo>
                    <a:pt x="1742" y="188"/>
                  </a:lnTo>
                  <a:lnTo>
                    <a:pt x="1751" y="194"/>
                  </a:lnTo>
                  <a:lnTo>
                    <a:pt x="1768" y="205"/>
                  </a:lnTo>
                  <a:lnTo>
                    <a:pt x="1770" y="207"/>
                  </a:lnTo>
                  <a:lnTo>
                    <a:pt x="1771" y="209"/>
                  </a:lnTo>
                  <a:lnTo>
                    <a:pt x="1772" y="211"/>
                  </a:lnTo>
                  <a:lnTo>
                    <a:pt x="1772" y="212"/>
                  </a:lnTo>
                  <a:lnTo>
                    <a:pt x="1771" y="215"/>
                  </a:lnTo>
                  <a:lnTo>
                    <a:pt x="1770" y="216"/>
                  </a:lnTo>
                  <a:lnTo>
                    <a:pt x="1722" y="288"/>
                  </a:lnTo>
                  <a:lnTo>
                    <a:pt x="1720" y="290"/>
                  </a:lnTo>
                  <a:lnTo>
                    <a:pt x="1718" y="292"/>
                  </a:lnTo>
                  <a:lnTo>
                    <a:pt x="1716" y="292"/>
                  </a:lnTo>
                  <a:lnTo>
                    <a:pt x="1715" y="292"/>
                  </a:lnTo>
                  <a:lnTo>
                    <a:pt x="1711" y="292"/>
                  </a:lnTo>
                  <a:lnTo>
                    <a:pt x="1708" y="290"/>
                  </a:lnTo>
                  <a:lnTo>
                    <a:pt x="1693" y="282"/>
                  </a:lnTo>
                  <a:lnTo>
                    <a:pt x="1677" y="274"/>
                  </a:lnTo>
                  <a:lnTo>
                    <a:pt x="1662" y="268"/>
                  </a:lnTo>
                  <a:lnTo>
                    <a:pt x="1647" y="263"/>
                  </a:lnTo>
                  <a:lnTo>
                    <a:pt x="1633" y="258"/>
                  </a:lnTo>
                  <a:lnTo>
                    <a:pt x="1619" y="255"/>
                  </a:lnTo>
                  <a:lnTo>
                    <a:pt x="1612" y="254"/>
                  </a:lnTo>
                  <a:lnTo>
                    <a:pt x="1606" y="254"/>
                  </a:lnTo>
                  <a:lnTo>
                    <a:pt x="1593" y="253"/>
                  </a:lnTo>
                  <a:lnTo>
                    <a:pt x="1584" y="253"/>
                  </a:lnTo>
                  <a:lnTo>
                    <a:pt x="1576" y="254"/>
                  </a:lnTo>
                  <a:lnTo>
                    <a:pt x="1568" y="256"/>
                  </a:lnTo>
                  <a:lnTo>
                    <a:pt x="1562" y="259"/>
                  </a:lnTo>
                  <a:lnTo>
                    <a:pt x="1560" y="261"/>
                  </a:lnTo>
                  <a:lnTo>
                    <a:pt x="1557" y="263"/>
                  </a:lnTo>
                  <a:lnTo>
                    <a:pt x="1554" y="267"/>
                  </a:lnTo>
                  <a:lnTo>
                    <a:pt x="1552" y="270"/>
                  </a:lnTo>
                  <a:lnTo>
                    <a:pt x="1551" y="273"/>
                  </a:lnTo>
                  <a:lnTo>
                    <a:pt x="1551" y="276"/>
                  </a:lnTo>
                  <a:lnTo>
                    <a:pt x="1550" y="280"/>
                  </a:lnTo>
                  <a:lnTo>
                    <a:pt x="1551" y="283"/>
                  </a:lnTo>
                  <a:lnTo>
                    <a:pt x="1551" y="286"/>
                  </a:lnTo>
                  <a:lnTo>
                    <a:pt x="1553" y="289"/>
                  </a:lnTo>
                  <a:lnTo>
                    <a:pt x="1555" y="292"/>
                  </a:lnTo>
                  <a:lnTo>
                    <a:pt x="1557" y="295"/>
                  </a:lnTo>
                  <a:lnTo>
                    <a:pt x="1560" y="297"/>
                  </a:lnTo>
                  <a:lnTo>
                    <a:pt x="1563" y="299"/>
                  </a:lnTo>
                  <a:lnTo>
                    <a:pt x="1567" y="301"/>
                  </a:lnTo>
                  <a:lnTo>
                    <a:pt x="1576" y="304"/>
                  </a:lnTo>
                  <a:lnTo>
                    <a:pt x="1587" y="307"/>
                  </a:lnTo>
                  <a:lnTo>
                    <a:pt x="1600" y="309"/>
                  </a:lnTo>
                  <a:lnTo>
                    <a:pt x="1615" y="312"/>
                  </a:lnTo>
                  <a:lnTo>
                    <a:pt x="1642" y="316"/>
                  </a:lnTo>
                  <a:lnTo>
                    <a:pt x="1657" y="318"/>
                  </a:lnTo>
                  <a:lnTo>
                    <a:pt x="1672" y="321"/>
                  </a:lnTo>
                  <a:lnTo>
                    <a:pt x="1686" y="325"/>
                  </a:lnTo>
                  <a:lnTo>
                    <a:pt x="1701" y="329"/>
                  </a:lnTo>
                  <a:lnTo>
                    <a:pt x="1715" y="334"/>
                  </a:lnTo>
                  <a:lnTo>
                    <a:pt x="1728" y="340"/>
                  </a:lnTo>
                  <a:lnTo>
                    <a:pt x="1740" y="348"/>
                  </a:lnTo>
                  <a:lnTo>
                    <a:pt x="1746" y="352"/>
                  </a:lnTo>
                  <a:lnTo>
                    <a:pt x="1752" y="356"/>
                  </a:lnTo>
                  <a:lnTo>
                    <a:pt x="1757" y="361"/>
                  </a:lnTo>
                  <a:lnTo>
                    <a:pt x="1762" y="366"/>
                  </a:lnTo>
                  <a:lnTo>
                    <a:pt x="1766" y="371"/>
                  </a:lnTo>
                  <a:lnTo>
                    <a:pt x="1771" y="377"/>
                  </a:lnTo>
                  <a:lnTo>
                    <a:pt x="1774" y="383"/>
                  </a:lnTo>
                  <a:lnTo>
                    <a:pt x="1778" y="390"/>
                  </a:lnTo>
                  <a:lnTo>
                    <a:pt x="1781" y="397"/>
                  </a:lnTo>
                  <a:lnTo>
                    <a:pt x="1783" y="404"/>
                  </a:lnTo>
                  <a:lnTo>
                    <a:pt x="1785" y="412"/>
                  </a:lnTo>
                  <a:lnTo>
                    <a:pt x="1787" y="420"/>
                  </a:lnTo>
                  <a:lnTo>
                    <a:pt x="1787" y="425"/>
                  </a:lnTo>
                  <a:lnTo>
                    <a:pt x="1787" y="429"/>
                  </a:lnTo>
                  <a:lnTo>
                    <a:pt x="1788" y="438"/>
                  </a:lnTo>
                  <a:lnTo>
                    <a:pt x="1787" y="449"/>
                  </a:lnTo>
                  <a:lnTo>
                    <a:pt x="1787" y="458"/>
                  </a:lnTo>
                  <a:lnTo>
                    <a:pt x="1785" y="468"/>
                  </a:lnTo>
                  <a:lnTo>
                    <a:pt x="1783" y="477"/>
                  </a:lnTo>
                  <a:lnTo>
                    <a:pt x="1781" y="485"/>
                  </a:lnTo>
                  <a:lnTo>
                    <a:pt x="1778" y="494"/>
                  </a:lnTo>
                  <a:lnTo>
                    <a:pt x="1775" y="501"/>
                  </a:lnTo>
                  <a:lnTo>
                    <a:pt x="1771" y="509"/>
                  </a:lnTo>
                  <a:lnTo>
                    <a:pt x="1767" y="516"/>
                  </a:lnTo>
                  <a:lnTo>
                    <a:pt x="1763" y="523"/>
                  </a:lnTo>
                  <a:lnTo>
                    <a:pt x="1758" y="529"/>
                  </a:lnTo>
                  <a:lnTo>
                    <a:pt x="1752" y="535"/>
                  </a:lnTo>
                  <a:lnTo>
                    <a:pt x="1747" y="540"/>
                  </a:lnTo>
                  <a:lnTo>
                    <a:pt x="1741" y="546"/>
                  </a:lnTo>
                  <a:lnTo>
                    <a:pt x="1734" y="550"/>
                  </a:lnTo>
                  <a:lnTo>
                    <a:pt x="1728" y="555"/>
                  </a:lnTo>
                  <a:lnTo>
                    <a:pt x="1721" y="559"/>
                  </a:lnTo>
                  <a:lnTo>
                    <a:pt x="1714" y="563"/>
                  </a:lnTo>
                  <a:lnTo>
                    <a:pt x="1699" y="570"/>
                  </a:lnTo>
                  <a:lnTo>
                    <a:pt x="1683" y="576"/>
                  </a:lnTo>
                  <a:lnTo>
                    <a:pt x="1675" y="578"/>
                  </a:lnTo>
                  <a:lnTo>
                    <a:pt x="1666" y="580"/>
                  </a:lnTo>
                  <a:lnTo>
                    <a:pt x="1649" y="584"/>
                  </a:lnTo>
                  <a:lnTo>
                    <a:pt x="1631" y="586"/>
                  </a:lnTo>
                  <a:lnTo>
                    <a:pt x="1613" y="588"/>
                  </a:lnTo>
                  <a:lnTo>
                    <a:pt x="1595" y="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Tree>
    <p:extLst>
      <p:ext uri="{BB962C8B-B14F-4D97-AF65-F5344CB8AC3E}">
        <p14:creationId xmlns:p14="http://schemas.microsoft.com/office/powerpoint/2010/main" val="1552731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ags" Target="../tags/tag1.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2.xml"/><Relationship Id="rId17" Type="http://schemas.openxmlformats.org/officeDocument/2006/relationships/image" Target="../media/image16.svg"/><Relationship Id="rId2" Type="http://schemas.openxmlformats.org/officeDocument/2006/relationships/slideLayout" Target="../slideLayouts/slideLayout39.xml"/><Relationship Id="rId16" Type="http://schemas.openxmlformats.org/officeDocument/2006/relationships/image" Target="../media/image15.pn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image" Target="../media/image14.emf"/><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image" Target="../media/image1.png"/><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heme" Target="../theme/theme3.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xml"/><Relationship Id="rId1"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xml"/><Relationship Id="rId7" Type="http://schemas.openxmlformats.org/officeDocument/2006/relationships/image" Target="../media/image22.png"/><Relationship Id="rId2" Type="http://schemas.openxmlformats.org/officeDocument/2006/relationships/theme" Target="../theme/theme5.xml"/><Relationship Id="rId1" Type="http://schemas.openxmlformats.org/officeDocument/2006/relationships/slideLayout" Target="../slideLayouts/slideLayout60.xml"/><Relationship Id="rId6" Type="http://schemas.openxmlformats.org/officeDocument/2006/relationships/image" Target="../media/image21.png"/><Relationship Id="rId5" Type="http://schemas.openxmlformats.org/officeDocument/2006/relationships/image" Target="../media/image14.emf"/><Relationship Id="rId4" Type="http://schemas.openxmlformats.org/officeDocument/2006/relationships/oleObject" Target="../embeddings/oleObject2.bin"/><Relationship Id="rId9" Type="http://schemas.openxmlformats.org/officeDocument/2006/relationships/image" Target="../media/image16.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6764" y="692150"/>
            <a:ext cx="10658474" cy="864642"/>
          </a:xfrm>
          <a:prstGeom prst="rect">
            <a:avLst/>
          </a:prstGeom>
        </p:spPr>
        <p:txBody>
          <a:bodyPr vert="horz" lIns="0" tIns="0" rIns="0" bIns="0" rtlCol="0" anchor="ctr" anchorCtr="0">
            <a:noAutofit/>
          </a:bodyPr>
          <a:lstStyle/>
          <a:p>
            <a:r>
              <a:rPr lang="en-US"/>
              <a:t>Click to edit Master title style</a:t>
            </a:r>
            <a:endParaRPr lang="fi-FI" dirty="0"/>
          </a:p>
        </p:txBody>
      </p:sp>
      <p:sp>
        <p:nvSpPr>
          <p:cNvPr id="3" name="Text Placeholder 2"/>
          <p:cNvSpPr>
            <a:spLocks noGrp="1"/>
          </p:cNvSpPr>
          <p:nvPr>
            <p:ph type="body" idx="1"/>
          </p:nvPr>
        </p:nvSpPr>
        <p:spPr>
          <a:xfrm>
            <a:off x="766764" y="1773238"/>
            <a:ext cx="10658474" cy="4176712"/>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2063552" y="6381329"/>
            <a:ext cx="1224137" cy="216023"/>
          </a:xfrm>
          <a:prstGeom prst="rect">
            <a:avLst/>
          </a:prstGeom>
        </p:spPr>
        <p:txBody>
          <a:bodyPr vert="horz" lIns="0" tIns="0" rIns="0" bIns="0" rtlCol="0" anchor="ctr" anchorCtr="0">
            <a:noAutofit/>
          </a:bodyPr>
          <a:lstStyle>
            <a:lvl1pPr algn="l">
              <a:defRPr sz="900">
                <a:solidFill>
                  <a:schemeClr val="tx1"/>
                </a:solidFill>
              </a:defRPr>
            </a:lvl1pPr>
          </a:lstStyle>
          <a:p>
            <a:fld id="{A25CC2C9-1C0E-47D0-AEFE-63C374E4A9E0}" type="datetime1">
              <a:rPr lang="en-GB" smtClean="0"/>
              <a:pPr/>
              <a:t>22/10/2025</a:t>
            </a:fld>
            <a:endParaRPr lang="fi-FI" dirty="0"/>
          </a:p>
        </p:txBody>
      </p:sp>
      <p:sp>
        <p:nvSpPr>
          <p:cNvPr id="5" name="Footer Placeholder 4"/>
          <p:cNvSpPr>
            <a:spLocks noGrp="1"/>
          </p:cNvSpPr>
          <p:nvPr>
            <p:ph type="ftr" sz="quarter" idx="3"/>
          </p:nvPr>
        </p:nvSpPr>
        <p:spPr>
          <a:xfrm>
            <a:off x="3287688" y="6381328"/>
            <a:ext cx="8137550" cy="216024"/>
          </a:xfrm>
          <a:prstGeom prst="rect">
            <a:avLst/>
          </a:prstGeom>
        </p:spPr>
        <p:txBody>
          <a:bodyPr vert="horz" lIns="0" tIns="0" rIns="0" bIns="0" rtlCol="0" anchor="ctr" anchorCtr="0">
            <a:noAutofit/>
          </a:bodyPr>
          <a:lstStyle>
            <a:lvl1pPr algn="l">
              <a:defRPr sz="900">
                <a:solidFill>
                  <a:schemeClr val="tx1"/>
                </a:solidFill>
              </a:defRPr>
            </a:lvl1pPr>
          </a:lstStyle>
          <a:p>
            <a:r>
              <a:rPr lang="fi-FI"/>
              <a:t>Presentation name / Author</a:t>
            </a:r>
            <a:endParaRPr lang="fi-FI" dirty="0"/>
          </a:p>
        </p:txBody>
      </p:sp>
      <p:sp>
        <p:nvSpPr>
          <p:cNvPr id="6" name="Slide Number Placeholder 5"/>
          <p:cNvSpPr>
            <a:spLocks noGrp="1"/>
          </p:cNvSpPr>
          <p:nvPr>
            <p:ph type="sldNum" sz="quarter" idx="4"/>
          </p:nvPr>
        </p:nvSpPr>
        <p:spPr>
          <a:xfrm>
            <a:off x="11425239" y="6381329"/>
            <a:ext cx="431800" cy="216023"/>
          </a:xfrm>
          <a:prstGeom prst="rect">
            <a:avLst/>
          </a:prstGeom>
        </p:spPr>
        <p:txBody>
          <a:bodyPr vert="horz" lIns="0" tIns="0" rIns="0" bIns="0" rtlCol="0" anchor="ctr" anchorCtr="0">
            <a:noAutofit/>
          </a:bodyPr>
          <a:lstStyle>
            <a:lvl1pPr algn="r">
              <a:defRPr sz="900">
                <a:solidFill>
                  <a:schemeClr val="tx1"/>
                </a:solidFill>
              </a:defRPr>
            </a:lvl1pPr>
          </a:lstStyle>
          <a:p>
            <a:fld id="{49A25110-65A2-4B67-BF3F-8D6D3162EF46}" type="slidenum">
              <a:rPr lang="fi-FI" smtClean="0"/>
              <a:pPr/>
              <a:t>‹#›</a:t>
            </a:fld>
            <a:endParaRPr lang="fi-FI" dirty="0"/>
          </a:p>
        </p:txBody>
      </p:sp>
      <p:grpSp>
        <p:nvGrpSpPr>
          <p:cNvPr id="15" name="Group 14"/>
          <p:cNvGrpSpPr>
            <a:grpSpLocks noChangeAspect="1"/>
          </p:cNvGrpSpPr>
          <p:nvPr/>
        </p:nvGrpSpPr>
        <p:grpSpPr>
          <a:xfrm>
            <a:off x="335360" y="6093296"/>
            <a:ext cx="1243838" cy="432000"/>
            <a:chOff x="3279775" y="2451101"/>
            <a:chExt cx="5640388" cy="1958974"/>
          </a:xfrm>
        </p:grpSpPr>
        <p:sp>
          <p:nvSpPr>
            <p:cNvPr id="13" name="Freeform 6"/>
            <p:cNvSpPr>
              <a:spLocks/>
            </p:cNvSpPr>
            <p:nvPr/>
          </p:nvSpPr>
          <p:spPr bwMode="auto">
            <a:xfrm>
              <a:off x="3279775" y="2451101"/>
              <a:ext cx="1838325" cy="1944687"/>
            </a:xfrm>
            <a:custGeom>
              <a:avLst/>
              <a:gdLst>
                <a:gd name="T0" fmla="*/ 978 w 1158"/>
                <a:gd name="T1" fmla="*/ 608 h 1225"/>
                <a:gd name="T2" fmla="*/ 974 w 1158"/>
                <a:gd name="T3" fmla="*/ 610 h 1225"/>
                <a:gd name="T4" fmla="*/ 968 w 1158"/>
                <a:gd name="T5" fmla="*/ 608 h 1225"/>
                <a:gd name="T6" fmla="*/ 966 w 1158"/>
                <a:gd name="T7" fmla="*/ 134 h 1225"/>
                <a:gd name="T8" fmla="*/ 963 w 1158"/>
                <a:gd name="T9" fmla="*/ 128 h 1225"/>
                <a:gd name="T10" fmla="*/ 956 w 1158"/>
                <a:gd name="T11" fmla="*/ 128 h 1225"/>
                <a:gd name="T12" fmla="*/ 953 w 1158"/>
                <a:gd name="T13" fmla="*/ 132 h 1225"/>
                <a:gd name="T14" fmla="*/ 784 w 1158"/>
                <a:gd name="T15" fmla="*/ 603 h 1225"/>
                <a:gd name="T16" fmla="*/ 779 w 1158"/>
                <a:gd name="T17" fmla="*/ 607 h 1225"/>
                <a:gd name="T18" fmla="*/ 773 w 1158"/>
                <a:gd name="T19" fmla="*/ 605 h 1225"/>
                <a:gd name="T20" fmla="*/ 771 w 1158"/>
                <a:gd name="T21" fmla="*/ 466 h 1225"/>
                <a:gd name="T22" fmla="*/ 769 w 1158"/>
                <a:gd name="T23" fmla="*/ 461 h 1225"/>
                <a:gd name="T24" fmla="*/ 764 w 1158"/>
                <a:gd name="T25" fmla="*/ 459 h 1225"/>
                <a:gd name="T26" fmla="*/ 584 w 1158"/>
                <a:gd name="T27" fmla="*/ 614 h 1225"/>
                <a:gd name="T28" fmla="*/ 579 w 1158"/>
                <a:gd name="T29" fmla="*/ 616 h 1225"/>
                <a:gd name="T30" fmla="*/ 396 w 1158"/>
                <a:gd name="T31" fmla="*/ 461 h 1225"/>
                <a:gd name="T32" fmla="*/ 390 w 1158"/>
                <a:gd name="T33" fmla="*/ 460 h 1225"/>
                <a:gd name="T34" fmla="*/ 386 w 1158"/>
                <a:gd name="T35" fmla="*/ 464 h 1225"/>
                <a:gd name="T36" fmla="*/ 386 w 1158"/>
                <a:gd name="T37" fmla="*/ 603 h 1225"/>
                <a:gd name="T38" fmla="*/ 381 w 1158"/>
                <a:gd name="T39" fmla="*/ 607 h 1225"/>
                <a:gd name="T40" fmla="*/ 375 w 1158"/>
                <a:gd name="T41" fmla="*/ 605 h 1225"/>
                <a:gd name="T42" fmla="*/ 292 w 1158"/>
                <a:gd name="T43" fmla="*/ 378 h 1225"/>
                <a:gd name="T44" fmla="*/ 203 w 1158"/>
                <a:gd name="T45" fmla="*/ 130 h 1225"/>
                <a:gd name="T46" fmla="*/ 197 w 1158"/>
                <a:gd name="T47" fmla="*/ 128 h 1225"/>
                <a:gd name="T48" fmla="*/ 192 w 1158"/>
                <a:gd name="T49" fmla="*/ 132 h 1225"/>
                <a:gd name="T50" fmla="*/ 191 w 1158"/>
                <a:gd name="T51" fmla="*/ 606 h 1225"/>
                <a:gd name="T52" fmla="*/ 186 w 1158"/>
                <a:gd name="T53" fmla="*/ 610 h 1225"/>
                <a:gd name="T54" fmla="*/ 181 w 1158"/>
                <a:gd name="T55" fmla="*/ 609 h 1225"/>
                <a:gd name="T56" fmla="*/ 13 w 1158"/>
                <a:gd name="T57" fmla="*/ 5 h 1225"/>
                <a:gd name="T58" fmla="*/ 10 w 1158"/>
                <a:gd name="T59" fmla="*/ 1 h 1225"/>
                <a:gd name="T60" fmla="*/ 4 w 1158"/>
                <a:gd name="T61" fmla="*/ 1 h 1225"/>
                <a:gd name="T62" fmla="*/ 0 w 1158"/>
                <a:gd name="T63" fmla="*/ 7 h 1225"/>
                <a:gd name="T64" fmla="*/ 1 w 1158"/>
                <a:gd name="T65" fmla="*/ 552 h 1225"/>
                <a:gd name="T66" fmla="*/ 147 w 1158"/>
                <a:gd name="T67" fmla="*/ 644 h 1225"/>
                <a:gd name="T68" fmla="*/ 389 w 1158"/>
                <a:gd name="T69" fmla="*/ 646 h 1225"/>
                <a:gd name="T70" fmla="*/ 397 w 1158"/>
                <a:gd name="T71" fmla="*/ 649 h 1225"/>
                <a:gd name="T72" fmla="*/ 500 w 1158"/>
                <a:gd name="T73" fmla="*/ 909 h 1225"/>
                <a:gd name="T74" fmla="*/ 501 w 1158"/>
                <a:gd name="T75" fmla="*/ 917 h 1225"/>
                <a:gd name="T76" fmla="*/ 447 w 1158"/>
                <a:gd name="T77" fmla="*/ 1030 h 1225"/>
                <a:gd name="T78" fmla="*/ 519 w 1158"/>
                <a:gd name="T79" fmla="*/ 1218 h 1225"/>
                <a:gd name="T80" fmla="*/ 526 w 1158"/>
                <a:gd name="T81" fmla="*/ 1224 h 1225"/>
                <a:gd name="T82" fmla="*/ 629 w 1158"/>
                <a:gd name="T83" fmla="*/ 1225 h 1225"/>
                <a:gd name="T84" fmla="*/ 637 w 1158"/>
                <a:gd name="T85" fmla="*/ 1221 h 1225"/>
                <a:gd name="T86" fmla="*/ 710 w 1158"/>
                <a:gd name="T87" fmla="*/ 1036 h 1225"/>
                <a:gd name="T88" fmla="*/ 710 w 1158"/>
                <a:gd name="T89" fmla="*/ 1030 h 1225"/>
                <a:gd name="T90" fmla="*/ 657 w 1158"/>
                <a:gd name="T91" fmla="*/ 917 h 1225"/>
                <a:gd name="T92" fmla="*/ 758 w 1158"/>
                <a:gd name="T93" fmla="*/ 652 h 1225"/>
                <a:gd name="T94" fmla="*/ 765 w 1158"/>
                <a:gd name="T95" fmla="*/ 646 h 1225"/>
                <a:gd name="T96" fmla="*/ 1009 w 1158"/>
                <a:gd name="T97" fmla="*/ 645 h 1225"/>
                <a:gd name="T98" fmla="*/ 1155 w 1158"/>
                <a:gd name="T99" fmla="*/ 554 h 1225"/>
                <a:gd name="T100" fmla="*/ 1158 w 1158"/>
                <a:gd name="T101" fmla="*/ 549 h 1225"/>
                <a:gd name="T102" fmla="*/ 1158 w 1158"/>
                <a:gd name="T103" fmla="*/ 4 h 1225"/>
                <a:gd name="T104" fmla="*/ 1152 w 1158"/>
                <a:gd name="T105" fmla="*/ 0 h 1225"/>
                <a:gd name="T106" fmla="*/ 1146 w 1158"/>
                <a:gd name="T107" fmla="*/ 3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8" h="1225">
                  <a:moveTo>
                    <a:pt x="1145" y="5"/>
                  </a:moveTo>
                  <a:lnTo>
                    <a:pt x="979" y="605"/>
                  </a:lnTo>
                  <a:lnTo>
                    <a:pt x="978" y="608"/>
                  </a:lnTo>
                  <a:lnTo>
                    <a:pt x="977" y="608"/>
                  </a:lnTo>
                  <a:lnTo>
                    <a:pt x="976" y="609"/>
                  </a:lnTo>
                  <a:lnTo>
                    <a:pt x="974" y="610"/>
                  </a:lnTo>
                  <a:lnTo>
                    <a:pt x="972" y="610"/>
                  </a:lnTo>
                  <a:lnTo>
                    <a:pt x="970" y="609"/>
                  </a:lnTo>
                  <a:lnTo>
                    <a:pt x="968" y="608"/>
                  </a:lnTo>
                  <a:lnTo>
                    <a:pt x="967" y="606"/>
                  </a:lnTo>
                  <a:lnTo>
                    <a:pt x="966" y="603"/>
                  </a:lnTo>
                  <a:lnTo>
                    <a:pt x="966" y="134"/>
                  </a:lnTo>
                  <a:lnTo>
                    <a:pt x="966" y="132"/>
                  </a:lnTo>
                  <a:lnTo>
                    <a:pt x="964" y="130"/>
                  </a:lnTo>
                  <a:lnTo>
                    <a:pt x="963" y="128"/>
                  </a:lnTo>
                  <a:lnTo>
                    <a:pt x="961" y="128"/>
                  </a:lnTo>
                  <a:lnTo>
                    <a:pt x="958" y="128"/>
                  </a:lnTo>
                  <a:lnTo>
                    <a:pt x="956" y="128"/>
                  </a:lnTo>
                  <a:lnTo>
                    <a:pt x="955" y="129"/>
                  </a:lnTo>
                  <a:lnTo>
                    <a:pt x="955" y="130"/>
                  </a:lnTo>
                  <a:lnTo>
                    <a:pt x="953" y="132"/>
                  </a:lnTo>
                  <a:lnTo>
                    <a:pt x="916" y="240"/>
                  </a:lnTo>
                  <a:lnTo>
                    <a:pt x="865" y="378"/>
                  </a:lnTo>
                  <a:lnTo>
                    <a:pt x="784" y="603"/>
                  </a:lnTo>
                  <a:lnTo>
                    <a:pt x="782" y="605"/>
                  </a:lnTo>
                  <a:lnTo>
                    <a:pt x="781" y="606"/>
                  </a:lnTo>
                  <a:lnTo>
                    <a:pt x="779" y="607"/>
                  </a:lnTo>
                  <a:lnTo>
                    <a:pt x="776" y="607"/>
                  </a:lnTo>
                  <a:lnTo>
                    <a:pt x="774" y="606"/>
                  </a:lnTo>
                  <a:lnTo>
                    <a:pt x="773" y="605"/>
                  </a:lnTo>
                  <a:lnTo>
                    <a:pt x="772" y="603"/>
                  </a:lnTo>
                  <a:lnTo>
                    <a:pt x="771" y="600"/>
                  </a:lnTo>
                  <a:lnTo>
                    <a:pt x="771" y="466"/>
                  </a:lnTo>
                  <a:lnTo>
                    <a:pt x="771" y="464"/>
                  </a:lnTo>
                  <a:lnTo>
                    <a:pt x="770" y="462"/>
                  </a:lnTo>
                  <a:lnTo>
                    <a:pt x="769" y="461"/>
                  </a:lnTo>
                  <a:lnTo>
                    <a:pt x="767" y="460"/>
                  </a:lnTo>
                  <a:lnTo>
                    <a:pt x="766" y="459"/>
                  </a:lnTo>
                  <a:lnTo>
                    <a:pt x="764" y="459"/>
                  </a:lnTo>
                  <a:lnTo>
                    <a:pt x="762" y="460"/>
                  </a:lnTo>
                  <a:lnTo>
                    <a:pt x="761" y="461"/>
                  </a:lnTo>
                  <a:lnTo>
                    <a:pt x="584" y="614"/>
                  </a:lnTo>
                  <a:lnTo>
                    <a:pt x="583" y="615"/>
                  </a:lnTo>
                  <a:lnTo>
                    <a:pt x="581" y="615"/>
                  </a:lnTo>
                  <a:lnTo>
                    <a:pt x="579" y="616"/>
                  </a:lnTo>
                  <a:lnTo>
                    <a:pt x="576" y="615"/>
                  </a:lnTo>
                  <a:lnTo>
                    <a:pt x="573" y="614"/>
                  </a:lnTo>
                  <a:lnTo>
                    <a:pt x="396" y="461"/>
                  </a:lnTo>
                  <a:lnTo>
                    <a:pt x="393" y="459"/>
                  </a:lnTo>
                  <a:lnTo>
                    <a:pt x="391" y="460"/>
                  </a:lnTo>
                  <a:lnTo>
                    <a:pt x="390" y="460"/>
                  </a:lnTo>
                  <a:lnTo>
                    <a:pt x="388" y="461"/>
                  </a:lnTo>
                  <a:lnTo>
                    <a:pt x="387" y="462"/>
                  </a:lnTo>
                  <a:lnTo>
                    <a:pt x="386" y="464"/>
                  </a:lnTo>
                  <a:lnTo>
                    <a:pt x="386" y="466"/>
                  </a:lnTo>
                  <a:lnTo>
                    <a:pt x="386" y="601"/>
                  </a:lnTo>
                  <a:lnTo>
                    <a:pt x="386" y="603"/>
                  </a:lnTo>
                  <a:lnTo>
                    <a:pt x="384" y="605"/>
                  </a:lnTo>
                  <a:lnTo>
                    <a:pt x="383" y="606"/>
                  </a:lnTo>
                  <a:lnTo>
                    <a:pt x="381" y="607"/>
                  </a:lnTo>
                  <a:lnTo>
                    <a:pt x="379" y="607"/>
                  </a:lnTo>
                  <a:lnTo>
                    <a:pt x="377" y="606"/>
                  </a:lnTo>
                  <a:lnTo>
                    <a:pt x="375" y="605"/>
                  </a:lnTo>
                  <a:lnTo>
                    <a:pt x="374" y="603"/>
                  </a:lnTo>
                  <a:lnTo>
                    <a:pt x="340" y="511"/>
                  </a:lnTo>
                  <a:lnTo>
                    <a:pt x="292" y="378"/>
                  </a:lnTo>
                  <a:lnTo>
                    <a:pt x="242" y="240"/>
                  </a:lnTo>
                  <a:lnTo>
                    <a:pt x="205" y="132"/>
                  </a:lnTo>
                  <a:lnTo>
                    <a:pt x="203" y="130"/>
                  </a:lnTo>
                  <a:lnTo>
                    <a:pt x="202" y="128"/>
                  </a:lnTo>
                  <a:lnTo>
                    <a:pt x="200" y="128"/>
                  </a:lnTo>
                  <a:lnTo>
                    <a:pt x="197" y="128"/>
                  </a:lnTo>
                  <a:lnTo>
                    <a:pt x="195" y="128"/>
                  </a:lnTo>
                  <a:lnTo>
                    <a:pt x="194" y="130"/>
                  </a:lnTo>
                  <a:lnTo>
                    <a:pt x="192" y="132"/>
                  </a:lnTo>
                  <a:lnTo>
                    <a:pt x="192" y="134"/>
                  </a:lnTo>
                  <a:lnTo>
                    <a:pt x="192" y="604"/>
                  </a:lnTo>
                  <a:lnTo>
                    <a:pt x="191" y="606"/>
                  </a:lnTo>
                  <a:lnTo>
                    <a:pt x="190" y="608"/>
                  </a:lnTo>
                  <a:lnTo>
                    <a:pt x="188" y="609"/>
                  </a:lnTo>
                  <a:lnTo>
                    <a:pt x="186" y="610"/>
                  </a:lnTo>
                  <a:lnTo>
                    <a:pt x="184" y="610"/>
                  </a:lnTo>
                  <a:lnTo>
                    <a:pt x="182" y="609"/>
                  </a:lnTo>
                  <a:lnTo>
                    <a:pt x="181" y="609"/>
                  </a:lnTo>
                  <a:lnTo>
                    <a:pt x="180" y="608"/>
                  </a:lnTo>
                  <a:lnTo>
                    <a:pt x="179" y="605"/>
                  </a:lnTo>
                  <a:lnTo>
                    <a:pt x="13" y="5"/>
                  </a:lnTo>
                  <a:lnTo>
                    <a:pt x="12" y="3"/>
                  </a:lnTo>
                  <a:lnTo>
                    <a:pt x="11" y="2"/>
                  </a:lnTo>
                  <a:lnTo>
                    <a:pt x="10" y="1"/>
                  </a:lnTo>
                  <a:lnTo>
                    <a:pt x="8" y="1"/>
                  </a:lnTo>
                  <a:lnTo>
                    <a:pt x="6" y="0"/>
                  </a:lnTo>
                  <a:lnTo>
                    <a:pt x="4" y="1"/>
                  </a:lnTo>
                  <a:lnTo>
                    <a:pt x="2" y="3"/>
                  </a:lnTo>
                  <a:lnTo>
                    <a:pt x="1" y="4"/>
                  </a:lnTo>
                  <a:lnTo>
                    <a:pt x="0" y="7"/>
                  </a:lnTo>
                  <a:lnTo>
                    <a:pt x="0" y="546"/>
                  </a:lnTo>
                  <a:lnTo>
                    <a:pt x="0" y="549"/>
                  </a:lnTo>
                  <a:lnTo>
                    <a:pt x="1" y="552"/>
                  </a:lnTo>
                  <a:lnTo>
                    <a:pt x="3" y="554"/>
                  </a:lnTo>
                  <a:lnTo>
                    <a:pt x="5" y="555"/>
                  </a:lnTo>
                  <a:lnTo>
                    <a:pt x="147" y="644"/>
                  </a:lnTo>
                  <a:lnTo>
                    <a:pt x="150" y="645"/>
                  </a:lnTo>
                  <a:lnTo>
                    <a:pt x="153" y="646"/>
                  </a:lnTo>
                  <a:lnTo>
                    <a:pt x="389" y="646"/>
                  </a:lnTo>
                  <a:lnTo>
                    <a:pt x="392" y="646"/>
                  </a:lnTo>
                  <a:lnTo>
                    <a:pt x="395" y="647"/>
                  </a:lnTo>
                  <a:lnTo>
                    <a:pt x="397" y="649"/>
                  </a:lnTo>
                  <a:lnTo>
                    <a:pt x="398" y="651"/>
                  </a:lnTo>
                  <a:lnTo>
                    <a:pt x="399" y="652"/>
                  </a:lnTo>
                  <a:lnTo>
                    <a:pt x="500" y="909"/>
                  </a:lnTo>
                  <a:lnTo>
                    <a:pt x="501" y="912"/>
                  </a:lnTo>
                  <a:lnTo>
                    <a:pt x="501" y="914"/>
                  </a:lnTo>
                  <a:lnTo>
                    <a:pt x="501" y="917"/>
                  </a:lnTo>
                  <a:lnTo>
                    <a:pt x="500" y="920"/>
                  </a:lnTo>
                  <a:lnTo>
                    <a:pt x="448" y="1028"/>
                  </a:lnTo>
                  <a:lnTo>
                    <a:pt x="447" y="1030"/>
                  </a:lnTo>
                  <a:lnTo>
                    <a:pt x="447" y="1032"/>
                  </a:lnTo>
                  <a:lnTo>
                    <a:pt x="447" y="1036"/>
                  </a:lnTo>
                  <a:lnTo>
                    <a:pt x="519" y="1218"/>
                  </a:lnTo>
                  <a:lnTo>
                    <a:pt x="520" y="1221"/>
                  </a:lnTo>
                  <a:lnTo>
                    <a:pt x="523" y="1223"/>
                  </a:lnTo>
                  <a:lnTo>
                    <a:pt x="526" y="1224"/>
                  </a:lnTo>
                  <a:lnTo>
                    <a:pt x="529" y="1225"/>
                  </a:lnTo>
                  <a:lnTo>
                    <a:pt x="579" y="1225"/>
                  </a:lnTo>
                  <a:lnTo>
                    <a:pt x="629" y="1225"/>
                  </a:lnTo>
                  <a:lnTo>
                    <a:pt x="632" y="1224"/>
                  </a:lnTo>
                  <a:lnTo>
                    <a:pt x="635" y="1223"/>
                  </a:lnTo>
                  <a:lnTo>
                    <a:pt x="637" y="1221"/>
                  </a:lnTo>
                  <a:lnTo>
                    <a:pt x="638" y="1219"/>
                  </a:lnTo>
                  <a:lnTo>
                    <a:pt x="638" y="1218"/>
                  </a:lnTo>
                  <a:lnTo>
                    <a:pt x="710" y="1036"/>
                  </a:lnTo>
                  <a:lnTo>
                    <a:pt x="711" y="1034"/>
                  </a:lnTo>
                  <a:lnTo>
                    <a:pt x="711" y="1032"/>
                  </a:lnTo>
                  <a:lnTo>
                    <a:pt x="710" y="1030"/>
                  </a:lnTo>
                  <a:lnTo>
                    <a:pt x="710" y="1028"/>
                  </a:lnTo>
                  <a:lnTo>
                    <a:pt x="657" y="920"/>
                  </a:lnTo>
                  <a:lnTo>
                    <a:pt x="657" y="917"/>
                  </a:lnTo>
                  <a:lnTo>
                    <a:pt x="656" y="914"/>
                  </a:lnTo>
                  <a:lnTo>
                    <a:pt x="657" y="909"/>
                  </a:lnTo>
                  <a:lnTo>
                    <a:pt x="758" y="652"/>
                  </a:lnTo>
                  <a:lnTo>
                    <a:pt x="760" y="650"/>
                  </a:lnTo>
                  <a:lnTo>
                    <a:pt x="762" y="647"/>
                  </a:lnTo>
                  <a:lnTo>
                    <a:pt x="765" y="646"/>
                  </a:lnTo>
                  <a:lnTo>
                    <a:pt x="768" y="646"/>
                  </a:lnTo>
                  <a:lnTo>
                    <a:pt x="1006" y="646"/>
                  </a:lnTo>
                  <a:lnTo>
                    <a:pt x="1009" y="645"/>
                  </a:lnTo>
                  <a:lnTo>
                    <a:pt x="1011" y="644"/>
                  </a:lnTo>
                  <a:lnTo>
                    <a:pt x="1153" y="555"/>
                  </a:lnTo>
                  <a:lnTo>
                    <a:pt x="1155" y="554"/>
                  </a:lnTo>
                  <a:lnTo>
                    <a:pt x="1156" y="553"/>
                  </a:lnTo>
                  <a:lnTo>
                    <a:pt x="1157" y="552"/>
                  </a:lnTo>
                  <a:lnTo>
                    <a:pt x="1158" y="549"/>
                  </a:lnTo>
                  <a:lnTo>
                    <a:pt x="1158" y="546"/>
                  </a:lnTo>
                  <a:lnTo>
                    <a:pt x="1158" y="7"/>
                  </a:lnTo>
                  <a:lnTo>
                    <a:pt x="1158" y="4"/>
                  </a:lnTo>
                  <a:lnTo>
                    <a:pt x="1156" y="3"/>
                  </a:lnTo>
                  <a:lnTo>
                    <a:pt x="1154" y="1"/>
                  </a:lnTo>
                  <a:lnTo>
                    <a:pt x="1152" y="0"/>
                  </a:lnTo>
                  <a:lnTo>
                    <a:pt x="1150" y="1"/>
                  </a:lnTo>
                  <a:lnTo>
                    <a:pt x="1148" y="1"/>
                  </a:lnTo>
                  <a:lnTo>
                    <a:pt x="1146" y="3"/>
                  </a:lnTo>
                  <a:lnTo>
                    <a:pt x="1145" y="4"/>
                  </a:lnTo>
                  <a:lnTo>
                    <a:pt x="1145" y="5"/>
                  </a:lnTo>
                  <a:close/>
                </a:path>
              </a:pathLst>
            </a:custGeom>
            <a:solidFill>
              <a:srgbClr val="62A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4" name="Freeform 7"/>
            <p:cNvSpPr>
              <a:spLocks noEditPoints="1"/>
            </p:cNvSpPr>
            <p:nvPr/>
          </p:nvSpPr>
          <p:spPr bwMode="auto">
            <a:xfrm>
              <a:off x="5386388" y="3476625"/>
              <a:ext cx="3533775" cy="933450"/>
            </a:xfrm>
            <a:custGeom>
              <a:avLst/>
              <a:gdLst>
                <a:gd name="T0" fmla="*/ 1976 w 2226"/>
                <a:gd name="T1" fmla="*/ 407 h 588"/>
                <a:gd name="T2" fmla="*/ 1967 w 2226"/>
                <a:gd name="T3" fmla="*/ 463 h 588"/>
                <a:gd name="T4" fmla="*/ 2059 w 2226"/>
                <a:gd name="T5" fmla="*/ 452 h 588"/>
                <a:gd name="T6" fmla="*/ 2077 w 2226"/>
                <a:gd name="T7" fmla="*/ 579 h 588"/>
                <a:gd name="T8" fmla="*/ 2048 w 2226"/>
                <a:gd name="T9" fmla="*/ 537 h 588"/>
                <a:gd name="T10" fmla="*/ 1914 w 2226"/>
                <a:gd name="T11" fmla="*/ 585 h 588"/>
                <a:gd name="T12" fmla="*/ 1811 w 2226"/>
                <a:gd name="T13" fmla="*/ 508 h 588"/>
                <a:gd name="T14" fmla="*/ 1836 w 2226"/>
                <a:gd name="T15" fmla="*/ 383 h 588"/>
                <a:gd name="T16" fmla="*/ 2013 w 2226"/>
                <a:gd name="T17" fmla="*/ 311 h 588"/>
                <a:gd name="T18" fmla="*/ 2045 w 2226"/>
                <a:gd name="T19" fmla="*/ 271 h 588"/>
                <a:gd name="T20" fmla="*/ 1907 w 2226"/>
                <a:gd name="T21" fmla="*/ 300 h 588"/>
                <a:gd name="T22" fmla="*/ 1866 w 2226"/>
                <a:gd name="T23" fmla="*/ 195 h 588"/>
                <a:gd name="T24" fmla="*/ 2086 w 2226"/>
                <a:gd name="T25" fmla="*/ 154 h 588"/>
                <a:gd name="T26" fmla="*/ 2190 w 2226"/>
                <a:gd name="T27" fmla="*/ 214 h 588"/>
                <a:gd name="T28" fmla="*/ 2217 w 2226"/>
                <a:gd name="T29" fmla="*/ 512 h 588"/>
                <a:gd name="T30" fmla="*/ 1994 w 2226"/>
                <a:gd name="T31" fmla="*/ 3 h 588"/>
                <a:gd name="T32" fmla="*/ 1869 w 2226"/>
                <a:gd name="T33" fmla="*/ 7 h 588"/>
                <a:gd name="T34" fmla="*/ 2172 w 2226"/>
                <a:gd name="T35" fmla="*/ 123 h 588"/>
                <a:gd name="T36" fmla="*/ 1190 w 2226"/>
                <a:gd name="T37" fmla="*/ 576 h 588"/>
                <a:gd name="T38" fmla="*/ 1121 w 2226"/>
                <a:gd name="T39" fmla="*/ 502 h 588"/>
                <a:gd name="T40" fmla="*/ 1059 w 2226"/>
                <a:gd name="T41" fmla="*/ 264 h 588"/>
                <a:gd name="T42" fmla="*/ 1170 w 2226"/>
                <a:gd name="T43" fmla="*/ 25 h 588"/>
                <a:gd name="T44" fmla="*/ 1274 w 2226"/>
                <a:gd name="T45" fmla="*/ 156 h 588"/>
                <a:gd name="T46" fmla="*/ 1374 w 2226"/>
                <a:gd name="T47" fmla="*/ 271 h 588"/>
                <a:gd name="T48" fmla="*/ 1291 w 2226"/>
                <a:gd name="T49" fmla="*/ 469 h 588"/>
                <a:gd name="T50" fmla="*/ 1370 w 2226"/>
                <a:gd name="T51" fmla="*/ 564 h 588"/>
                <a:gd name="T52" fmla="*/ 1 w 2226"/>
                <a:gd name="T53" fmla="*/ 3 h 588"/>
                <a:gd name="T54" fmla="*/ 312 w 2226"/>
                <a:gd name="T55" fmla="*/ 389 h 588"/>
                <a:gd name="T56" fmla="*/ 615 w 2226"/>
                <a:gd name="T57" fmla="*/ 572 h 588"/>
                <a:gd name="T58" fmla="*/ 463 w 2226"/>
                <a:gd name="T59" fmla="*/ 222 h 588"/>
                <a:gd name="T60" fmla="*/ 365 w 2226"/>
                <a:gd name="T61" fmla="*/ 579 h 588"/>
                <a:gd name="T62" fmla="*/ 146 w 2226"/>
                <a:gd name="T63" fmla="*/ 223 h 588"/>
                <a:gd name="T64" fmla="*/ 1 w 2226"/>
                <a:gd name="T65" fmla="*/ 576 h 588"/>
                <a:gd name="T66" fmla="*/ 795 w 2226"/>
                <a:gd name="T67" fmla="*/ 421 h 588"/>
                <a:gd name="T68" fmla="*/ 861 w 2226"/>
                <a:gd name="T69" fmla="*/ 482 h 588"/>
                <a:gd name="T70" fmla="*/ 999 w 2226"/>
                <a:gd name="T71" fmla="*/ 448 h 588"/>
                <a:gd name="T72" fmla="*/ 974 w 2226"/>
                <a:gd name="T73" fmla="*/ 574 h 588"/>
                <a:gd name="T74" fmla="*/ 772 w 2226"/>
                <a:gd name="T75" fmla="*/ 575 h 588"/>
                <a:gd name="T76" fmla="*/ 659 w 2226"/>
                <a:gd name="T77" fmla="*/ 476 h 588"/>
                <a:gd name="T78" fmla="*/ 649 w 2226"/>
                <a:gd name="T79" fmla="*/ 300 h 588"/>
                <a:gd name="T80" fmla="*/ 753 w 2226"/>
                <a:gd name="T81" fmla="*/ 177 h 588"/>
                <a:gd name="T82" fmla="*/ 901 w 2226"/>
                <a:gd name="T83" fmla="*/ 155 h 588"/>
                <a:gd name="T84" fmla="*/ 1027 w 2226"/>
                <a:gd name="T85" fmla="*/ 233 h 588"/>
                <a:gd name="T86" fmla="*/ 921 w 2226"/>
                <a:gd name="T87" fmla="*/ 325 h 588"/>
                <a:gd name="T88" fmla="*/ 895 w 2226"/>
                <a:gd name="T89" fmla="*/ 267 h 588"/>
                <a:gd name="T90" fmla="*/ 818 w 2226"/>
                <a:gd name="T91" fmla="*/ 277 h 588"/>
                <a:gd name="T92" fmla="*/ 1595 w 2226"/>
                <a:gd name="T93" fmla="*/ 588 h 588"/>
                <a:gd name="T94" fmla="*/ 1393 w 2226"/>
                <a:gd name="T95" fmla="*/ 532 h 588"/>
                <a:gd name="T96" fmla="*/ 1483 w 2226"/>
                <a:gd name="T97" fmla="*/ 465 h 588"/>
                <a:gd name="T98" fmla="*/ 1638 w 2226"/>
                <a:gd name="T99" fmla="*/ 480 h 588"/>
                <a:gd name="T100" fmla="*/ 1609 w 2226"/>
                <a:gd name="T101" fmla="*/ 434 h 588"/>
                <a:gd name="T102" fmla="*/ 1433 w 2226"/>
                <a:gd name="T103" fmla="*/ 371 h 588"/>
                <a:gd name="T104" fmla="*/ 1410 w 2226"/>
                <a:gd name="T105" fmla="*/ 261 h 588"/>
                <a:gd name="T106" fmla="*/ 1497 w 2226"/>
                <a:gd name="T107" fmla="*/ 166 h 588"/>
                <a:gd name="T108" fmla="*/ 1713 w 2226"/>
                <a:gd name="T109" fmla="*/ 174 h 588"/>
                <a:gd name="T110" fmla="*/ 1716 w 2226"/>
                <a:gd name="T111" fmla="*/ 292 h 588"/>
                <a:gd name="T112" fmla="*/ 1568 w 2226"/>
                <a:gd name="T113" fmla="*/ 256 h 588"/>
                <a:gd name="T114" fmla="*/ 1563 w 2226"/>
                <a:gd name="T115" fmla="*/ 299 h 588"/>
                <a:gd name="T116" fmla="*/ 1752 w 2226"/>
                <a:gd name="T117" fmla="*/ 356 h 588"/>
                <a:gd name="T118" fmla="*/ 1787 w 2226"/>
                <a:gd name="T119" fmla="*/ 458 h 588"/>
                <a:gd name="T120" fmla="*/ 1721 w 2226"/>
                <a:gd name="T121" fmla="*/ 55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26" h="588">
                  <a:moveTo>
                    <a:pt x="2065" y="439"/>
                  </a:moveTo>
                  <a:lnTo>
                    <a:pt x="2065" y="391"/>
                  </a:lnTo>
                  <a:lnTo>
                    <a:pt x="2064" y="389"/>
                  </a:lnTo>
                  <a:lnTo>
                    <a:pt x="2063" y="388"/>
                  </a:lnTo>
                  <a:lnTo>
                    <a:pt x="2061" y="387"/>
                  </a:lnTo>
                  <a:lnTo>
                    <a:pt x="2060" y="387"/>
                  </a:lnTo>
                  <a:lnTo>
                    <a:pt x="2047" y="388"/>
                  </a:lnTo>
                  <a:lnTo>
                    <a:pt x="2035" y="389"/>
                  </a:lnTo>
                  <a:lnTo>
                    <a:pt x="2024" y="390"/>
                  </a:lnTo>
                  <a:lnTo>
                    <a:pt x="2014" y="392"/>
                  </a:lnTo>
                  <a:lnTo>
                    <a:pt x="2004" y="395"/>
                  </a:lnTo>
                  <a:lnTo>
                    <a:pt x="1996" y="397"/>
                  </a:lnTo>
                  <a:lnTo>
                    <a:pt x="1988" y="400"/>
                  </a:lnTo>
                  <a:lnTo>
                    <a:pt x="1981" y="403"/>
                  </a:lnTo>
                  <a:lnTo>
                    <a:pt x="1976" y="407"/>
                  </a:lnTo>
                  <a:lnTo>
                    <a:pt x="1971" y="411"/>
                  </a:lnTo>
                  <a:lnTo>
                    <a:pt x="1966" y="415"/>
                  </a:lnTo>
                  <a:lnTo>
                    <a:pt x="1963" y="420"/>
                  </a:lnTo>
                  <a:lnTo>
                    <a:pt x="1960" y="425"/>
                  </a:lnTo>
                  <a:lnTo>
                    <a:pt x="1958" y="430"/>
                  </a:lnTo>
                  <a:lnTo>
                    <a:pt x="1957" y="435"/>
                  </a:lnTo>
                  <a:lnTo>
                    <a:pt x="1957" y="441"/>
                  </a:lnTo>
                  <a:lnTo>
                    <a:pt x="1957" y="445"/>
                  </a:lnTo>
                  <a:lnTo>
                    <a:pt x="1958" y="448"/>
                  </a:lnTo>
                  <a:lnTo>
                    <a:pt x="1958" y="451"/>
                  </a:lnTo>
                  <a:lnTo>
                    <a:pt x="1959" y="454"/>
                  </a:lnTo>
                  <a:lnTo>
                    <a:pt x="1961" y="457"/>
                  </a:lnTo>
                  <a:lnTo>
                    <a:pt x="1963" y="459"/>
                  </a:lnTo>
                  <a:lnTo>
                    <a:pt x="1965" y="461"/>
                  </a:lnTo>
                  <a:lnTo>
                    <a:pt x="1967" y="463"/>
                  </a:lnTo>
                  <a:lnTo>
                    <a:pt x="1972" y="467"/>
                  </a:lnTo>
                  <a:lnTo>
                    <a:pt x="1975" y="468"/>
                  </a:lnTo>
                  <a:lnTo>
                    <a:pt x="1978" y="469"/>
                  </a:lnTo>
                  <a:lnTo>
                    <a:pt x="1984" y="470"/>
                  </a:lnTo>
                  <a:lnTo>
                    <a:pt x="1991" y="471"/>
                  </a:lnTo>
                  <a:lnTo>
                    <a:pt x="2005" y="470"/>
                  </a:lnTo>
                  <a:lnTo>
                    <a:pt x="2011" y="470"/>
                  </a:lnTo>
                  <a:lnTo>
                    <a:pt x="2017" y="469"/>
                  </a:lnTo>
                  <a:lnTo>
                    <a:pt x="2023" y="468"/>
                  </a:lnTo>
                  <a:lnTo>
                    <a:pt x="2028" y="467"/>
                  </a:lnTo>
                  <a:lnTo>
                    <a:pt x="2037" y="464"/>
                  </a:lnTo>
                  <a:lnTo>
                    <a:pt x="2045" y="461"/>
                  </a:lnTo>
                  <a:lnTo>
                    <a:pt x="2051" y="458"/>
                  </a:lnTo>
                  <a:lnTo>
                    <a:pt x="2056" y="454"/>
                  </a:lnTo>
                  <a:lnTo>
                    <a:pt x="2059" y="452"/>
                  </a:lnTo>
                  <a:lnTo>
                    <a:pt x="2061" y="450"/>
                  </a:lnTo>
                  <a:lnTo>
                    <a:pt x="2063" y="447"/>
                  </a:lnTo>
                  <a:lnTo>
                    <a:pt x="2064" y="443"/>
                  </a:lnTo>
                  <a:lnTo>
                    <a:pt x="2065" y="440"/>
                  </a:lnTo>
                  <a:lnTo>
                    <a:pt x="2065" y="439"/>
                  </a:lnTo>
                  <a:close/>
                  <a:moveTo>
                    <a:pt x="2225" y="572"/>
                  </a:moveTo>
                  <a:lnTo>
                    <a:pt x="2226" y="575"/>
                  </a:lnTo>
                  <a:lnTo>
                    <a:pt x="2225" y="577"/>
                  </a:lnTo>
                  <a:lnTo>
                    <a:pt x="2225" y="578"/>
                  </a:lnTo>
                  <a:lnTo>
                    <a:pt x="2224" y="579"/>
                  </a:lnTo>
                  <a:lnTo>
                    <a:pt x="2221" y="579"/>
                  </a:lnTo>
                  <a:lnTo>
                    <a:pt x="2220" y="579"/>
                  </a:lnTo>
                  <a:lnTo>
                    <a:pt x="2081" y="579"/>
                  </a:lnTo>
                  <a:lnTo>
                    <a:pt x="2079" y="579"/>
                  </a:lnTo>
                  <a:lnTo>
                    <a:pt x="2077" y="579"/>
                  </a:lnTo>
                  <a:lnTo>
                    <a:pt x="2074" y="577"/>
                  </a:lnTo>
                  <a:lnTo>
                    <a:pt x="2073" y="574"/>
                  </a:lnTo>
                  <a:lnTo>
                    <a:pt x="2072" y="572"/>
                  </a:lnTo>
                  <a:lnTo>
                    <a:pt x="2069" y="560"/>
                  </a:lnTo>
                  <a:lnTo>
                    <a:pt x="2067" y="548"/>
                  </a:lnTo>
                  <a:lnTo>
                    <a:pt x="2065" y="537"/>
                  </a:lnTo>
                  <a:lnTo>
                    <a:pt x="2065" y="526"/>
                  </a:lnTo>
                  <a:lnTo>
                    <a:pt x="2064" y="524"/>
                  </a:lnTo>
                  <a:lnTo>
                    <a:pt x="2064" y="522"/>
                  </a:lnTo>
                  <a:lnTo>
                    <a:pt x="2063" y="522"/>
                  </a:lnTo>
                  <a:lnTo>
                    <a:pt x="2062" y="522"/>
                  </a:lnTo>
                  <a:lnTo>
                    <a:pt x="2061" y="523"/>
                  </a:lnTo>
                  <a:lnTo>
                    <a:pt x="2060" y="524"/>
                  </a:lnTo>
                  <a:lnTo>
                    <a:pt x="2054" y="531"/>
                  </a:lnTo>
                  <a:lnTo>
                    <a:pt x="2048" y="537"/>
                  </a:lnTo>
                  <a:lnTo>
                    <a:pt x="2042" y="544"/>
                  </a:lnTo>
                  <a:lnTo>
                    <a:pt x="2035" y="549"/>
                  </a:lnTo>
                  <a:lnTo>
                    <a:pt x="2028" y="555"/>
                  </a:lnTo>
                  <a:lnTo>
                    <a:pt x="2021" y="560"/>
                  </a:lnTo>
                  <a:lnTo>
                    <a:pt x="2013" y="564"/>
                  </a:lnTo>
                  <a:lnTo>
                    <a:pt x="2005" y="569"/>
                  </a:lnTo>
                  <a:lnTo>
                    <a:pt x="1996" y="573"/>
                  </a:lnTo>
                  <a:lnTo>
                    <a:pt x="1987" y="576"/>
                  </a:lnTo>
                  <a:lnTo>
                    <a:pt x="1978" y="579"/>
                  </a:lnTo>
                  <a:lnTo>
                    <a:pt x="1968" y="581"/>
                  </a:lnTo>
                  <a:lnTo>
                    <a:pt x="1958" y="583"/>
                  </a:lnTo>
                  <a:lnTo>
                    <a:pt x="1948" y="584"/>
                  </a:lnTo>
                  <a:lnTo>
                    <a:pt x="1937" y="585"/>
                  </a:lnTo>
                  <a:lnTo>
                    <a:pt x="1925" y="586"/>
                  </a:lnTo>
                  <a:lnTo>
                    <a:pt x="1914" y="585"/>
                  </a:lnTo>
                  <a:lnTo>
                    <a:pt x="1903" y="584"/>
                  </a:lnTo>
                  <a:lnTo>
                    <a:pt x="1892" y="582"/>
                  </a:lnTo>
                  <a:lnTo>
                    <a:pt x="1881" y="579"/>
                  </a:lnTo>
                  <a:lnTo>
                    <a:pt x="1871" y="574"/>
                  </a:lnTo>
                  <a:lnTo>
                    <a:pt x="1861" y="570"/>
                  </a:lnTo>
                  <a:lnTo>
                    <a:pt x="1856" y="567"/>
                  </a:lnTo>
                  <a:lnTo>
                    <a:pt x="1851" y="564"/>
                  </a:lnTo>
                  <a:lnTo>
                    <a:pt x="1843" y="557"/>
                  </a:lnTo>
                  <a:lnTo>
                    <a:pt x="1835" y="549"/>
                  </a:lnTo>
                  <a:lnTo>
                    <a:pt x="1827" y="540"/>
                  </a:lnTo>
                  <a:lnTo>
                    <a:pt x="1824" y="536"/>
                  </a:lnTo>
                  <a:lnTo>
                    <a:pt x="1821" y="531"/>
                  </a:lnTo>
                  <a:lnTo>
                    <a:pt x="1816" y="520"/>
                  </a:lnTo>
                  <a:lnTo>
                    <a:pt x="1813" y="514"/>
                  </a:lnTo>
                  <a:lnTo>
                    <a:pt x="1811" y="508"/>
                  </a:lnTo>
                  <a:lnTo>
                    <a:pt x="1808" y="495"/>
                  </a:lnTo>
                  <a:lnTo>
                    <a:pt x="1806" y="481"/>
                  </a:lnTo>
                  <a:lnTo>
                    <a:pt x="1806" y="474"/>
                  </a:lnTo>
                  <a:lnTo>
                    <a:pt x="1805" y="466"/>
                  </a:lnTo>
                  <a:lnTo>
                    <a:pt x="1806" y="458"/>
                  </a:lnTo>
                  <a:lnTo>
                    <a:pt x="1806" y="449"/>
                  </a:lnTo>
                  <a:lnTo>
                    <a:pt x="1808" y="441"/>
                  </a:lnTo>
                  <a:lnTo>
                    <a:pt x="1809" y="433"/>
                  </a:lnTo>
                  <a:lnTo>
                    <a:pt x="1812" y="425"/>
                  </a:lnTo>
                  <a:lnTo>
                    <a:pt x="1814" y="418"/>
                  </a:lnTo>
                  <a:lnTo>
                    <a:pt x="1818" y="410"/>
                  </a:lnTo>
                  <a:lnTo>
                    <a:pt x="1822" y="403"/>
                  </a:lnTo>
                  <a:lnTo>
                    <a:pt x="1826" y="396"/>
                  </a:lnTo>
                  <a:lnTo>
                    <a:pt x="1831" y="390"/>
                  </a:lnTo>
                  <a:lnTo>
                    <a:pt x="1836" y="383"/>
                  </a:lnTo>
                  <a:lnTo>
                    <a:pt x="1842" y="377"/>
                  </a:lnTo>
                  <a:lnTo>
                    <a:pt x="1848" y="371"/>
                  </a:lnTo>
                  <a:lnTo>
                    <a:pt x="1855" y="365"/>
                  </a:lnTo>
                  <a:lnTo>
                    <a:pt x="1862" y="360"/>
                  </a:lnTo>
                  <a:lnTo>
                    <a:pt x="1869" y="355"/>
                  </a:lnTo>
                  <a:lnTo>
                    <a:pt x="1886" y="345"/>
                  </a:lnTo>
                  <a:lnTo>
                    <a:pt x="1895" y="341"/>
                  </a:lnTo>
                  <a:lnTo>
                    <a:pt x="1905" y="337"/>
                  </a:lnTo>
                  <a:lnTo>
                    <a:pt x="1915" y="333"/>
                  </a:lnTo>
                  <a:lnTo>
                    <a:pt x="1926" y="329"/>
                  </a:lnTo>
                  <a:lnTo>
                    <a:pt x="1948" y="323"/>
                  </a:lnTo>
                  <a:lnTo>
                    <a:pt x="1960" y="320"/>
                  </a:lnTo>
                  <a:lnTo>
                    <a:pt x="1973" y="317"/>
                  </a:lnTo>
                  <a:lnTo>
                    <a:pt x="1999" y="313"/>
                  </a:lnTo>
                  <a:lnTo>
                    <a:pt x="2013" y="311"/>
                  </a:lnTo>
                  <a:lnTo>
                    <a:pt x="2027" y="310"/>
                  </a:lnTo>
                  <a:lnTo>
                    <a:pt x="2057" y="308"/>
                  </a:lnTo>
                  <a:lnTo>
                    <a:pt x="2061" y="307"/>
                  </a:lnTo>
                  <a:lnTo>
                    <a:pt x="2064" y="306"/>
                  </a:lnTo>
                  <a:lnTo>
                    <a:pt x="2065" y="305"/>
                  </a:lnTo>
                  <a:lnTo>
                    <a:pt x="2065" y="302"/>
                  </a:lnTo>
                  <a:lnTo>
                    <a:pt x="2064" y="295"/>
                  </a:lnTo>
                  <a:lnTo>
                    <a:pt x="2063" y="291"/>
                  </a:lnTo>
                  <a:lnTo>
                    <a:pt x="2063" y="288"/>
                  </a:lnTo>
                  <a:lnTo>
                    <a:pt x="2061" y="285"/>
                  </a:lnTo>
                  <a:lnTo>
                    <a:pt x="2060" y="282"/>
                  </a:lnTo>
                  <a:lnTo>
                    <a:pt x="2055" y="277"/>
                  </a:lnTo>
                  <a:lnTo>
                    <a:pt x="2052" y="275"/>
                  </a:lnTo>
                  <a:lnTo>
                    <a:pt x="2049" y="273"/>
                  </a:lnTo>
                  <a:lnTo>
                    <a:pt x="2045" y="271"/>
                  </a:lnTo>
                  <a:lnTo>
                    <a:pt x="2041" y="269"/>
                  </a:lnTo>
                  <a:lnTo>
                    <a:pt x="2031" y="267"/>
                  </a:lnTo>
                  <a:lnTo>
                    <a:pt x="2025" y="267"/>
                  </a:lnTo>
                  <a:lnTo>
                    <a:pt x="2018" y="267"/>
                  </a:lnTo>
                  <a:lnTo>
                    <a:pt x="2009" y="267"/>
                  </a:lnTo>
                  <a:lnTo>
                    <a:pt x="2000" y="268"/>
                  </a:lnTo>
                  <a:lnTo>
                    <a:pt x="1992" y="269"/>
                  </a:lnTo>
                  <a:lnTo>
                    <a:pt x="1983" y="270"/>
                  </a:lnTo>
                  <a:lnTo>
                    <a:pt x="1974" y="272"/>
                  </a:lnTo>
                  <a:lnTo>
                    <a:pt x="1966" y="274"/>
                  </a:lnTo>
                  <a:lnTo>
                    <a:pt x="1958" y="277"/>
                  </a:lnTo>
                  <a:lnTo>
                    <a:pt x="1950" y="280"/>
                  </a:lnTo>
                  <a:lnTo>
                    <a:pt x="1934" y="286"/>
                  </a:lnTo>
                  <a:lnTo>
                    <a:pt x="1920" y="293"/>
                  </a:lnTo>
                  <a:lnTo>
                    <a:pt x="1907" y="300"/>
                  </a:lnTo>
                  <a:lnTo>
                    <a:pt x="1895" y="308"/>
                  </a:lnTo>
                  <a:lnTo>
                    <a:pt x="1893" y="309"/>
                  </a:lnTo>
                  <a:lnTo>
                    <a:pt x="1891" y="309"/>
                  </a:lnTo>
                  <a:lnTo>
                    <a:pt x="1889" y="309"/>
                  </a:lnTo>
                  <a:lnTo>
                    <a:pt x="1888" y="309"/>
                  </a:lnTo>
                  <a:lnTo>
                    <a:pt x="1886" y="307"/>
                  </a:lnTo>
                  <a:lnTo>
                    <a:pt x="1885" y="306"/>
                  </a:lnTo>
                  <a:lnTo>
                    <a:pt x="1830" y="230"/>
                  </a:lnTo>
                  <a:lnTo>
                    <a:pt x="1828" y="227"/>
                  </a:lnTo>
                  <a:lnTo>
                    <a:pt x="1828" y="225"/>
                  </a:lnTo>
                  <a:lnTo>
                    <a:pt x="1829" y="224"/>
                  </a:lnTo>
                  <a:lnTo>
                    <a:pt x="1830" y="221"/>
                  </a:lnTo>
                  <a:lnTo>
                    <a:pt x="1831" y="220"/>
                  </a:lnTo>
                  <a:lnTo>
                    <a:pt x="1847" y="207"/>
                  </a:lnTo>
                  <a:lnTo>
                    <a:pt x="1866" y="195"/>
                  </a:lnTo>
                  <a:lnTo>
                    <a:pt x="1876" y="189"/>
                  </a:lnTo>
                  <a:lnTo>
                    <a:pt x="1887" y="184"/>
                  </a:lnTo>
                  <a:lnTo>
                    <a:pt x="1899" y="178"/>
                  </a:lnTo>
                  <a:lnTo>
                    <a:pt x="1912" y="173"/>
                  </a:lnTo>
                  <a:lnTo>
                    <a:pt x="1925" y="169"/>
                  </a:lnTo>
                  <a:lnTo>
                    <a:pt x="1939" y="165"/>
                  </a:lnTo>
                  <a:lnTo>
                    <a:pt x="1954" y="161"/>
                  </a:lnTo>
                  <a:lnTo>
                    <a:pt x="1970" y="158"/>
                  </a:lnTo>
                  <a:lnTo>
                    <a:pt x="1987" y="155"/>
                  </a:lnTo>
                  <a:lnTo>
                    <a:pt x="2005" y="153"/>
                  </a:lnTo>
                  <a:lnTo>
                    <a:pt x="2023" y="152"/>
                  </a:lnTo>
                  <a:lnTo>
                    <a:pt x="2043" y="152"/>
                  </a:lnTo>
                  <a:lnTo>
                    <a:pt x="2054" y="152"/>
                  </a:lnTo>
                  <a:lnTo>
                    <a:pt x="2065" y="152"/>
                  </a:lnTo>
                  <a:lnTo>
                    <a:pt x="2086" y="154"/>
                  </a:lnTo>
                  <a:lnTo>
                    <a:pt x="2096" y="156"/>
                  </a:lnTo>
                  <a:lnTo>
                    <a:pt x="2105" y="158"/>
                  </a:lnTo>
                  <a:lnTo>
                    <a:pt x="2114" y="160"/>
                  </a:lnTo>
                  <a:lnTo>
                    <a:pt x="2122" y="163"/>
                  </a:lnTo>
                  <a:lnTo>
                    <a:pt x="2130" y="166"/>
                  </a:lnTo>
                  <a:lnTo>
                    <a:pt x="2138" y="169"/>
                  </a:lnTo>
                  <a:lnTo>
                    <a:pt x="2145" y="172"/>
                  </a:lnTo>
                  <a:lnTo>
                    <a:pt x="2152" y="176"/>
                  </a:lnTo>
                  <a:lnTo>
                    <a:pt x="2159" y="181"/>
                  </a:lnTo>
                  <a:lnTo>
                    <a:pt x="2165" y="185"/>
                  </a:lnTo>
                  <a:lnTo>
                    <a:pt x="2170" y="190"/>
                  </a:lnTo>
                  <a:lnTo>
                    <a:pt x="2176" y="196"/>
                  </a:lnTo>
                  <a:lnTo>
                    <a:pt x="2181" y="201"/>
                  </a:lnTo>
                  <a:lnTo>
                    <a:pt x="2186" y="207"/>
                  </a:lnTo>
                  <a:lnTo>
                    <a:pt x="2190" y="214"/>
                  </a:lnTo>
                  <a:lnTo>
                    <a:pt x="2194" y="220"/>
                  </a:lnTo>
                  <a:lnTo>
                    <a:pt x="2197" y="227"/>
                  </a:lnTo>
                  <a:lnTo>
                    <a:pt x="2201" y="235"/>
                  </a:lnTo>
                  <a:lnTo>
                    <a:pt x="2204" y="242"/>
                  </a:lnTo>
                  <a:lnTo>
                    <a:pt x="2206" y="251"/>
                  </a:lnTo>
                  <a:lnTo>
                    <a:pt x="2209" y="259"/>
                  </a:lnTo>
                  <a:lnTo>
                    <a:pt x="2211" y="268"/>
                  </a:lnTo>
                  <a:lnTo>
                    <a:pt x="2212" y="277"/>
                  </a:lnTo>
                  <a:lnTo>
                    <a:pt x="2214" y="287"/>
                  </a:lnTo>
                  <a:lnTo>
                    <a:pt x="2215" y="296"/>
                  </a:lnTo>
                  <a:lnTo>
                    <a:pt x="2215" y="307"/>
                  </a:lnTo>
                  <a:lnTo>
                    <a:pt x="2216" y="317"/>
                  </a:lnTo>
                  <a:lnTo>
                    <a:pt x="2216" y="328"/>
                  </a:lnTo>
                  <a:lnTo>
                    <a:pt x="2216" y="478"/>
                  </a:lnTo>
                  <a:lnTo>
                    <a:pt x="2217" y="512"/>
                  </a:lnTo>
                  <a:lnTo>
                    <a:pt x="2218" y="539"/>
                  </a:lnTo>
                  <a:lnTo>
                    <a:pt x="2220" y="549"/>
                  </a:lnTo>
                  <a:lnTo>
                    <a:pt x="2221" y="559"/>
                  </a:lnTo>
                  <a:lnTo>
                    <a:pt x="2223" y="566"/>
                  </a:lnTo>
                  <a:lnTo>
                    <a:pt x="2225" y="572"/>
                  </a:lnTo>
                  <a:close/>
                  <a:moveTo>
                    <a:pt x="1869" y="7"/>
                  </a:moveTo>
                  <a:lnTo>
                    <a:pt x="1869" y="5"/>
                  </a:lnTo>
                  <a:lnTo>
                    <a:pt x="1870" y="3"/>
                  </a:lnTo>
                  <a:lnTo>
                    <a:pt x="1873" y="0"/>
                  </a:lnTo>
                  <a:lnTo>
                    <a:pt x="1875" y="0"/>
                  </a:lnTo>
                  <a:lnTo>
                    <a:pt x="1877" y="0"/>
                  </a:lnTo>
                  <a:lnTo>
                    <a:pt x="1987" y="0"/>
                  </a:lnTo>
                  <a:lnTo>
                    <a:pt x="1989" y="0"/>
                  </a:lnTo>
                  <a:lnTo>
                    <a:pt x="1991" y="1"/>
                  </a:lnTo>
                  <a:lnTo>
                    <a:pt x="1994" y="3"/>
                  </a:lnTo>
                  <a:lnTo>
                    <a:pt x="1994" y="6"/>
                  </a:lnTo>
                  <a:lnTo>
                    <a:pt x="1995" y="7"/>
                  </a:lnTo>
                  <a:lnTo>
                    <a:pt x="1995" y="121"/>
                  </a:lnTo>
                  <a:lnTo>
                    <a:pt x="1994" y="123"/>
                  </a:lnTo>
                  <a:lnTo>
                    <a:pt x="1993" y="125"/>
                  </a:lnTo>
                  <a:lnTo>
                    <a:pt x="1991" y="128"/>
                  </a:lnTo>
                  <a:lnTo>
                    <a:pt x="1988" y="128"/>
                  </a:lnTo>
                  <a:lnTo>
                    <a:pt x="1987" y="129"/>
                  </a:lnTo>
                  <a:lnTo>
                    <a:pt x="1877" y="129"/>
                  </a:lnTo>
                  <a:lnTo>
                    <a:pt x="1874" y="128"/>
                  </a:lnTo>
                  <a:lnTo>
                    <a:pt x="1872" y="127"/>
                  </a:lnTo>
                  <a:lnTo>
                    <a:pt x="1870" y="125"/>
                  </a:lnTo>
                  <a:lnTo>
                    <a:pt x="1869" y="122"/>
                  </a:lnTo>
                  <a:lnTo>
                    <a:pt x="1869" y="121"/>
                  </a:lnTo>
                  <a:lnTo>
                    <a:pt x="1869" y="7"/>
                  </a:lnTo>
                  <a:close/>
                  <a:moveTo>
                    <a:pt x="2047" y="121"/>
                  </a:moveTo>
                  <a:lnTo>
                    <a:pt x="2047" y="7"/>
                  </a:lnTo>
                  <a:lnTo>
                    <a:pt x="2047" y="5"/>
                  </a:lnTo>
                  <a:lnTo>
                    <a:pt x="2048" y="3"/>
                  </a:lnTo>
                  <a:lnTo>
                    <a:pt x="2051" y="0"/>
                  </a:lnTo>
                  <a:lnTo>
                    <a:pt x="2053" y="0"/>
                  </a:lnTo>
                  <a:lnTo>
                    <a:pt x="2054" y="0"/>
                  </a:lnTo>
                  <a:lnTo>
                    <a:pt x="2165" y="0"/>
                  </a:lnTo>
                  <a:lnTo>
                    <a:pt x="2167" y="0"/>
                  </a:lnTo>
                  <a:lnTo>
                    <a:pt x="2169" y="1"/>
                  </a:lnTo>
                  <a:lnTo>
                    <a:pt x="2171" y="3"/>
                  </a:lnTo>
                  <a:lnTo>
                    <a:pt x="2172" y="6"/>
                  </a:lnTo>
                  <a:lnTo>
                    <a:pt x="2172" y="7"/>
                  </a:lnTo>
                  <a:lnTo>
                    <a:pt x="2172" y="121"/>
                  </a:lnTo>
                  <a:lnTo>
                    <a:pt x="2172" y="123"/>
                  </a:lnTo>
                  <a:lnTo>
                    <a:pt x="2171" y="125"/>
                  </a:lnTo>
                  <a:lnTo>
                    <a:pt x="2169" y="127"/>
                  </a:lnTo>
                  <a:lnTo>
                    <a:pt x="2166" y="128"/>
                  </a:lnTo>
                  <a:lnTo>
                    <a:pt x="2165" y="128"/>
                  </a:lnTo>
                  <a:lnTo>
                    <a:pt x="2054" y="128"/>
                  </a:lnTo>
                  <a:lnTo>
                    <a:pt x="2052" y="128"/>
                  </a:lnTo>
                  <a:lnTo>
                    <a:pt x="2050" y="127"/>
                  </a:lnTo>
                  <a:lnTo>
                    <a:pt x="2048" y="125"/>
                  </a:lnTo>
                  <a:lnTo>
                    <a:pt x="2047" y="122"/>
                  </a:lnTo>
                  <a:lnTo>
                    <a:pt x="2047" y="121"/>
                  </a:lnTo>
                  <a:close/>
                  <a:moveTo>
                    <a:pt x="1274" y="585"/>
                  </a:moveTo>
                  <a:lnTo>
                    <a:pt x="1249" y="584"/>
                  </a:lnTo>
                  <a:lnTo>
                    <a:pt x="1226" y="583"/>
                  </a:lnTo>
                  <a:lnTo>
                    <a:pt x="1207" y="580"/>
                  </a:lnTo>
                  <a:lnTo>
                    <a:pt x="1190" y="576"/>
                  </a:lnTo>
                  <a:lnTo>
                    <a:pt x="1175" y="571"/>
                  </a:lnTo>
                  <a:lnTo>
                    <a:pt x="1168" y="568"/>
                  </a:lnTo>
                  <a:lnTo>
                    <a:pt x="1162" y="565"/>
                  </a:lnTo>
                  <a:lnTo>
                    <a:pt x="1156" y="561"/>
                  </a:lnTo>
                  <a:lnTo>
                    <a:pt x="1151" y="558"/>
                  </a:lnTo>
                  <a:lnTo>
                    <a:pt x="1149" y="556"/>
                  </a:lnTo>
                  <a:lnTo>
                    <a:pt x="1147" y="554"/>
                  </a:lnTo>
                  <a:lnTo>
                    <a:pt x="1143" y="550"/>
                  </a:lnTo>
                  <a:lnTo>
                    <a:pt x="1139" y="545"/>
                  </a:lnTo>
                  <a:lnTo>
                    <a:pt x="1135" y="541"/>
                  </a:lnTo>
                  <a:lnTo>
                    <a:pt x="1130" y="531"/>
                  </a:lnTo>
                  <a:lnTo>
                    <a:pt x="1127" y="525"/>
                  </a:lnTo>
                  <a:lnTo>
                    <a:pt x="1125" y="520"/>
                  </a:lnTo>
                  <a:lnTo>
                    <a:pt x="1122" y="508"/>
                  </a:lnTo>
                  <a:lnTo>
                    <a:pt x="1121" y="502"/>
                  </a:lnTo>
                  <a:lnTo>
                    <a:pt x="1120" y="496"/>
                  </a:lnTo>
                  <a:lnTo>
                    <a:pt x="1119" y="482"/>
                  </a:lnTo>
                  <a:lnTo>
                    <a:pt x="1118" y="468"/>
                  </a:lnTo>
                  <a:lnTo>
                    <a:pt x="1118" y="453"/>
                  </a:lnTo>
                  <a:lnTo>
                    <a:pt x="1118" y="278"/>
                  </a:lnTo>
                  <a:lnTo>
                    <a:pt x="1117" y="276"/>
                  </a:lnTo>
                  <a:lnTo>
                    <a:pt x="1117" y="274"/>
                  </a:lnTo>
                  <a:lnTo>
                    <a:pt x="1114" y="272"/>
                  </a:lnTo>
                  <a:lnTo>
                    <a:pt x="1111" y="271"/>
                  </a:lnTo>
                  <a:lnTo>
                    <a:pt x="1110" y="271"/>
                  </a:lnTo>
                  <a:lnTo>
                    <a:pt x="1067" y="271"/>
                  </a:lnTo>
                  <a:lnTo>
                    <a:pt x="1064" y="270"/>
                  </a:lnTo>
                  <a:lnTo>
                    <a:pt x="1062" y="269"/>
                  </a:lnTo>
                  <a:lnTo>
                    <a:pt x="1060" y="267"/>
                  </a:lnTo>
                  <a:lnTo>
                    <a:pt x="1059" y="264"/>
                  </a:lnTo>
                  <a:lnTo>
                    <a:pt x="1059" y="263"/>
                  </a:lnTo>
                  <a:lnTo>
                    <a:pt x="1059" y="167"/>
                  </a:lnTo>
                  <a:lnTo>
                    <a:pt x="1059" y="164"/>
                  </a:lnTo>
                  <a:lnTo>
                    <a:pt x="1060" y="162"/>
                  </a:lnTo>
                  <a:lnTo>
                    <a:pt x="1063" y="160"/>
                  </a:lnTo>
                  <a:lnTo>
                    <a:pt x="1065" y="159"/>
                  </a:lnTo>
                  <a:lnTo>
                    <a:pt x="1067" y="159"/>
                  </a:lnTo>
                  <a:lnTo>
                    <a:pt x="1110" y="159"/>
                  </a:lnTo>
                  <a:lnTo>
                    <a:pt x="1113" y="159"/>
                  </a:lnTo>
                  <a:lnTo>
                    <a:pt x="1115" y="158"/>
                  </a:lnTo>
                  <a:lnTo>
                    <a:pt x="1117" y="157"/>
                  </a:lnTo>
                  <a:lnTo>
                    <a:pt x="1118" y="156"/>
                  </a:lnTo>
                  <a:lnTo>
                    <a:pt x="1120" y="153"/>
                  </a:lnTo>
                  <a:lnTo>
                    <a:pt x="1121" y="152"/>
                  </a:lnTo>
                  <a:lnTo>
                    <a:pt x="1170" y="25"/>
                  </a:lnTo>
                  <a:lnTo>
                    <a:pt x="1171" y="23"/>
                  </a:lnTo>
                  <a:lnTo>
                    <a:pt x="1173" y="21"/>
                  </a:lnTo>
                  <a:lnTo>
                    <a:pt x="1175" y="20"/>
                  </a:lnTo>
                  <a:lnTo>
                    <a:pt x="1176" y="19"/>
                  </a:lnTo>
                  <a:lnTo>
                    <a:pt x="1179" y="18"/>
                  </a:lnTo>
                  <a:lnTo>
                    <a:pt x="1180" y="18"/>
                  </a:lnTo>
                  <a:lnTo>
                    <a:pt x="1265" y="18"/>
                  </a:lnTo>
                  <a:lnTo>
                    <a:pt x="1268" y="19"/>
                  </a:lnTo>
                  <a:lnTo>
                    <a:pt x="1270" y="19"/>
                  </a:lnTo>
                  <a:lnTo>
                    <a:pt x="1272" y="22"/>
                  </a:lnTo>
                  <a:lnTo>
                    <a:pt x="1273" y="25"/>
                  </a:lnTo>
                  <a:lnTo>
                    <a:pt x="1273" y="26"/>
                  </a:lnTo>
                  <a:lnTo>
                    <a:pt x="1273" y="152"/>
                  </a:lnTo>
                  <a:lnTo>
                    <a:pt x="1273" y="154"/>
                  </a:lnTo>
                  <a:lnTo>
                    <a:pt x="1274" y="156"/>
                  </a:lnTo>
                  <a:lnTo>
                    <a:pt x="1277" y="158"/>
                  </a:lnTo>
                  <a:lnTo>
                    <a:pt x="1279" y="159"/>
                  </a:lnTo>
                  <a:lnTo>
                    <a:pt x="1281" y="159"/>
                  </a:lnTo>
                  <a:lnTo>
                    <a:pt x="1374" y="159"/>
                  </a:lnTo>
                  <a:lnTo>
                    <a:pt x="1376" y="160"/>
                  </a:lnTo>
                  <a:lnTo>
                    <a:pt x="1378" y="161"/>
                  </a:lnTo>
                  <a:lnTo>
                    <a:pt x="1381" y="163"/>
                  </a:lnTo>
                  <a:lnTo>
                    <a:pt x="1381" y="166"/>
                  </a:lnTo>
                  <a:lnTo>
                    <a:pt x="1381" y="167"/>
                  </a:lnTo>
                  <a:lnTo>
                    <a:pt x="1381" y="263"/>
                  </a:lnTo>
                  <a:lnTo>
                    <a:pt x="1381" y="266"/>
                  </a:lnTo>
                  <a:lnTo>
                    <a:pt x="1380" y="268"/>
                  </a:lnTo>
                  <a:lnTo>
                    <a:pt x="1378" y="270"/>
                  </a:lnTo>
                  <a:lnTo>
                    <a:pt x="1375" y="271"/>
                  </a:lnTo>
                  <a:lnTo>
                    <a:pt x="1374" y="271"/>
                  </a:lnTo>
                  <a:lnTo>
                    <a:pt x="1281" y="271"/>
                  </a:lnTo>
                  <a:lnTo>
                    <a:pt x="1278" y="271"/>
                  </a:lnTo>
                  <a:lnTo>
                    <a:pt x="1276" y="272"/>
                  </a:lnTo>
                  <a:lnTo>
                    <a:pt x="1274" y="275"/>
                  </a:lnTo>
                  <a:lnTo>
                    <a:pt x="1273" y="277"/>
                  </a:lnTo>
                  <a:lnTo>
                    <a:pt x="1273" y="278"/>
                  </a:lnTo>
                  <a:lnTo>
                    <a:pt x="1273" y="419"/>
                  </a:lnTo>
                  <a:lnTo>
                    <a:pt x="1274" y="434"/>
                  </a:lnTo>
                  <a:lnTo>
                    <a:pt x="1275" y="446"/>
                  </a:lnTo>
                  <a:lnTo>
                    <a:pt x="1277" y="452"/>
                  </a:lnTo>
                  <a:lnTo>
                    <a:pt x="1279" y="456"/>
                  </a:lnTo>
                  <a:lnTo>
                    <a:pt x="1281" y="460"/>
                  </a:lnTo>
                  <a:lnTo>
                    <a:pt x="1284" y="463"/>
                  </a:lnTo>
                  <a:lnTo>
                    <a:pt x="1287" y="466"/>
                  </a:lnTo>
                  <a:lnTo>
                    <a:pt x="1291" y="469"/>
                  </a:lnTo>
                  <a:lnTo>
                    <a:pt x="1296" y="471"/>
                  </a:lnTo>
                  <a:lnTo>
                    <a:pt x="1301" y="472"/>
                  </a:lnTo>
                  <a:lnTo>
                    <a:pt x="1307" y="473"/>
                  </a:lnTo>
                  <a:lnTo>
                    <a:pt x="1313" y="474"/>
                  </a:lnTo>
                  <a:lnTo>
                    <a:pt x="1320" y="474"/>
                  </a:lnTo>
                  <a:lnTo>
                    <a:pt x="1328" y="475"/>
                  </a:lnTo>
                  <a:lnTo>
                    <a:pt x="1340" y="474"/>
                  </a:lnTo>
                  <a:lnTo>
                    <a:pt x="1351" y="473"/>
                  </a:lnTo>
                  <a:lnTo>
                    <a:pt x="1361" y="472"/>
                  </a:lnTo>
                  <a:lnTo>
                    <a:pt x="1366" y="471"/>
                  </a:lnTo>
                  <a:lnTo>
                    <a:pt x="1367" y="471"/>
                  </a:lnTo>
                  <a:lnTo>
                    <a:pt x="1368" y="471"/>
                  </a:lnTo>
                  <a:lnTo>
                    <a:pt x="1369" y="474"/>
                  </a:lnTo>
                  <a:lnTo>
                    <a:pt x="1370" y="477"/>
                  </a:lnTo>
                  <a:lnTo>
                    <a:pt x="1370" y="564"/>
                  </a:lnTo>
                  <a:lnTo>
                    <a:pt x="1369" y="569"/>
                  </a:lnTo>
                  <a:lnTo>
                    <a:pt x="1369" y="572"/>
                  </a:lnTo>
                  <a:lnTo>
                    <a:pt x="1368" y="575"/>
                  </a:lnTo>
                  <a:lnTo>
                    <a:pt x="1366" y="577"/>
                  </a:lnTo>
                  <a:lnTo>
                    <a:pt x="1364" y="578"/>
                  </a:lnTo>
                  <a:lnTo>
                    <a:pt x="1362" y="579"/>
                  </a:lnTo>
                  <a:lnTo>
                    <a:pt x="1358" y="580"/>
                  </a:lnTo>
                  <a:lnTo>
                    <a:pt x="1340" y="582"/>
                  </a:lnTo>
                  <a:lnTo>
                    <a:pt x="1317" y="583"/>
                  </a:lnTo>
                  <a:lnTo>
                    <a:pt x="1294" y="584"/>
                  </a:lnTo>
                  <a:lnTo>
                    <a:pt x="1274" y="585"/>
                  </a:lnTo>
                  <a:close/>
                  <a:moveTo>
                    <a:pt x="0" y="572"/>
                  </a:moveTo>
                  <a:lnTo>
                    <a:pt x="0" y="7"/>
                  </a:lnTo>
                  <a:lnTo>
                    <a:pt x="0" y="5"/>
                  </a:lnTo>
                  <a:lnTo>
                    <a:pt x="1" y="3"/>
                  </a:lnTo>
                  <a:lnTo>
                    <a:pt x="4" y="1"/>
                  </a:lnTo>
                  <a:lnTo>
                    <a:pt x="6" y="0"/>
                  </a:lnTo>
                  <a:lnTo>
                    <a:pt x="7" y="0"/>
                  </a:lnTo>
                  <a:lnTo>
                    <a:pt x="200" y="0"/>
                  </a:lnTo>
                  <a:lnTo>
                    <a:pt x="202" y="0"/>
                  </a:lnTo>
                  <a:lnTo>
                    <a:pt x="204" y="1"/>
                  </a:lnTo>
                  <a:lnTo>
                    <a:pt x="206" y="2"/>
                  </a:lnTo>
                  <a:lnTo>
                    <a:pt x="207" y="3"/>
                  </a:lnTo>
                  <a:lnTo>
                    <a:pt x="209" y="6"/>
                  </a:lnTo>
                  <a:lnTo>
                    <a:pt x="209" y="7"/>
                  </a:lnTo>
                  <a:lnTo>
                    <a:pt x="307" y="386"/>
                  </a:lnTo>
                  <a:lnTo>
                    <a:pt x="307" y="387"/>
                  </a:lnTo>
                  <a:lnTo>
                    <a:pt x="308" y="388"/>
                  </a:lnTo>
                  <a:lnTo>
                    <a:pt x="310" y="389"/>
                  </a:lnTo>
                  <a:lnTo>
                    <a:pt x="312" y="389"/>
                  </a:lnTo>
                  <a:lnTo>
                    <a:pt x="313" y="387"/>
                  </a:lnTo>
                  <a:lnTo>
                    <a:pt x="313" y="386"/>
                  </a:lnTo>
                  <a:lnTo>
                    <a:pt x="401" y="7"/>
                  </a:lnTo>
                  <a:lnTo>
                    <a:pt x="402" y="5"/>
                  </a:lnTo>
                  <a:lnTo>
                    <a:pt x="403" y="3"/>
                  </a:lnTo>
                  <a:lnTo>
                    <a:pt x="406" y="1"/>
                  </a:lnTo>
                  <a:lnTo>
                    <a:pt x="409" y="0"/>
                  </a:lnTo>
                  <a:lnTo>
                    <a:pt x="410" y="0"/>
                  </a:lnTo>
                  <a:lnTo>
                    <a:pt x="607" y="0"/>
                  </a:lnTo>
                  <a:lnTo>
                    <a:pt x="610" y="0"/>
                  </a:lnTo>
                  <a:lnTo>
                    <a:pt x="611" y="1"/>
                  </a:lnTo>
                  <a:lnTo>
                    <a:pt x="614" y="4"/>
                  </a:lnTo>
                  <a:lnTo>
                    <a:pt x="615" y="6"/>
                  </a:lnTo>
                  <a:lnTo>
                    <a:pt x="615" y="7"/>
                  </a:lnTo>
                  <a:lnTo>
                    <a:pt x="615" y="572"/>
                  </a:lnTo>
                  <a:lnTo>
                    <a:pt x="614" y="575"/>
                  </a:lnTo>
                  <a:lnTo>
                    <a:pt x="613" y="576"/>
                  </a:lnTo>
                  <a:lnTo>
                    <a:pt x="611" y="579"/>
                  </a:lnTo>
                  <a:lnTo>
                    <a:pt x="608" y="579"/>
                  </a:lnTo>
                  <a:lnTo>
                    <a:pt x="607" y="580"/>
                  </a:lnTo>
                  <a:lnTo>
                    <a:pt x="473" y="580"/>
                  </a:lnTo>
                  <a:lnTo>
                    <a:pt x="470" y="579"/>
                  </a:lnTo>
                  <a:lnTo>
                    <a:pt x="468" y="578"/>
                  </a:lnTo>
                  <a:lnTo>
                    <a:pt x="466" y="576"/>
                  </a:lnTo>
                  <a:lnTo>
                    <a:pt x="465" y="573"/>
                  </a:lnTo>
                  <a:lnTo>
                    <a:pt x="465" y="572"/>
                  </a:lnTo>
                  <a:lnTo>
                    <a:pt x="465" y="226"/>
                  </a:lnTo>
                  <a:lnTo>
                    <a:pt x="465" y="224"/>
                  </a:lnTo>
                  <a:lnTo>
                    <a:pt x="464" y="223"/>
                  </a:lnTo>
                  <a:lnTo>
                    <a:pt x="463" y="222"/>
                  </a:lnTo>
                  <a:lnTo>
                    <a:pt x="462" y="222"/>
                  </a:lnTo>
                  <a:lnTo>
                    <a:pt x="461" y="222"/>
                  </a:lnTo>
                  <a:lnTo>
                    <a:pt x="460" y="223"/>
                  </a:lnTo>
                  <a:lnTo>
                    <a:pt x="458" y="226"/>
                  </a:lnTo>
                  <a:lnTo>
                    <a:pt x="452" y="264"/>
                  </a:lnTo>
                  <a:lnTo>
                    <a:pt x="446" y="298"/>
                  </a:lnTo>
                  <a:lnTo>
                    <a:pt x="443" y="314"/>
                  </a:lnTo>
                  <a:lnTo>
                    <a:pt x="440" y="330"/>
                  </a:lnTo>
                  <a:lnTo>
                    <a:pt x="436" y="346"/>
                  </a:lnTo>
                  <a:lnTo>
                    <a:pt x="432" y="362"/>
                  </a:lnTo>
                  <a:lnTo>
                    <a:pt x="373" y="572"/>
                  </a:lnTo>
                  <a:lnTo>
                    <a:pt x="372" y="575"/>
                  </a:lnTo>
                  <a:lnTo>
                    <a:pt x="371" y="577"/>
                  </a:lnTo>
                  <a:lnTo>
                    <a:pt x="368" y="579"/>
                  </a:lnTo>
                  <a:lnTo>
                    <a:pt x="365" y="579"/>
                  </a:lnTo>
                  <a:lnTo>
                    <a:pt x="364" y="580"/>
                  </a:lnTo>
                  <a:lnTo>
                    <a:pt x="241" y="580"/>
                  </a:lnTo>
                  <a:lnTo>
                    <a:pt x="238" y="579"/>
                  </a:lnTo>
                  <a:lnTo>
                    <a:pt x="236" y="578"/>
                  </a:lnTo>
                  <a:lnTo>
                    <a:pt x="234" y="577"/>
                  </a:lnTo>
                  <a:lnTo>
                    <a:pt x="233" y="576"/>
                  </a:lnTo>
                  <a:lnTo>
                    <a:pt x="232" y="573"/>
                  </a:lnTo>
                  <a:lnTo>
                    <a:pt x="231" y="572"/>
                  </a:lnTo>
                  <a:lnTo>
                    <a:pt x="174" y="362"/>
                  </a:lnTo>
                  <a:lnTo>
                    <a:pt x="169" y="345"/>
                  </a:lnTo>
                  <a:lnTo>
                    <a:pt x="165" y="330"/>
                  </a:lnTo>
                  <a:lnTo>
                    <a:pt x="159" y="301"/>
                  </a:lnTo>
                  <a:lnTo>
                    <a:pt x="153" y="268"/>
                  </a:lnTo>
                  <a:lnTo>
                    <a:pt x="146" y="224"/>
                  </a:lnTo>
                  <a:lnTo>
                    <a:pt x="146" y="223"/>
                  </a:lnTo>
                  <a:lnTo>
                    <a:pt x="145" y="222"/>
                  </a:lnTo>
                  <a:lnTo>
                    <a:pt x="142" y="221"/>
                  </a:lnTo>
                  <a:lnTo>
                    <a:pt x="140" y="222"/>
                  </a:lnTo>
                  <a:lnTo>
                    <a:pt x="140" y="223"/>
                  </a:lnTo>
                  <a:lnTo>
                    <a:pt x="139" y="224"/>
                  </a:lnTo>
                  <a:lnTo>
                    <a:pt x="139" y="572"/>
                  </a:lnTo>
                  <a:lnTo>
                    <a:pt x="139" y="575"/>
                  </a:lnTo>
                  <a:lnTo>
                    <a:pt x="138" y="576"/>
                  </a:lnTo>
                  <a:lnTo>
                    <a:pt x="136" y="579"/>
                  </a:lnTo>
                  <a:lnTo>
                    <a:pt x="133" y="579"/>
                  </a:lnTo>
                  <a:lnTo>
                    <a:pt x="132" y="580"/>
                  </a:lnTo>
                  <a:lnTo>
                    <a:pt x="8" y="580"/>
                  </a:lnTo>
                  <a:lnTo>
                    <a:pt x="5" y="579"/>
                  </a:lnTo>
                  <a:lnTo>
                    <a:pt x="3" y="578"/>
                  </a:lnTo>
                  <a:lnTo>
                    <a:pt x="1" y="576"/>
                  </a:lnTo>
                  <a:lnTo>
                    <a:pt x="0" y="573"/>
                  </a:lnTo>
                  <a:lnTo>
                    <a:pt x="0" y="572"/>
                  </a:lnTo>
                  <a:close/>
                  <a:moveTo>
                    <a:pt x="1063" y="408"/>
                  </a:moveTo>
                  <a:lnTo>
                    <a:pt x="1062" y="410"/>
                  </a:lnTo>
                  <a:lnTo>
                    <a:pt x="1062" y="412"/>
                  </a:lnTo>
                  <a:lnTo>
                    <a:pt x="1061" y="413"/>
                  </a:lnTo>
                  <a:lnTo>
                    <a:pt x="1060" y="414"/>
                  </a:lnTo>
                  <a:lnTo>
                    <a:pt x="1058" y="414"/>
                  </a:lnTo>
                  <a:lnTo>
                    <a:pt x="1057" y="414"/>
                  </a:lnTo>
                  <a:lnTo>
                    <a:pt x="801" y="414"/>
                  </a:lnTo>
                  <a:lnTo>
                    <a:pt x="799" y="415"/>
                  </a:lnTo>
                  <a:lnTo>
                    <a:pt x="797" y="415"/>
                  </a:lnTo>
                  <a:lnTo>
                    <a:pt x="796" y="417"/>
                  </a:lnTo>
                  <a:lnTo>
                    <a:pt x="795" y="418"/>
                  </a:lnTo>
                  <a:lnTo>
                    <a:pt x="795" y="421"/>
                  </a:lnTo>
                  <a:lnTo>
                    <a:pt x="795" y="422"/>
                  </a:lnTo>
                  <a:lnTo>
                    <a:pt x="796" y="430"/>
                  </a:lnTo>
                  <a:lnTo>
                    <a:pt x="799" y="438"/>
                  </a:lnTo>
                  <a:lnTo>
                    <a:pt x="801" y="445"/>
                  </a:lnTo>
                  <a:lnTo>
                    <a:pt x="804" y="451"/>
                  </a:lnTo>
                  <a:lnTo>
                    <a:pt x="808" y="457"/>
                  </a:lnTo>
                  <a:lnTo>
                    <a:pt x="812" y="462"/>
                  </a:lnTo>
                  <a:lnTo>
                    <a:pt x="817" y="466"/>
                  </a:lnTo>
                  <a:lnTo>
                    <a:pt x="822" y="470"/>
                  </a:lnTo>
                  <a:lnTo>
                    <a:pt x="827" y="473"/>
                  </a:lnTo>
                  <a:lnTo>
                    <a:pt x="833" y="476"/>
                  </a:lnTo>
                  <a:lnTo>
                    <a:pt x="840" y="478"/>
                  </a:lnTo>
                  <a:lnTo>
                    <a:pt x="846" y="480"/>
                  </a:lnTo>
                  <a:lnTo>
                    <a:pt x="854" y="481"/>
                  </a:lnTo>
                  <a:lnTo>
                    <a:pt x="861" y="482"/>
                  </a:lnTo>
                  <a:lnTo>
                    <a:pt x="878" y="482"/>
                  </a:lnTo>
                  <a:lnTo>
                    <a:pt x="886" y="482"/>
                  </a:lnTo>
                  <a:lnTo>
                    <a:pt x="894" y="481"/>
                  </a:lnTo>
                  <a:lnTo>
                    <a:pt x="903" y="480"/>
                  </a:lnTo>
                  <a:lnTo>
                    <a:pt x="911" y="479"/>
                  </a:lnTo>
                  <a:lnTo>
                    <a:pt x="928" y="475"/>
                  </a:lnTo>
                  <a:lnTo>
                    <a:pt x="943" y="470"/>
                  </a:lnTo>
                  <a:lnTo>
                    <a:pt x="958" y="464"/>
                  </a:lnTo>
                  <a:lnTo>
                    <a:pt x="971" y="459"/>
                  </a:lnTo>
                  <a:lnTo>
                    <a:pt x="983" y="453"/>
                  </a:lnTo>
                  <a:lnTo>
                    <a:pt x="992" y="448"/>
                  </a:lnTo>
                  <a:lnTo>
                    <a:pt x="994" y="447"/>
                  </a:lnTo>
                  <a:lnTo>
                    <a:pt x="996" y="447"/>
                  </a:lnTo>
                  <a:lnTo>
                    <a:pt x="998" y="447"/>
                  </a:lnTo>
                  <a:lnTo>
                    <a:pt x="999" y="448"/>
                  </a:lnTo>
                  <a:lnTo>
                    <a:pt x="1002" y="450"/>
                  </a:lnTo>
                  <a:lnTo>
                    <a:pt x="1050" y="531"/>
                  </a:lnTo>
                  <a:lnTo>
                    <a:pt x="1052" y="535"/>
                  </a:lnTo>
                  <a:lnTo>
                    <a:pt x="1052" y="537"/>
                  </a:lnTo>
                  <a:lnTo>
                    <a:pt x="1051" y="538"/>
                  </a:lnTo>
                  <a:lnTo>
                    <a:pt x="1051" y="540"/>
                  </a:lnTo>
                  <a:lnTo>
                    <a:pt x="1050" y="540"/>
                  </a:lnTo>
                  <a:lnTo>
                    <a:pt x="1048" y="542"/>
                  </a:lnTo>
                  <a:lnTo>
                    <a:pt x="1038" y="547"/>
                  </a:lnTo>
                  <a:lnTo>
                    <a:pt x="1028" y="553"/>
                  </a:lnTo>
                  <a:lnTo>
                    <a:pt x="1018" y="558"/>
                  </a:lnTo>
                  <a:lnTo>
                    <a:pt x="1007" y="562"/>
                  </a:lnTo>
                  <a:lnTo>
                    <a:pt x="996" y="567"/>
                  </a:lnTo>
                  <a:lnTo>
                    <a:pt x="985" y="570"/>
                  </a:lnTo>
                  <a:lnTo>
                    <a:pt x="974" y="574"/>
                  </a:lnTo>
                  <a:lnTo>
                    <a:pt x="963" y="577"/>
                  </a:lnTo>
                  <a:lnTo>
                    <a:pt x="951" y="580"/>
                  </a:lnTo>
                  <a:lnTo>
                    <a:pt x="939" y="582"/>
                  </a:lnTo>
                  <a:lnTo>
                    <a:pt x="927" y="584"/>
                  </a:lnTo>
                  <a:lnTo>
                    <a:pt x="915" y="585"/>
                  </a:lnTo>
                  <a:lnTo>
                    <a:pt x="903" y="587"/>
                  </a:lnTo>
                  <a:lnTo>
                    <a:pt x="891" y="587"/>
                  </a:lnTo>
                  <a:lnTo>
                    <a:pt x="866" y="588"/>
                  </a:lnTo>
                  <a:lnTo>
                    <a:pt x="844" y="588"/>
                  </a:lnTo>
                  <a:lnTo>
                    <a:pt x="823" y="586"/>
                  </a:lnTo>
                  <a:lnTo>
                    <a:pt x="813" y="584"/>
                  </a:lnTo>
                  <a:lnTo>
                    <a:pt x="802" y="583"/>
                  </a:lnTo>
                  <a:lnTo>
                    <a:pt x="792" y="580"/>
                  </a:lnTo>
                  <a:lnTo>
                    <a:pt x="782" y="578"/>
                  </a:lnTo>
                  <a:lnTo>
                    <a:pt x="772" y="575"/>
                  </a:lnTo>
                  <a:lnTo>
                    <a:pt x="762" y="572"/>
                  </a:lnTo>
                  <a:lnTo>
                    <a:pt x="753" y="568"/>
                  </a:lnTo>
                  <a:lnTo>
                    <a:pt x="744" y="564"/>
                  </a:lnTo>
                  <a:lnTo>
                    <a:pt x="735" y="559"/>
                  </a:lnTo>
                  <a:lnTo>
                    <a:pt x="726" y="554"/>
                  </a:lnTo>
                  <a:lnTo>
                    <a:pt x="718" y="549"/>
                  </a:lnTo>
                  <a:lnTo>
                    <a:pt x="710" y="543"/>
                  </a:lnTo>
                  <a:lnTo>
                    <a:pt x="702" y="537"/>
                  </a:lnTo>
                  <a:lnTo>
                    <a:pt x="694" y="530"/>
                  </a:lnTo>
                  <a:lnTo>
                    <a:pt x="687" y="522"/>
                  </a:lnTo>
                  <a:lnTo>
                    <a:pt x="681" y="514"/>
                  </a:lnTo>
                  <a:lnTo>
                    <a:pt x="675" y="505"/>
                  </a:lnTo>
                  <a:lnTo>
                    <a:pt x="669" y="496"/>
                  </a:lnTo>
                  <a:lnTo>
                    <a:pt x="664" y="486"/>
                  </a:lnTo>
                  <a:lnTo>
                    <a:pt x="659" y="476"/>
                  </a:lnTo>
                  <a:lnTo>
                    <a:pt x="654" y="465"/>
                  </a:lnTo>
                  <a:lnTo>
                    <a:pt x="652" y="459"/>
                  </a:lnTo>
                  <a:lnTo>
                    <a:pt x="651" y="454"/>
                  </a:lnTo>
                  <a:lnTo>
                    <a:pt x="647" y="441"/>
                  </a:lnTo>
                  <a:lnTo>
                    <a:pt x="645" y="429"/>
                  </a:lnTo>
                  <a:lnTo>
                    <a:pt x="642" y="415"/>
                  </a:lnTo>
                  <a:lnTo>
                    <a:pt x="642" y="408"/>
                  </a:lnTo>
                  <a:lnTo>
                    <a:pt x="641" y="401"/>
                  </a:lnTo>
                  <a:lnTo>
                    <a:pt x="640" y="386"/>
                  </a:lnTo>
                  <a:lnTo>
                    <a:pt x="640" y="370"/>
                  </a:lnTo>
                  <a:lnTo>
                    <a:pt x="640" y="355"/>
                  </a:lnTo>
                  <a:lnTo>
                    <a:pt x="641" y="340"/>
                  </a:lnTo>
                  <a:lnTo>
                    <a:pt x="643" y="326"/>
                  </a:lnTo>
                  <a:lnTo>
                    <a:pt x="646" y="313"/>
                  </a:lnTo>
                  <a:lnTo>
                    <a:pt x="649" y="300"/>
                  </a:lnTo>
                  <a:lnTo>
                    <a:pt x="653" y="288"/>
                  </a:lnTo>
                  <a:lnTo>
                    <a:pt x="657" y="276"/>
                  </a:lnTo>
                  <a:lnTo>
                    <a:pt x="662" y="265"/>
                  </a:lnTo>
                  <a:lnTo>
                    <a:pt x="668" y="255"/>
                  </a:lnTo>
                  <a:lnTo>
                    <a:pt x="674" y="245"/>
                  </a:lnTo>
                  <a:lnTo>
                    <a:pt x="680" y="236"/>
                  </a:lnTo>
                  <a:lnTo>
                    <a:pt x="687" y="227"/>
                  </a:lnTo>
                  <a:lnTo>
                    <a:pt x="694" y="219"/>
                  </a:lnTo>
                  <a:lnTo>
                    <a:pt x="702" y="212"/>
                  </a:lnTo>
                  <a:lnTo>
                    <a:pt x="710" y="204"/>
                  </a:lnTo>
                  <a:lnTo>
                    <a:pt x="718" y="198"/>
                  </a:lnTo>
                  <a:lnTo>
                    <a:pt x="727" y="192"/>
                  </a:lnTo>
                  <a:lnTo>
                    <a:pt x="735" y="186"/>
                  </a:lnTo>
                  <a:lnTo>
                    <a:pt x="744" y="181"/>
                  </a:lnTo>
                  <a:lnTo>
                    <a:pt x="753" y="177"/>
                  </a:lnTo>
                  <a:lnTo>
                    <a:pt x="762" y="172"/>
                  </a:lnTo>
                  <a:lnTo>
                    <a:pt x="771" y="169"/>
                  </a:lnTo>
                  <a:lnTo>
                    <a:pt x="781" y="165"/>
                  </a:lnTo>
                  <a:lnTo>
                    <a:pt x="790" y="162"/>
                  </a:lnTo>
                  <a:lnTo>
                    <a:pt x="799" y="160"/>
                  </a:lnTo>
                  <a:lnTo>
                    <a:pt x="808" y="158"/>
                  </a:lnTo>
                  <a:lnTo>
                    <a:pt x="817" y="156"/>
                  </a:lnTo>
                  <a:lnTo>
                    <a:pt x="826" y="154"/>
                  </a:lnTo>
                  <a:lnTo>
                    <a:pt x="844" y="152"/>
                  </a:lnTo>
                  <a:lnTo>
                    <a:pt x="852" y="152"/>
                  </a:lnTo>
                  <a:lnTo>
                    <a:pt x="860" y="152"/>
                  </a:lnTo>
                  <a:lnTo>
                    <a:pt x="868" y="152"/>
                  </a:lnTo>
                  <a:lnTo>
                    <a:pt x="876" y="152"/>
                  </a:lnTo>
                  <a:lnTo>
                    <a:pt x="893" y="153"/>
                  </a:lnTo>
                  <a:lnTo>
                    <a:pt x="901" y="155"/>
                  </a:lnTo>
                  <a:lnTo>
                    <a:pt x="910" y="156"/>
                  </a:lnTo>
                  <a:lnTo>
                    <a:pt x="927" y="160"/>
                  </a:lnTo>
                  <a:lnTo>
                    <a:pt x="936" y="162"/>
                  </a:lnTo>
                  <a:lnTo>
                    <a:pt x="944" y="165"/>
                  </a:lnTo>
                  <a:lnTo>
                    <a:pt x="953" y="168"/>
                  </a:lnTo>
                  <a:lnTo>
                    <a:pt x="961" y="172"/>
                  </a:lnTo>
                  <a:lnTo>
                    <a:pt x="969" y="177"/>
                  </a:lnTo>
                  <a:lnTo>
                    <a:pt x="977" y="181"/>
                  </a:lnTo>
                  <a:lnTo>
                    <a:pt x="985" y="187"/>
                  </a:lnTo>
                  <a:lnTo>
                    <a:pt x="993" y="193"/>
                  </a:lnTo>
                  <a:lnTo>
                    <a:pt x="1000" y="199"/>
                  </a:lnTo>
                  <a:lnTo>
                    <a:pt x="1007" y="207"/>
                  </a:lnTo>
                  <a:lnTo>
                    <a:pt x="1014" y="215"/>
                  </a:lnTo>
                  <a:lnTo>
                    <a:pt x="1021" y="223"/>
                  </a:lnTo>
                  <a:lnTo>
                    <a:pt x="1027" y="233"/>
                  </a:lnTo>
                  <a:lnTo>
                    <a:pt x="1032" y="243"/>
                  </a:lnTo>
                  <a:lnTo>
                    <a:pt x="1035" y="248"/>
                  </a:lnTo>
                  <a:lnTo>
                    <a:pt x="1038" y="253"/>
                  </a:lnTo>
                  <a:lnTo>
                    <a:pt x="1043" y="265"/>
                  </a:lnTo>
                  <a:lnTo>
                    <a:pt x="1047" y="278"/>
                  </a:lnTo>
                  <a:lnTo>
                    <a:pt x="1051" y="291"/>
                  </a:lnTo>
                  <a:lnTo>
                    <a:pt x="1054" y="305"/>
                  </a:lnTo>
                  <a:lnTo>
                    <a:pt x="1057" y="320"/>
                  </a:lnTo>
                  <a:lnTo>
                    <a:pt x="1060" y="336"/>
                  </a:lnTo>
                  <a:lnTo>
                    <a:pt x="1061" y="354"/>
                  </a:lnTo>
                  <a:lnTo>
                    <a:pt x="1062" y="372"/>
                  </a:lnTo>
                  <a:lnTo>
                    <a:pt x="1063" y="391"/>
                  </a:lnTo>
                  <a:lnTo>
                    <a:pt x="1063" y="408"/>
                  </a:lnTo>
                  <a:close/>
                  <a:moveTo>
                    <a:pt x="918" y="326"/>
                  </a:moveTo>
                  <a:lnTo>
                    <a:pt x="921" y="325"/>
                  </a:lnTo>
                  <a:lnTo>
                    <a:pt x="922" y="325"/>
                  </a:lnTo>
                  <a:lnTo>
                    <a:pt x="923" y="323"/>
                  </a:lnTo>
                  <a:lnTo>
                    <a:pt x="924" y="322"/>
                  </a:lnTo>
                  <a:lnTo>
                    <a:pt x="925" y="319"/>
                  </a:lnTo>
                  <a:lnTo>
                    <a:pt x="924" y="318"/>
                  </a:lnTo>
                  <a:lnTo>
                    <a:pt x="923" y="311"/>
                  </a:lnTo>
                  <a:lnTo>
                    <a:pt x="922" y="304"/>
                  </a:lnTo>
                  <a:lnTo>
                    <a:pt x="920" y="297"/>
                  </a:lnTo>
                  <a:lnTo>
                    <a:pt x="917" y="291"/>
                  </a:lnTo>
                  <a:lnTo>
                    <a:pt x="915" y="286"/>
                  </a:lnTo>
                  <a:lnTo>
                    <a:pt x="911" y="281"/>
                  </a:lnTo>
                  <a:lnTo>
                    <a:pt x="908" y="277"/>
                  </a:lnTo>
                  <a:lnTo>
                    <a:pt x="904" y="273"/>
                  </a:lnTo>
                  <a:lnTo>
                    <a:pt x="900" y="270"/>
                  </a:lnTo>
                  <a:lnTo>
                    <a:pt x="895" y="267"/>
                  </a:lnTo>
                  <a:lnTo>
                    <a:pt x="890" y="265"/>
                  </a:lnTo>
                  <a:lnTo>
                    <a:pt x="885" y="263"/>
                  </a:lnTo>
                  <a:lnTo>
                    <a:pt x="879" y="262"/>
                  </a:lnTo>
                  <a:lnTo>
                    <a:pt x="873" y="261"/>
                  </a:lnTo>
                  <a:lnTo>
                    <a:pt x="866" y="260"/>
                  </a:lnTo>
                  <a:lnTo>
                    <a:pt x="860" y="260"/>
                  </a:lnTo>
                  <a:lnTo>
                    <a:pt x="854" y="260"/>
                  </a:lnTo>
                  <a:lnTo>
                    <a:pt x="849" y="261"/>
                  </a:lnTo>
                  <a:lnTo>
                    <a:pt x="844" y="262"/>
                  </a:lnTo>
                  <a:lnTo>
                    <a:pt x="839" y="263"/>
                  </a:lnTo>
                  <a:lnTo>
                    <a:pt x="834" y="265"/>
                  </a:lnTo>
                  <a:lnTo>
                    <a:pt x="830" y="267"/>
                  </a:lnTo>
                  <a:lnTo>
                    <a:pt x="826" y="270"/>
                  </a:lnTo>
                  <a:lnTo>
                    <a:pt x="821" y="273"/>
                  </a:lnTo>
                  <a:lnTo>
                    <a:pt x="818" y="277"/>
                  </a:lnTo>
                  <a:lnTo>
                    <a:pt x="814" y="281"/>
                  </a:lnTo>
                  <a:lnTo>
                    <a:pt x="810" y="286"/>
                  </a:lnTo>
                  <a:lnTo>
                    <a:pt x="807" y="291"/>
                  </a:lnTo>
                  <a:lnTo>
                    <a:pt x="804" y="297"/>
                  </a:lnTo>
                  <a:lnTo>
                    <a:pt x="802" y="304"/>
                  </a:lnTo>
                  <a:lnTo>
                    <a:pt x="799" y="311"/>
                  </a:lnTo>
                  <a:lnTo>
                    <a:pt x="797" y="318"/>
                  </a:lnTo>
                  <a:lnTo>
                    <a:pt x="797" y="321"/>
                  </a:lnTo>
                  <a:lnTo>
                    <a:pt x="797" y="323"/>
                  </a:lnTo>
                  <a:lnTo>
                    <a:pt x="798" y="324"/>
                  </a:lnTo>
                  <a:lnTo>
                    <a:pt x="799" y="325"/>
                  </a:lnTo>
                  <a:lnTo>
                    <a:pt x="800" y="326"/>
                  </a:lnTo>
                  <a:lnTo>
                    <a:pt x="802" y="326"/>
                  </a:lnTo>
                  <a:lnTo>
                    <a:pt x="918" y="326"/>
                  </a:lnTo>
                  <a:close/>
                  <a:moveTo>
                    <a:pt x="1595" y="588"/>
                  </a:moveTo>
                  <a:lnTo>
                    <a:pt x="1577" y="588"/>
                  </a:lnTo>
                  <a:lnTo>
                    <a:pt x="1560" y="587"/>
                  </a:lnTo>
                  <a:lnTo>
                    <a:pt x="1543" y="585"/>
                  </a:lnTo>
                  <a:lnTo>
                    <a:pt x="1528" y="584"/>
                  </a:lnTo>
                  <a:lnTo>
                    <a:pt x="1513" y="581"/>
                  </a:lnTo>
                  <a:lnTo>
                    <a:pt x="1499" y="578"/>
                  </a:lnTo>
                  <a:lnTo>
                    <a:pt x="1485" y="575"/>
                  </a:lnTo>
                  <a:lnTo>
                    <a:pt x="1472" y="571"/>
                  </a:lnTo>
                  <a:lnTo>
                    <a:pt x="1460" y="567"/>
                  </a:lnTo>
                  <a:lnTo>
                    <a:pt x="1449" y="563"/>
                  </a:lnTo>
                  <a:lnTo>
                    <a:pt x="1438" y="558"/>
                  </a:lnTo>
                  <a:lnTo>
                    <a:pt x="1427" y="553"/>
                  </a:lnTo>
                  <a:lnTo>
                    <a:pt x="1418" y="548"/>
                  </a:lnTo>
                  <a:lnTo>
                    <a:pt x="1409" y="543"/>
                  </a:lnTo>
                  <a:lnTo>
                    <a:pt x="1393" y="532"/>
                  </a:lnTo>
                  <a:lnTo>
                    <a:pt x="1391" y="531"/>
                  </a:lnTo>
                  <a:lnTo>
                    <a:pt x="1390" y="529"/>
                  </a:lnTo>
                  <a:lnTo>
                    <a:pt x="1389" y="527"/>
                  </a:lnTo>
                  <a:lnTo>
                    <a:pt x="1389" y="525"/>
                  </a:lnTo>
                  <a:lnTo>
                    <a:pt x="1390" y="523"/>
                  </a:lnTo>
                  <a:lnTo>
                    <a:pt x="1391" y="522"/>
                  </a:lnTo>
                  <a:lnTo>
                    <a:pt x="1440" y="446"/>
                  </a:lnTo>
                  <a:lnTo>
                    <a:pt x="1442" y="444"/>
                  </a:lnTo>
                  <a:lnTo>
                    <a:pt x="1443" y="444"/>
                  </a:lnTo>
                  <a:lnTo>
                    <a:pt x="1444" y="443"/>
                  </a:lnTo>
                  <a:lnTo>
                    <a:pt x="1446" y="443"/>
                  </a:lnTo>
                  <a:lnTo>
                    <a:pt x="1448" y="444"/>
                  </a:lnTo>
                  <a:lnTo>
                    <a:pt x="1450" y="445"/>
                  </a:lnTo>
                  <a:lnTo>
                    <a:pt x="1465" y="456"/>
                  </a:lnTo>
                  <a:lnTo>
                    <a:pt x="1483" y="465"/>
                  </a:lnTo>
                  <a:lnTo>
                    <a:pt x="1501" y="473"/>
                  </a:lnTo>
                  <a:lnTo>
                    <a:pt x="1510" y="476"/>
                  </a:lnTo>
                  <a:lnTo>
                    <a:pt x="1520" y="479"/>
                  </a:lnTo>
                  <a:lnTo>
                    <a:pt x="1529" y="482"/>
                  </a:lnTo>
                  <a:lnTo>
                    <a:pt x="1539" y="485"/>
                  </a:lnTo>
                  <a:lnTo>
                    <a:pt x="1558" y="489"/>
                  </a:lnTo>
                  <a:lnTo>
                    <a:pt x="1576" y="491"/>
                  </a:lnTo>
                  <a:lnTo>
                    <a:pt x="1594" y="492"/>
                  </a:lnTo>
                  <a:lnTo>
                    <a:pt x="1604" y="491"/>
                  </a:lnTo>
                  <a:lnTo>
                    <a:pt x="1613" y="490"/>
                  </a:lnTo>
                  <a:lnTo>
                    <a:pt x="1622" y="488"/>
                  </a:lnTo>
                  <a:lnTo>
                    <a:pt x="1629" y="486"/>
                  </a:lnTo>
                  <a:lnTo>
                    <a:pt x="1632" y="484"/>
                  </a:lnTo>
                  <a:lnTo>
                    <a:pt x="1635" y="482"/>
                  </a:lnTo>
                  <a:lnTo>
                    <a:pt x="1638" y="480"/>
                  </a:lnTo>
                  <a:lnTo>
                    <a:pt x="1640" y="477"/>
                  </a:lnTo>
                  <a:lnTo>
                    <a:pt x="1642" y="474"/>
                  </a:lnTo>
                  <a:lnTo>
                    <a:pt x="1643" y="471"/>
                  </a:lnTo>
                  <a:lnTo>
                    <a:pt x="1644" y="468"/>
                  </a:lnTo>
                  <a:lnTo>
                    <a:pt x="1644" y="464"/>
                  </a:lnTo>
                  <a:lnTo>
                    <a:pt x="1644" y="461"/>
                  </a:lnTo>
                  <a:lnTo>
                    <a:pt x="1643" y="457"/>
                  </a:lnTo>
                  <a:lnTo>
                    <a:pt x="1642" y="454"/>
                  </a:lnTo>
                  <a:lnTo>
                    <a:pt x="1641" y="451"/>
                  </a:lnTo>
                  <a:lnTo>
                    <a:pt x="1640" y="449"/>
                  </a:lnTo>
                  <a:lnTo>
                    <a:pt x="1638" y="448"/>
                  </a:lnTo>
                  <a:lnTo>
                    <a:pt x="1636" y="445"/>
                  </a:lnTo>
                  <a:lnTo>
                    <a:pt x="1629" y="441"/>
                  </a:lnTo>
                  <a:lnTo>
                    <a:pt x="1620" y="437"/>
                  </a:lnTo>
                  <a:lnTo>
                    <a:pt x="1609" y="434"/>
                  </a:lnTo>
                  <a:lnTo>
                    <a:pt x="1595" y="432"/>
                  </a:lnTo>
                  <a:lnTo>
                    <a:pt x="1579" y="429"/>
                  </a:lnTo>
                  <a:lnTo>
                    <a:pt x="1551" y="425"/>
                  </a:lnTo>
                  <a:lnTo>
                    <a:pt x="1537" y="422"/>
                  </a:lnTo>
                  <a:lnTo>
                    <a:pt x="1522" y="419"/>
                  </a:lnTo>
                  <a:lnTo>
                    <a:pt x="1508" y="415"/>
                  </a:lnTo>
                  <a:lnTo>
                    <a:pt x="1493" y="411"/>
                  </a:lnTo>
                  <a:lnTo>
                    <a:pt x="1480" y="405"/>
                  </a:lnTo>
                  <a:lnTo>
                    <a:pt x="1466" y="398"/>
                  </a:lnTo>
                  <a:lnTo>
                    <a:pt x="1460" y="395"/>
                  </a:lnTo>
                  <a:lnTo>
                    <a:pt x="1454" y="391"/>
                  </a:lnTo>
                  <a:lnTo>
                    <a:pt x="1448" y="386"/>
                  </a:lnTo>
                  <a:lnTo>
                    <a:pt x="1443" y="382"/>
                  </a:lnTo>
                  <a:lnTo>
                    <a:pt x="1438" y="377"/>
                  </a:lnTo>
                  <a:lnTo>
                    <a:pt x="1433" y="371"/>
                  </a:lnTo>
                  <a:lnTo>
                    <a:pt x="1428" y="366"/>
                  </a:lnTo>
                  <a:lnTo>
                    <a:pt x="1424" y="359"/>
                  </a:lnTo>
                  <a:lnTo>
                    <a:pt x="1420" y="353"/>
                  </a:lnTo>
                  <a:lnTo>
                    <a:pt x="1417" y="346"/>
                  </a:lnTo>
                  <a:lnTo>
                    <a:pt x="1414" y="338"/>
                  </a:lnTo>
                  <a:lnTo>
                    <a:pt x="1411" y="330"/>
                  </a:lnTo>
                  <a:lnTo>
                    <a:pt x="1410" y="322"/>
                  </a:lnTo>
                  <a:lnTo>
                    <a:pt x="1408" y="313"/>
                  </a:lnTo>
                  <a:lnTo>
                    <a:pt x="1408" y="308"/>
                  </a:lnTo>
                  <a:lnTo>
                    <a:pt x="1407" y="304"/>
                  </a:lnTo>
                  <a:lnTo>
                    <a:pt x="1407" y="294"/>
                  </a:lnTo>
                  <a:lnTo>
                    <a:pt x="1407" y="285"/>
                  </a:lnTo>
                  <a:lnTo>
                    <a:pt x="1408" y="277"/>
                  </a:lnTo>
                  <a:lnTo>
                    <a:pt x="1409" y="268"/>
                  </a:lnTo>
                  <a:lnTo>
                    <a:pt x="1410" y="261"/>
                  </a:lnTo>
                  <a:lnTo>
                    <a:pt x="1412" y="253"/>
                  </a:lnTo>
                  <a:lnTo>
                    <a:pt x="1415" y="246"/>
                  </a:lnTo>
                  <a:lnTo>
                    <a:pt x="1417" y="239"/>
                  </a:lnTo>
                  <a:lnTo>
                    <a:pt x="1420" y="232"/>
                  </a:lnTo>
                  <a:lnTo>
                    <a:pt x="1424" y="225"/>
                  </a:lnTo>
                  <a:lnTo>
                    <a:pt x="1428" y="219"/>
                  </a:lnTo>
                  <a:lnTo>
                    <a:pt x="1436" y="208"/>
                  </a:lnTo>
                  <a:lnTo>
                    <a:pt x="1441" y="202"/>
                  </a:lnTo>
                  <a:lnTo>
                    <a:pt x="1446" y="197"/>
                  </a:lnTo>
                  <a:lnTo>
                    <a:pt x="1457" y="188"/>
                  </a:lnTo>
                  <a:lnTo>
                    <a:pt x="1463" y="183"/>
                  </a:lnTo>
                  <a:lnTo>
                    <a:pt x="1469" y="179"/>
                  </a:lnTo>
                  <a:lnTo>
                    <a:pt x="1483" y="172"/>
                  </a:lnTo>
                  <a:lnTo>
                    <a:pt x="1490" y="169"/>
                  </a:lnTo>
                  <a:lnTo>
                    <a:pt x="1497" y="166"/>
                  </a:lnTo>
                  <a:lnTo>
                    <a:pt x="1512" y="161"/>
                  </a:lnTo>
                  <a:lnTo>
                    <a:pt x="1528" y="157"/>
                  </a:lnTo>
                  <a:lnTo>
                    <a:pt x="1544" y="154"/>
                  </a:lnTo>
                  <a:lnTo>
                    <a:pt x="1561" y="152"/>
                  </a:lnTo>
                  <a:lnTo>
                    <a:pt x="1579" y="152"/>
                  </a:lnTo>
                  <a:lnTo>
                    <a:pt x="1595" y="152"/>
                  </a:lnTo>
                  <a:lnTo>
                    <a:pt x="1611" y="153"/>
                  </a:lnTo>
                  <a:lnTo>
                    <a:pt x="1626" y="154"/>
                  </a:lnTo>
                  <a:lnTo>
                    <a:pt x="1641" y="156"/>
                  </a:lnTo>
                  <a:lnTo>
                    <a:pt x="1654" y="158"/>
                  </a:lnTo>
                  <a:lnTo>
                    <a:pt x="1667" y="160"/>
                  </a:lnTo>
                  <a:lnTo>
                    <a:pt x="1679" y="163"/>
                  </a:lnTo>
                  <a:lnTo>
                    <a:pt x="1691" y="167"/>
                  </a:lnTo>
                  <a:lnTo>
                    <a:pt x="1702" y="170"/>
                  </a:lnTo>
                  <a:lnTo>
                    <a:pt x="1713" y="174"/>
                  </a:lnTo>
                  <a:lnTo>
                    <a:pt x="1723" y="179"/>
                  </a:lnTo>
                  <a:lnTo>
                    <a:pt x="1733" y="183"/>
                  </a:lnTo>
                  <a:lnTo>
                    <a:pt x="1742" y="188"/>
                  </a:lnTo>
                  <a:lnTo>
                    <a:pt x="1751" y="194"/>
                  </a:lnTo>
                  <a:lnTo>
                    <a:pt x="1768" y="205"/>
                  </a:lnTo>
                  <a:lnTo>
                    <a:pt x="1770" y="207"/>
                  </a:lnTo>
                  <a:lnTo>
                    <a:pt x="1771" y="209"/>
                  </a:lnTo>
                  <a:lnTo>
                    <a:pt x="1772" y="211"/>
                  </a:lnTo>
                  <a:lnTo>
                    <a:pt x="1772" y="212"/>
                  </a:lnTo>
                  <a:lnTo>
                    <a:pt x="1771" y="215"/>
                  </a:lnTo>
                  <a:lnTo>
                    <a:pt x="1770" y="216"/>
                  </a:lnTo>
                  <a:lnTo>
                    <a:pt x="1722" y="288"/>
                  </a:lnTo>
                  <a:lnTo>
                    <a:pt x="1720" y="290"/>
                  </a:lnTo>
                  <a:lnTo>
                    <a:pt x="1718" y="292"/>
                  </a:lnTo>
                  <a:lnTo>
                    <a:pt x="1716" y="292"/>
                  </a:lnTo>
                  <a:lnTo>
                    <a:pt x="1715" y="292"/>
                  </a:lnTo>
                  <a:lnTo>
                    <a:pt x="1711" y="292"/>
                  </a:lnTo>
                  <a:lnTo>
                    <a:pt x="1708" y="290"/>
                  </a:lnTo>
                  <a:lnTo>
                    <a:pt x="1693" y="282"/>
                  </a:lnTo>
                  <a:lnTo>
                    <a:pt x="1677" y="274"/>
                  </a:lnTo>
                  <a:lnTo>
                    <a:pt x="1662" y="268"/>
                  </a:lnTo>
                  <a:lnTo>
                    <a:pt x="1647" y="263"/>
                  </a:lnTo>
                  <a:lnTo>
                    <a:pt x="1633" y="258"/>
                  </a:lnTo>
                  <a:lnTo>
                    <a:pt x="1619" y="255"/>
                  </a:lnTo>
                  <a:lnTo>
                    <a:pt x="1612" y="254"/>
                  </a:lnTo>
                  <a:lnTo>
                    <a:pt x="1606" y="254"/>
                  </a:lnTo>
                  <a:lnTo>
                    <a:pt x="1593" y="253"/>
                  </a:lnTo>
                  <a:lnTo>
                    <a:pt x="1584" y="253"/>
                  </a:lnTo>
                  <a:lnTo>
                    <a:pt x="1576" y="254"/>
                  </a:lnTo>
                  <a:lnTo>
                    <a:pt x="1568" y="256"/>
                  </a:lnTo>
                  <a:lnTo>
                    <a:pt x="1562" y="259"/>
                  </a:lnTo>
                  <a:lnTo>
                    <a:pt x="1560" y="261"/>
                  </a:lnTo>
                  <a:lnTo>
                    <a:pt x="1557" y="263"/>
                  </a:lnTo>
                  <a:lnTo>
                    <a:pt x="1554" y="267"/>
                  </a:lnTo>
                  <a:lnTo>
                    <a:pt x="1552" y="270"/>
                  </a:lnTo>
                  <a:lnTo>
                    <a:pt x="1551" y="273"/>
                  </a:lnTo>
                  <a:lnTo>
                    <a:pt x="1551" y="276"/>
                  </a:lnTo>
                  <a:lnTo>
                    <a:pt x="1550" y="280"/>
                  </a:lnTo>
                  <a:lnTo>
                    <a:pt x="1551" y="283"/>
                  </a:lnTo>
                  <a:lnTo>
                    <a:pt x="1551" y="286"/>
                  </a:lnTo>
                  <a:lnTo>
                    <a:pt x="1553" y="289"/>
                  </a:lnTo>
                  <a:lnTo>
                    <a:pt x="1555" y="292"/>
                  </a:lnTo>
                  <a:lnTo>
                    <a:pt x="1557" y="295"/>
                  </a:lnTo>
                  <a:lnTo>
                    <a:pt x="1560" y="297"/>
                  </a:lnTo>
                  <a:lnTo>
                    <a:pt x="1563" y="299"/>
                  </a:lnTo>
                  <a:lnTo>
                    <a:pt x="1567" y="301"/>
                  </a:lnTo>
                  <a:lnTo>
                    <a:pt x="1576" y="304"/>
                  </a:lnTo>
                  <a:lnTo>
                    <a:pt x="1587" y="307"/>
                  </a:lnTo>
                  <a:lnTo>
                    <a:pt x="1600" y="309"/>
                  </a:lnTo>
                  <a:lnTo>
                    <a:pt x="1615" y="312"/>
                  </a:lnTo>
                  <a:lnTo>
                    <a:pt x="1642" y="316"/>
                  </a:lnTo>
                  <a:lnTo>
                    <a:pt x="1657" y="318"/>
                  </a:lnTo>
                  <a:lnTo>
                    <a:pt x="1672" y="321"/>
                  </a:lnTo>
                  <a:lnTo>
                    <a:pt x="1686" y="325"/>
                  </a:lnTo>
                  <a:lnTo>
                    <a:pt x="1701" y="329"/>
                  </a:lnTo>
                  <a:lnTo>
                    <a:pt x="1715" y="334"/>
                  </a:lnTo>
                  <a:lnTo>
                    <a:pt x="1728" y="340"/>
                  </a:lnTo>
                  <a:lnTo>
                    <a:pt x="1740" y="348"/>
                  </a:lnTo>
                  <a:lnTo>
                    <a:pt x="1746" y="352"/>
                  </a:lnTo>
                  <a:lnTo>
                    <a:pt x="1752" y="356"/>
                  </a:lnTo>
                  <a:lnTo>
                    <a:pt x="1757" y="361"/>
                  </a:lnTo>
                  <a:lnTo>
                    <a:pt x="1762" y="366"/>
                  </a:lnTo>
                  <a:lnTo>
                    <a:pt x="1766" y="371"/>
                  </a:lnTo>
                  <a:lnTo>
                    <a:pt x="1771" y="377"/>
                  </a:lnTo>
                  <a:lnTo>
                    <a:pt x="1774" y="383"/>
                  </a:lnTo>
                  <a:lnTo>
                    <a:pt x="1778" y="390"/>
                  </a:lnTo>
                  <a:lnTo>
                    <a:pt x="1781" y="397"/>
                  </a:lnTo>
                  <a:lnTo>
                    <a:pt x="1783" y="404"/>
                  </a:lnTo>
                  <a:lnTo>
                    <a:pt x="1785" y="412"/>
                  </a:lnTo>
                  <a:lnTo>
                    <a:pt x="1787" y="420"/>
                  </a:lnTo>
                  <a:lnTo>
                    <a:pt x="1787" y="425"/>
                  </a:lnTo>
                  <a:lnTo>
                    <a:pt x="1787" y="429"/>
                  </a:lnTo>
                  <a:lnTo>
                    <a:pt x="1788" y="438"/>
                  </a:lnTo>
                  <a:lnTo>
                    <a:pt x="1787" y="449"/>
                  </a:lnTo>
                  <a:lnTo>
                    <a:pt x="1787" y="458"/>
                  </a:lnTo>
                  <a:lnTo>
                    <a:pt x="1785" y="468"/>
                  </a:lnTo>
                  <a:lnTo>
                    <a:pt x="1783" y="477"/>
                  </a:lnTo>
                  <a:lnTo>
                    <a:pt x="1781" y="485"/>
                  </a:lnTo>
                  <a:lnTo>
                    <a:pt x="1778" y="494"/>
                  </a:lnTo>
                  <a:lnTo>
                    <a:pt x="1775" y="501"/>
                  </a:lnTo>
                  <a:lnTo>
                    <a:pt x="1771" y="509"/>
                  </a:lnTo>
                  <a:lnTo>
                    <a:pt x="1767" y="516"/>
                  </a:lnTo>
                  <a:lnTo>
                    <a:pt x="1763" y="523"/>
                  </a:lnTo>
                  <a:lnTo>
                    <a:pt x="1758" y="529"/>
                  </a:lnTo>
                  <a:lnTo>
                    <a:pt x="1752" y="535"/>
                  </a:lnTo>
                  <a:lnTo>
                    <a:pt x="1747" y="540"/>
                  </a:lnTo>
                  <a:lnTo>
                    <a:pt x="1741" y="546"/>
                  </a:lnTo>
                  <a:lnTo>
                    <a:pt x="1734" y="550"/>
                  </a:lnTo>
                  <a:lnTo>
                    <a:pt x="1728" y="555"/>
                  </a:lnTo>
                  <a:lnTo>
                    <a:pt x="1721" y="559"/>
                  </a:lnTo>
                  <a:lnTo>
                    <a:pt x="1714" y="563"/>
                  </a:lnTo>
                  <a:lnTo>
                    <a:pt x="1699" y="570"/>
                  </a:lnTo>
                  <a:lnTo>
                    <a:pt x="1683" y="576"/>
                  </a:lnTo>
                  <a:lnTo>
                    <a:pt x="1675" y="578"/>
                  </a:lnTo>
                  <a:lnTo>
                    <a:pt x="1666" y="580"/>
                  </a:lnTo>
                  <a:lnTo>
                    <a:pt x="1649" y="584"/>
                  </a:lnTo>
                  <a:lnTo>
                    <a:pt x="1631" y="586"/>
                  </a:lnTo>
                  <a:lnTo>
                    <a:pt x="1613" y="588"/>
                  </a:lnTo>
                  <a:lnTo>
                    <a:pt x="1595" y="58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18" name="(c)" hidden="1"/>
          <p:cNvSpPr txBox="1"/>
          <p:nvPr/>
        </p:nvSpPr>
        <p:spPr>
          <a:xfrm>
            <a:off x="11946442" y="6891795"/>
            <a:ext cx="238848" cy="30778"/>
          </a:xfrm>
          <a:prstGeom prst="rect">
            <a:avLst/>
          </a:prstGeom>
          <a:noFill/>
        </p:spPr>
        <p:txBody>
          <a:bodyPr wrap="none" lIns="0" tIns="0" rIns="0" bIns="0" rtlCol="0">
            <a:spAutoFit/>
          </a:bodyPr>
          <a:lstStyle/>
          <a:p>
            <a:pPr algn="r"/>
            <a:r>
              <a:rPr lang="fi-FI" sz="200" dirty="0">
                <a:solidFill>
                  <a:schemeClr val="bg1"/>
                </a:solidFill>
                <a:latin typeface="+mn-lt"/>
              </a:rPr>
              <a:t>©grow. for</a:t>
            </a:r>
            <a:r>
              <a:rPr lang="fi-FI" sz="200" baseline="0" dirty="0">
                <a:solidFill>
                  <a:schemeClr val="bg1"/>
                </a:solidFill>
                <a:latin typeface="+mn-lt"/>
              </a:rPr>
              <a:t> metsaliitto</a:t>
            </a:r>
            <a:endParaRPr lang="en-GB" sz="200" dirty="0" err="1">
              <a:solidFill>
                <a:schemeClr val="bg1"/>
              </a:solidFill>
              <a:latin typeface="+mn-lt"/>
            </a:endParaRPr>
          </a:p>
        </p:txBody>
      </p:sp>
      <p:pic>
        <p:nvPicPr>
          <p:cNvPr id="19" name="(logo)" descr="Z:\GRW (grow)\logot\copyright_grow.png" hidden="1"/>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0" y="-36000"/>
            <a:ext cx="60261" cy="1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1455390"/>
      </p:ext>
    </p:extLst>
  </p:cSld>
  <p:clrMap bg1="lt1" tx1="dk1" bg2="lt2" tx2="dk2" accent1="accent1" accent2="accent2" accent3="accent3" accent4="accent4" accent5="accent5" accent6="accent6" hlink="hlink" folHlink="folHlink"/>
  <p:sldLayoutIdLst>
    <p:sldLayoutId id="2147483660" r:id="rId1"/>
    <p:sldLayoutId id="2147483685" r:id="rId2"/>
    <p:sldLayoutId id="2147483693" r:id="rId3"/>
    <p:sldLayoutId id="2147483713" r:id="rId4"/>
    <p:sldLayoutId id="2147483702" r:id="rId5"/>
    <p:sldLayoutId id="2147483704" r:id="rId6"/>
    <p:sldLayoutId id="2147483705" r:id="rId7"/>
    <p:sldLayoutId id="2147483686" r:id="rId8"/>
    <p:sldLayoutId id="2147483651" r:id="rId9"/>
    <p:sldLayoutId id="2147483697" r:id="rId10"/>
    <p:sldLayoutId id="2147483698" r:id="rId11"/>
    <p:sldLayoutId id="2147483699" r:id="rId12"/>
    <p:sldLayoutId id="2147483714" r:id="rId13"/>
    <p:sldLayoutId id="2147483706" r:id="rId14"/>
    <p:sldLayoutId id="2147483707" r:id="rId15"/>
    <p:sldLayoutId id="2147483650" r:id="rId16"/>
    <p:sldLayoutId id="2147483652" r:id="rId17"/>
    <p:sldLayoutId id="2147483682" r:id="rId18"/>
    <p:sldLayoutId id="2147483683" r:id="rId19"/>
    <p:sldLayoutId id="2147483663" r:id="rId20"/>
    <p:sldLayoutId id="2147483662" r:id="rId21"/>
    <p:sldLayoutId id="2147483668" r:id="rId22"/>
    <p:sldLayoutId id="2147483669" r:id="rId23"/>
    <p:sldLayoutId id="2147483684" r:id="rId24"/>
    <p:sldLayoutId id="2147483670" r:id="rId25"/>
    <p:sldLayoutId id="2147483701" r:id="rId26"/>
    <p:sldLayoutId id="2147483708" r:id="rId27"/>
    <p:sldLayoutId id="2147483709" r:id="rId28"/>
    <p:sldLayoutId id="2147483654" r:id="rId29"/>
    <p:sldLayoutId id="2147483719" r:id="rId30"/>
    <p:sldLayoutId id="2147483690" r:id="rId31"/>
    <p:sldLayoutId id="2147483703" r:id="rId32"/>
    <p:sldLayoutId id="2147483715" r:id="rId33"/>
    <p:sldLayoutId id="2147483695" r:id="rId34"/>
    <p:sldLayoutId id="2147483716" r:id="rId35"/>
    <p:sldLayoutId id="2147483696" r:id="rId36"/>
    <p:sldLayoutId id="2147483717" r:id="rId3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txStyles>
    <p:titleStyle>
      <a:lvl1pPr algn="l" defTabSz="1219170" rtl="0" eaLnBrk="1" latinLnBrk="0" hangingPunct="1">
        <a:lnSpc>
          <a:spcPct val="90000"/>
        </a:lnSpc>
        <a:spcBef>
          <a:spcPct val="0"/>
        </a:spcBef>
        <a:buNone/>
        <a:defRPr sz="3200" b="1" kern="1200" spc="0" baseline="0">
          <a:solidFill>
            <a:schemeClr val="tx1"/>
          </a:solidFill>
          <a:latin typeface="+mj-lt"/>
          <a:ea typeface="+mj-ea"/>
          <a:cs typeface="+mj-cs"/>
        </a:defRPr>
      </a:lvl1pPr>
    </p:titleStyle>
    <p:bodyStyle>
      <a:lvl1pPr marL="269875" indent="-269875" algn="l" defTabSz="1219170" rtl="0" eaLnBrk="1" latinLnBrk="0" hangingPunct="1">
        <a:spcBef>
          <a:spcPts val="800"/>
        </a:spcBef>
        <a:buClr>
          <a:schemeClr val="tx1"/>
        </a:buClr>
        <a:buFont typeface="Arial" panose="020B0604020202020204" pitchFamily="34" charset="0"/>
        <a:buChar char="•"/>
        <a:defRPr sz="2000" kern="1200" spc="0" baseline="0">
          <a:solidFill>
            <a:schemeClr val="tx1"/>
          </a:solidFill>
          <a:latin typeface="+mn-lt"/>
          <a:ea typeface="+mn-ea"/>
          <a:cs typeface="+mn-cs"/>
        </a:defRPr>
      </a:lvl1pPr>
      <a:lvl2pPr marL="715963" indent="-269875" algn="l" defTabSz="1219170" rtl="0" eaLnBrk="1" latinLnBrk="0" hangingPunct="1">
        <a:spcBef>
          <a:spcPts val="800"/>
        </a:spcBef>
        <a:buClr>
          <a:schemeClr val="tx1"/>
        </a:buClr>
        <a:buFont typeface="Arial" panose="020B0604020202020204" pitchFamily="34" charset="0"/>
        <a:buChar char="–"/>
        <a:defRPr sz="1800" kern="1200" spc="0" baseline="0">
          <a:solidFill>
            <a:schemeClr val="tx1"/>
          </a:solidFill>
          <a:latin typeface="+mn-lt"/>
          <a:ea typeface="+mn-ea"/>
          <a:cs typeface="+mn-cs"/>
        </a:defRPr>
      </a:lvl2pPr>
      <a:lvl3pPr marL="985838" indent="-269875" algn="l" defTabSz="1219170" rtl="0" eaLnBrk="1" latinLnBrk="0" hangingPunct="1">
        <a:spcBef>
          <a:spcPts val="800"/>
        </a:spcBef>
        <a:buClr>
          <a:schemeClr val="tx1"/>
        </a:buClr>
        <a:buFont typeface="Arial" panose="020B0604020202020204" pitchFamily="34" charset="0"/>
        <a:buChar char="•"/>
        <a:defRPr sz="1600" kern="1200" spc="0" baseline="0">
          <a:solidFill>
            <a:schemeClr val="tx1"/>
          </a:solidFill>
          <a:latin typeface="+mn-lt"/>
          <a:ea typeface="+mn-ea"/>
          <a:cs typeface="+mn-cs"/>
        </a:defRPr>
      </a:lvl3pPr>
      <a:lvl4pPr marL="1431925" indent="-269875" algn="l" defTabSz="1219170" rtl="0" eaLnBrk="1" latinLnBrk="0" hangingPunct="1">
        <a:spcBef>
          <a:spcPts val="800"/>
        </a:spcBef>
        <a:buClr>
          <a:schemeClr val="tx1"/>
        </a:buClr>
        <a:buFont typeface="Arial" panose="020B0604020202020204" pitchFamily="34" charset="0"/>
        <a:buChar char="–"/>
        <a:defRPr sz="1400" kern="1200" spc="0" baseline="0">
          <a:solidFill>
            <a:schemeClr val="tx1"/>
          </a:solidFill>
          <a:latin typeface="+mn-lt"/>
          <a:ea typeface="+mn-ea"/>
          <a:cs typeface="+mn-cs"/>
        </a:defRPr>
      </a:lvl4pPr>
      <a:lvl5pPr marL="1701800" indent="-263525" algn="l" defTabSz="1219170" rtl="0" eaLnBrk="1" latinLnBrk="0" hangingPunct="1">
        <a:spcBef>
          <a:spcPts val="800"/>
        </a:spcBef>
        <a:buClr>
          <a:schemeClr val="tx1"/>
        </a:buClr>
        <a:buFont typeface="Arial" panose="020B0604020202020204" pitchFamily="34" charset="0"/>
        <a:buChar char="•"/>
        <a:defRPr sz="1400" kern="1200" spc="0" baseline="0">
          <a:solidFill>
            <a:schemeClr val="tx1"/>
          </a:solidFill>
          <a:latin typeface="+mn-lt"/>
          <a:ea typeface="+mn-ea"/>
          <a:cs typeface="+mn-cs"/>
        </a:defRPr>
      </a:lvl5pPr>
      <a:lvl6pPr marL="1971675" indent="-269875" algn="l" defTabSz="1219170" rtl="0" eaLnBrk="1" latinLnBrk="0" hangingPunct="1">
        <a:spcBef>
          <a:spcPts val="800"/>
        </a:spcBef>
        <a:buClr>
          <a:schemeClr val="tx1"/>
        </a:buClr>
        <a:buFont typeface="Arial" panose="020B0604020202020204" pitchFamily="34" charset="0"/>
        <a:buChar char="•"/>
        <a:defRPr sz="1200" kern="1200" spc="0" baseline="0">
          <a:solidFill>
            <a:schemeClr val="tx1"/>
          </a:solidFill>
          <a:latin typeface="+mn-lt"/>
          <a:ea typeface="+mn-ea"/>
          <a:cs typeface="+mn-cs"/>
        </a:defRPr>
      </a:lvl6pPr>
      <a:lvl7pPr marL="2241550" indent="-269875" algn="l" defTabSz="1219170" rtl="0" eaLnBrk="1" latinLnBrk="0" hangingPunct="1">
        <a:spcBef>
          <a:spcPts val="800"/>
        </a:spcBef>
        <a:buClr>
          <a:schemeClr val="tx1"/>
        </a:buClr>
        <a:buFont typeface="Arial" panose="020B0604020202020204" pitchFamily="34" charset="0"/>
        <a:buChar char="•"/>
        <a:defRPr sz="1200" kern="1200" spc="0" baseline="0">
          <a:solidFill>
            <a:schemeClr val="tx1"/>
          </a:solidFill>
          <a:latin typeface="+mn-lt"/>
          <a:ea typeface="+mn-ea"/>
          <a:cs typeface="+mn-cs"/>
        </a:defRPr>
      </a:lvl7pPr>
      <a:lvl8pPr marL="2513013" indent="-269875" algn="l" defTabSz="1219170" rtl="0" eaLnBrk="1" latinLnBrk="0" hangingPunct="1">
        <a:spcBef>
          <a:spcPts val="800"/>
        </a:spcBef>
        <a:buClr>
          <a:schemeClr val="tx1"/>
        </a:buClr>
        <a:buFont typeface="Arial" panose="020B0604020202020204" pitchFamily="34" charset="0"/>
        <a:buChar char="•"/>
        <a:defRPr sz="1200" kern="1200" spc="0" baseline="0">
          <a:solidFill>
            <a:schemeClr val="tx1"/>
          </a:solidFill>
          <a:latin typeface="+mn-lt"/>
          <a:ea typeface="+mn-ea"/>
          <a:cs typeface="+mn-cs"/>
        </a:defRPr>
      </a:lvl8pPr>
      <a:lvl9pPr marL="2782888" indent="-271463" algn="l" defTabSz="1219170" rtl="0" eaLnBrk="1" latinLnBrk="0" hangingPunct="1">
        <a:spcBef>
          <a:spcPts val="800"/>
        </a:spcBef>
        <a:buClr>
          <a:schemeClr val="tx1"/>
        </a:buClr>
        <a:buFont typeface="Arial" panose="020B0604020202020204" pitchFamily="34" charset="0"/>
        <a:buChar char="•"/>
        <a:defRPr sz="1200" kern="1200" spc="0" baseline="0">
          <a:solidFill>
            <a:schemeClr val="tx1"/>
          </a:solidFill>
          <a:latin typeface="+mn-lt"/>
          <a:ea typeface="+mn-ea"/>
          <a:cs typeface="+mn-cs"/>
        </a:defRPr>
      </a:lvl9pPr>
    </p:bodyStyle>
    <p:otherStyle>
      <a:defPPr>
        <a:defRPr lang="fi-FI"/>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06AE89D-50A6-4BA1-BEBE-CD9926E4AABC}"/>
              </a:ext>
            </a:extLst>
          </p:cNvPr>
          <p:cNvGraphicFramePr>
            <a:graphicFrameLocks noChangeAspect="1"/>
          </p:cNvGraphicFramePr>
          <p:nvPr userDrawn="1">
            <p:custDataLst>
              <p:tags r:id="rId13"/>
            </p:custDataLst>
            <p:extLst>
              <p:ext uri="{D42A27DB-BD31-4B8C-83A1-F6EECF244321}">
                <p14:modId xmlns:p14="http://schemas.microsoft.com/office/powerpoint/2010/main" val="3640740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2" name="Object 1" hidden="1">
                        <a:extLst>
                          <a:ext uri="{FF2B5EF4-FFF2-40B4-BE49-F238E27FC236}">
                            <a16:creationId xmlns:a16="http://schemas.microsoft.com/office/drawing/2014/main" id="{806AE89D-50A6-4BA1-BEBE-CD9926E4AAB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pic>
        <p:nvPicPr>
          <p:cNvPr id="16" name="Picture 15">
            <a:extLst>
              <a:ext uri="{FF2B5EF4-FFF2-40B4-BE49-F238E27FC236}">
                <a16:creationId xmlns:a16="http://schemas.microsoft.com/office/drawing/2014/main" id="{01F14939-B0F9-0C41-A948-E17D0CCF6FE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282762" y="6210681"/>
            <a:ext cx="3852915" cy="408547"/>
          </a:xfrm>
          <a:prstGeom prst="rect">
            <a:avLst/>
          </a:prstGeom>
        </p:spPr>
      </p:pic>
    </p:spTree>
    <p:extLst>
      <p:ext uri="{BB962C8B-B14F-4D97-AF65-F5344CB8AC3E}">
        <p14:creationId xmlns:p14="http://schemas.microsoft.com/office/powerpoint/2010/main" val="434951512"/>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6764" y="692150"/>
            <a:ext cx="10658474" cy="864642"/>
          </a:xfrm>
          <a:prstGeom prst="rect">
            <a:avLst/>
          </a:prstGeom>
        </p:spPr>
        <p:txBody>
          <a:bodyPr vert="horz" lIns="0" tIns="0" rIns="0" bIns="0" rtlCol="0" anchor="ctr" anchorCtr="0">
            <a:noAutofit/>
          </a:bodyPr>
          <a:lstStyle/>
          <a:p>
            <a:r>
              <a:rPr lang="en-US"/>
              <a:t>Click to edit Master title style</a:t>
            </a:r>
            <a:endParaRPr lang="fi-FI"/>
          </a:p>
        </p:txBody>
      </p:sp>
      <p:sp>
        <p:nvSpPr>
          <p:cNvPr id="3" name="Text Placeholder 2"/>
          <p:cNvSpPr>
            <a:spLocks noGrp="1"/>
          </p:cNvSpPr>
          <p:nvPr>
            <p:ph type="body" idx="1"/>
          </p:nvPr>
        </p:nvSpPr>
        <p:spPr>
          <a:xfrm>
            <a:off x="766764" y="1773238"/>
            <a:ext cx="10658474" cy="4176712"/>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2063552" y="6381329"/>
            <a:ext cx="1224137" cy="216023"/>
          </a:xfrm>
          <a:prstGeom prst="rect">
            <a:avLst/>
          </a:prstGeom>
        </p:spPr>
        <p:txBody>
          <a:bodyPr vert="horz" lIns="0" tIns="0" rIns="0" bIns="0" rtlCol="0" anchor="ctr" anchorCtr="0">
            <a:noAutofit/>
          </a:bodyPr>
          <a:lstStyle>
            <a:lvl1pPr algn="l">
              <a:defRPr sz="900">
                <a:solidFill>
                  <a:schemeClr val="tx1"/>
                </a:solidFill>
              </a:defRPr>
            </a:lvl1pPr>
          </a:lstStyle>
          <a:p>
            <a:fld id="{002301ED-CCE8-4712-A99B-3BF506BD8353}" type="datetime1">
              <a:rPr lang="en-GB" smtClean="0"/>
              <a:t>22/10/2025</a:t>
            </a:fld>
            <a:endParaRPr lang="fi-FI"/>
          </a:p>
        </p:txBody>
      </p:sp>
      <p:sp>
        <p:nvSpPr>
          <p:cNvPr id="5" name="Footer Placeholder 4"/>
          <p:cNvSpPr>
            <a:spLocks noGrp="1"/>
          </p:cNvSpPr>
          <p:nvPr>
            <p:ph type="ftr" sz="quarter" idx="3"/>
          </p:nvPr>
        </p:nvSpPr>
        <p:spPr>
          <a:xfrm>
            <a:off x="3287688" y="6381328"/>
            <a:ext cx="8137550" cy="216024"/>
          </a:xfrm>
          <a:prstGeom prst="rect">
            <a:avLst/>
          </a:prstGeom>
        </p:spPr>
        <p:txBody>
          <a:bodyPr vert="horz" lIns="0" tIns="0" rIns="0" bIns="0" rtlCol="0" anchor="ctr" anchorCtr="0">
            <a:noAutofit/>
          </a:bodyPr>
          <a:lstStyle>
            <a:lvl1pPr algn="l">
              <a:defRPr sz="900">
                <a:solidFill>
                  <a:schemeClr val="tx1"/>
                </a:solidFill>
              </a:defRPr>
            </a:lvl1pPr>
          </a:lstStyle>
          <a:p>
            <a:endParaRPr lang="fi-FI"/>
          </a:p>
        </p:txBody>
      </p:sp>
      <p:sp>
        <p:nvSpPr>
          <p:cNvPr id="6" name="Slide Number Placeholder 5"/>
          <p:cNvSpPr>
            <a:spLocks noGrp="1"/>
          </p:cNvSpPr>
          <p:nvPr>
            <p:ph type="sldNum" sz="quarter" idx="4"/>
          </p:nvPr>
        </p:nvSpPr>
        <p:spPr>
          <a:xfrm>
            <a:off x="11425239" y="6381329"/>
            <a:ext cx="431800" cy="216023"/>
          </a:xfrm>
          <a:prstGeom prst="rect">
            <a:avLst/>
          </a:prstGeom>
        </p:spPr>
        <p:txBody>
          <a:bodyPr vert="horz" lIns="0" tIns="0" rIns="0" bIns="0" rtlCol="0" anchor="ctr" anchorCtr="0">
            <a:noAutofit/>
          </a:bodyPr>
          <a:lstStyle>
            <a:lvl1pPr algn="r">
              <a:defRPr sz="900">
                <a:solidFill>
                  <a:schemeClr val="tx1"/>
                </a:solidFill>
              </a:defRPr>
            </a:lvl1pPr>
          </a:lstStyle>
          <a:p>
            <a:fld id="{49A25110-65A2-4B67-BF3F-8D6D3162EF46}" type="slidenum">
              <a:rPr lang="fi-FI" smtClean="0"/>
              <a:pPr/>
              <a:t>‹#›</a:t>
            </a:fld>
            <a:endParaRPr lang="fi-FI"/>
          </a:p>
        </p:txBody>
      </p:sp>
      <p:grpSp>
        <p:nvGrpSpPr>
          <p:cNvPr id="15" name="Group 14"/>
          <p:cNvGrpSpPr>
            <a:grpSpLocks noChangeAspect="1"/>
          </p:cNvGrpSpPr>
          <p:nvPr userDrawn="1"/>
        </p:nvGrpSpPr>
        <p:grpSpPr>
          <a:xfrm>
            <a:off x="335360" y="6093296"/>
            <a:ext cx="1243838" cy="432000"/>
            <a:chOff x="3279775" y="2451101"/>
            <a:chExt cx="5640388" cy="1958974"/>
          </a:xfrm>
        </p:grpSpPr>
        <p:sp>
          <p:nvSpPr>
            <p:cNvPr id="13" name="Freeform 6"/>
            <p:cNvSpPr>
              <a:spLocks/>
            </p:cNvSpPr>
            <p:nvPr userDrawn="1"/>
          </p:nvSpPr>
          <p:spPr bwMode="auto">
            <a:xfrm>
              <a:off x="3279775" y="2451101"/>
              <a:ext cx="1838325" cy="1944687"/>
            </a:xfrm>
            <a:custGeom>
              <a:avLst/>
              <a:gdLst>
                <a:gd name="T0" fmla="*/ 978 w 1158"/>
                <a:gd name="T1" fmla="*/ 608 h 1225"/>
                <a:gd name="T2" fmla="*/ 974 w 1158"/>
                <a:gd name="T3" fmla="*/ 610 h 1225"/>
                <a:gd name="T4" fmla="*/ 968 w 1158"/>
                <a:gd name="T5" fmla="*/ 608 h 1225"/>
                <a:gd name="T6" fmla="*/ 966 w 1158"/>
                <a:gd name="T7" fmla="*/ 134 h 1225"/>
                <a:gd name="T8" fmla="*/ 963 w 1158"/>
                <a:gd name="T9" fmla="*/ 128 h 1225"/>
                <a:gd name="T10" fmla="*/ 956 w 1158"/>
                <a:gd name="T11" fmla="*/ 128 h 1225"/>
                <a:gd name="T12" fmla="*/ 953 w 1158"/>
                <a:gd name="T13" fmla="*/ 132 h 1225"/>
                <a:gd name="T14" fmla="*/ 784 w 1158"/>
                <a:gd name="T15" fmla="*/ 603 h 1225"/>
                <a:gd name="T16" fmla="*/ 779 w 1158"/>
                <a:gd name="T17" fmla="*/ 607 h 1225"/>
                <a:gd name="T18" fmla="*/ 773 w 1158"/>
                <a:gd name="T19" fmla="*/ 605 h 1225"/>
                <a:gd name="T20" fmla="*/ 771 w 1158"/>
                <a:gd name="T21" fmla="*/ 466 h 1225"/>
                <a:gd name="T22" fmla="*/ 769 w 1158"/>
                <a:gd name="T23" fmla="*/ 461 h 1225"/>
                <a:gd name="T24" fmla="*/ 764 w 1158"/>
                <a:gd name="T25" fmla="*/ 459 h 1225"/>
                <a:gd name="T26" fmla="*/ 584 w 1158"/>
                <a:gd name="T27" fmla="*/ 614 h 1225"/>
                <a:gd name="T28" fmla="*/ 579 w 1158"/>
                <a:gd name="T29" fmla="*/ 616 h 1225"/>
                <a:gd name="T30" fmla="*/ 396 w 1158"/>
                <a:gd name="T31" fmla="*/ 461 h 1225"/>
                <a:gd name="T32" fmla="*/ 390 w 1158"/>
                <a:gd name="T33" fmla="*/ 460 h 1225"/>
                <a:gd name="T34" fmla="*/ 386 w 1158"/>
                <a:gd name="T35" fmla="*/ 464 h 1225"/>
                <a:gd name="T36" fmla="*/ 386 w 1158"/>
                <a:gd name="T37" fmla="*/ 603 h 1225"/>
                <a:gd name="T38" fmla="*/ 381 w 1158"/>
                <a:gd name="T39" fmla="*/ 607 h 1225"/>
                <a:gd name="T40" fmla="*/ 375 w 1158"/>
                <a:gd name="T41" fmla="*/ 605 h 1225"/>
                <a:gd name="T42" fmla="*/ 292 w 1158"/>
                <a:gd name="T43" fmla="*/ 378 h 1225"/>
                <a:gd name="T44" fmla="*/ 203 w 1158"/>
                <a:gd name="T45" fmla="*/ 130 h 1225"/>
                <a:gd name="T46" fmla="*/ 197 w 1158"/>
                <a:gd name="T47" fmla="*/ 128 h 1225"/>
                <a:gd name="T48" fmla="*/ 192 w 1158"/>
                <a:gd name="T49" fmla="*/ 132 h 1225"/>
                <a:gd name="T50" fmla="*/ 191 w 1158"/>
                <a:gd name="T51" fmla="*/ 606 h 1225"/>
                <a:gd name="T52" fmla="*/ 186 w 1158"/>
                <a:gd name="T53" fmla="*/ 610 h 1225"/>
                <a:gd name="T54" fmla="*/ 181 w 1158"/>
                <a:gd name="T55" fmla="*/ 609 h 1225"/>
                <a:gd name="T56" fmla="*/ 13 w 1158"/>
                <a:gd name="T57" fmla="*/ 5 h 1225"/>
                <a:gd name="T58" fmla="*/ 10 w 1158"/>
                <a:gd name="T59" fmla="*/ 1 h 1225"/>
                <a:gd name="T60" fmla="*/ 4 w 1158"/>
                <a:gd name="T61" fmla="*/ 1 h 1225"/>
                <a:gd name="T62" fmla="*/ 0 w 1158"/>
                <a:gd name="T63" fmla="*/ 7 h 1225"/>
                <a:gd name="T64" fmla="*/ 1 w 1158"/>
                <a:gd name="T65" fmla="*/ 552 h 1225"/>
                <a:gd name="T66" fmla="*/ 147 w 1158"/>
                <a:gd name="T67" fmla="*/ 644 h 1225"/>
                <a:gd name="T68" fmla="*/ 389 w 1158"/>
                <a:gd name="T69" fmla="*/ 646 h 1225"/>
                <a:gd name="T70" fmla="*/ 397 w 1158"/>
                <a:gd name="T71" fmla="*/ 649 h 1225"/>
                <a:gd name="T72" fmla="*/ 500 w 1158"/>
                <a:gd name="T73" fmla="*/ 909 h 1225"/>
                <a:gd name="T74" fmla="*/ 501 w 1158"/>
                <a:gd name="T75" fmla="*/ 917 h 1225"/>
                <a:gd name="T76" fmla="*/ 447 w 1158"/>
                <a:gd name="T77" fmla="*/ 1030 h 1225"/>
                <a:gd name="T78" fmla="*/ 519 w 1158"/>
                <a:gd name="T79" fmla="*/ 1218 h 1225"/>
                <a:gd name="T80" fmla="*/ 526 w 1158"/>
                <a:gd name="T81" fmla="*/ 1224 h 1225"/>
                <a:gd name="T82" fmla="*/ 629 w 1158"/>
                <a:gd name="T83" fmla="*/ 1225 h 1225"/>
                <a:gd name="T84" fmla="*/ 637 w 1158"/>
                <a:gd name="T85" fmla="*/ 1221 h 1225"/>
                <a:gd name="T86" fmla="*/ 710 w 1158"/>
                <a:gd name="T87" fmla="*/ 1036 h 1225"/>
                <a:gd name="T88" fmla="*/ 710 w 1158"/>
                <a:gd name="T89" fmla="*/ 1030 h 1225"/>
                <a:gd name="T90" fmla="*/ 657 w 1158"/>
                <a:gd name="T91" fmla="*/ 917 h 1225"/>
                <a:gd name="T92" fmla="*/ 758 w 1158"/>
                <a:gd name="T93" fmla="*/ 652 h 1225"/>
                <a:gd name="T94" fmla="*/ 765 w 1158"/>
                <a:gd name="T95" fmla="*/ 646 h 1225"/>
                <a:gd name="T96" fmla="*/ 1009 w 1158"/>
                <a:gd name="T97" fmla="*/ 645 h 1225"/>
                <a:gd name="T98" fmla="*/ 1155 w 1158"/>
                <a:gd name="T99" fmla="*/ 554 h 1225"/>
                <a:gd name="T100" fmla="*/ 1158 w 1158"/>
                <a:gd name="T101" fmla="*/ 549 h 1225"/>
                <a:gd name="T102" fmla="*/ 1158 w 1158"/>
                <a:gd name="T103" fmla="*/ 4 h 1225"/>
                <a:gd name="T104" fmla="*/ 1152 w 1158"/>
                <a:gd name="T105" fmla="*/ 0 h 1225"/>
                <a:gd name="T106" fmla="*/ 1146 w 1158"/>
                <a:gd name="T107" fmla="*/ 3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8" h="1225">
                  <a:moveTo>
                    <a:pt x="1145" y="5"/>
                  </a:moveTo>
                  <a:lnTo>
                    <a:pt x="979" y="605"/>
                  </a:lnTo>
                  <a:lnTo>
                    <a:pt x="978" y="608"/>
                  </a:lnTo>
                  <a:lnTo>
                    <a:pt x="977" y="608"/>
                  </a:lnTo>
                  <a:lnTo>
                    <a:pt x="976" y="609"/>
                  </a:lnTo>
                  <a:lnTo>
                    <a:pt x="974" y="610"/>
                  </a:lnTo>
                  <a:lnTo>
                    <a:pt x="972" y="610"/>
                  </a:lnTo>
                  <a:lnTo>
                    <a:pt x="970" y="609"/>
                  </a:lnTo>
                  <a:lnTo>
                    <a:pt x="968" y="608"/>
                  </a:lnTo>
                  <a:lnTo>
                    <a:pt x="967" y="606"/>
                  </a:lnTo>
                  <a:lnTo>
                    <a:pt x="966" y="603"/>
                  </a:lnTo>
                  <a:lnTo>
                    <a:pt x="966" y="134"/>
                  </a:lnTo>
                  <a:lnTo>
                    <a:pt x="966" y="132"/>
                  </a:lnTo>
                  <a:lnTo>
                    <a:pt x="964" y="130"/>
                  </a:lnTo>
                  <a:lnTo>
                    <a:pt x="963" y="128"/>
                  </a:lnTo>
                  <a:lnTo>
                    <a:pt x="961" y="128"/>
                  </a:lnTo>
                  <a:lnTo>
                    <a:pt x="958" y="128"/>
                  </a:lnTo>
                  <a:lnTo>
                    <a:pt x="956" y="128"/>
                  </a:lnTo>
                  <a:lnTo>
                    <a:pt x="955" y="129"/>
                  </a:lnTo>
                  <a:lnTo>
                    <a:pt x="955" y="130"/>
                  </a:lnTo>
                  <a:lnTo>
                    <a:pt x="953" y="132"/>
                  </a:lnTo>
                  <a:lnTo>
                    <a:pt x="916" y="240"/>
                  </a:lnTo>
                  <a:lnTo>
                    <a:pt x="865" y="378"/>
                  </a:lnTo>
                  <a:lnTo>
                    <a:pt x="784" y="603"/>
                  </a:lnTo>
                  <a:lnTo>
                    <a:pt x="782" y="605"/>
                  </a:lnTo>
                  <a:lnTo>
                    <a:pt x="781" y="606"/>
                  </a:lnTo>
                  <a:lnTo>
                    <a:pt x="779" y="607"/>
                  </a:lnTo>
                  <a:lnTo>
                    <a:pt x="776" y="607"/>
                  </a:lnTo>
                  <a:lnTo>
                    <a:pt x="774" y="606"/>
                  </a:lnTo>
                  <a:lnTo>
                    <a:pt x="773" y="605"/>
                  </a:lnTo>
                  <a:lnTo>
                    <a:pt x="772" y="603"/>
                  </a:lnTo>
                  <a:lnTo>
                    <a:pt x="771" y="600"/>
                  </a:lnTo>
                  <a:lnTo>
                    <a:pt x="771" y="466"/>
                  </a:lnTo>
                  <a:lnTo>
                    <a:pt x="771" y="464"/>
                  </a:lnTo>
                  <a:lnTo>
                    <a:pt x="770" y="462"/>
                  </a:lnTo>
                  <a:lnTo>
                    <a:pt x="769" y="461"/>
                  </a:lnTo>
                  <a:lnTo>
                    <a:pt x="767" y="460"/>
                  </a:lnTo>
                  <a:lnTo>
                    <a:pt x="766" y="459"/>
                  </a:lnTo>
                  <a:lnTo>
                    <a:pt x="764" y="459"/>
                  </a:lnTo>
                  <a:lnTo>
                    <a:pt x="762" y="460"/>
                  </a:lnTo>
                  <a:lnTo>
                    <a:pt x="761" y="461"/>
                  </a:lnTo>
                  <a:lnTo>
                    <a:pt x="584" y="614"/>
                  </a:lnTo>
                  <a:lnTo>
                    <a:pt x="583" y="615"/>
                  </a:lnTo>
                  <a:lnTo>
                    <a:pt x="581" y="615"/>
                  </a:lnTo>
                  <a:lnTo>
                    <a:pt x="579" y="616"/>
                  </a:lnTo>
                  <a:lnTo>
                    <a:pt x="576" y="615"/>
                  </a:lnTo>
                  <a:lnTo>
                    <a:pt x="573" y="614"/>
                  </a:lnTo>
                  <a:lnTo>
                    <a:pt x="396" y="461"/>
                  </a:lnTo>
                  <a:lnTo>
                    <a:pt x="393" y="459"/>
                  </a:lnTo>
                  <a:lnTo>
                    <a:pt x="391" y="460"/>
                  </a:lnTo>
                  <a:lnTo>
                    <a:pt x="390" y="460"/>
                  </a:lnTo>
                  <a:lnTo>
                    <a:pt x="388" y="461"/>
                  </a:lnTo>
                  <a:lnTo>
                    <a:pt x="387" y="462"/>
                  </a:lnTo>
                  <a:lnTo>
                    <a:pt x="386" y="464"/>
                  </a:lnTo>
                  <a:lnTo>
                    <a:pt x="386" y="466"/>
                  </a:lnTo>
                  <a:lnTo>
                    <a:pt x="386" y="601"/>
                  </a:lnTo>
                  <a:lnTo>
                    <a:pt x="386" y="603"/>
                  </a:lnTo>
                  <a:lnTo>
                    <a:pt x="384" y="605"/>
                  </a:lnTo>
                  <a:lnTo>
                    <a:pt x="383" y="606"/>
                  </a:lnTo>
                  <a:lnTo>
                    <a:pt x="381" y="607"/>
                  </a:lnTo>
                  <a:lnTo>
                    <a:pt x="379" y="607"/>
                  </a:lnTo>
                  <a:lnTo>
                    <a:pt x="377" y="606"/>
                  </a:lnTo>
                  <a:lnTo>
                    <a:pt x="375" y="605"/>
                  </a:lnTo>
                  <a:lnTo>
                    <a:pt x="374" y="603"/>
                  </a:lnTo>
                  <a:lnTo>
                    <a:pt x="340" y="511"/>
                  </a:lnTo>
                  <a:lnTo>
                    <a:pt x="292" y="378"/>
                  </a:lnTo>
                  <a:lnTo>
                    <a:pt x="242" y="240"/>
                  </a:lnTo>
                  <a:lnTo>
                    <a:pt x="205" y="132"/>
                  </a:lnTo>
                  <a:lnTo>
                    <a:pt x="203" y="130"/>
                  </a:lnTo>
                  <a:lnTo>
                    <a:pt x="202" y="128"/>
                  </a:lnTo>
                  <a:lnTo>
                    <a:pt x="200" y="128"/>
                  </a:lnTo>
                  <a:lnTo>
                    <a:pt x="197" y="128"/>
                  </a:lnTo>
                  <a:lnTo>
                    <a:pt x="195" y="128"/>
                  </a:lnTo>
                  <a:lnTo>
                    <a:pt x="194" y="130"/>
                  </a:lnTo>
                  <a:lnTo>
                    <a:pt x="192" y="132"/>
                  </a:lnTo>
                  <a:lnTo>
                    <a:pt x="192" y="134"/>
                  </a:lnTo>
                  <a:lnTo>
                    <a:pt x="192" y="604"/>
                  </a:lnTo>
                  <a:lnTo>
                    <a:pt x="191" y="606"/>
                  </a:lnTo>
                  <a:lnTo>
                    <a:pt x="190" y="608"/>
                  </a:lnTo>
                  <a:lnTo>
                    <a:pt x="188" y="609"/>
                  </a:lnTo>
                  <a:lnTo>
                    <a:pt x="186" y="610"/>
                  </a:lnTo>
                  <a:lnTo>
                    <a:pt x="184" y="610"/>
                  </a:lnTo>
                  <a:lnTo>
                    <a:pt x="182" y="609"/>
                  </a:lnTo>
                  <a:lnTo>
                    <a:pt x="181" y="609"/>
                  </a:lnTo>
                  <a:lnTo>
                    <a:pt x="180" y="608"/>
                  </a:lnTo>
                  <a:lnTo>
                    <a:pt x="179" y="605"/>
                  </a:lnTo>
                  <a:lnTo>
                    <a:pt x="13" y="5"/>
                  </a:lnTo>
                  <a:lnTo>
                    <a:pt x="12" y="3"/>
                  </a:lnTo>
                  <a:lnTo>
                    <a:pt x="11" y="2"/>
                  </a:lnTo>
                  <a:lnTo>
                    <a:pt x="10" y="1"/>
                  </a:lnTo>
                  <a:lnTo>
                    <a:pt x="8" y="1"/>
                  </a:lnTo>
                  <a:lnTo>
                    <a:pt x="6" y="0"/>
                  </a:lnTo>
                  <a:lnTo>
                    <a:pt x="4" y="1"/>
                  </a:lnTo>
                  <a:lnTo>
                    <a:pt x="2" y="3"/>
                  </a:lnTo>
                  <a:lnTo>
                    <a:pt x="1" y="4"/>
                  </a:lnTo>
                  <a:lnTo>
                    <a:pt x="0" y="7"/>
                  </a:lnTo>
                  <a:lnTo>
                    <a:pt x="0" y="546"/>
                  </a:lnTo>
                  <a:lnTo>
                    <a:pt x="0" y="549"/>
                  </a:lnTo>
                  <a:lnTo>
                    <a:pt x="1" y="552"/>
                  </a:lnTo>
                  <a:lnTo>
                    <a:pt x="3" y="554"/>
                  </a:lnTo>
                  <a:lnTo>
                    <a:pt x="5" y="555"/>
                  </a:lnTo>
                  <a:lnTo>
                    <a:pt x="147" y="644"/>
                  </a:lnTo>
                  <a:lnTo>
                    <a:pt x="150" y="645"/>
                  </a:lnTo>
                  <a:lnTo>
                    <a:pt x="153" y="646"/>
                  </a:lnTo>
                  <a:lnTo>
                    <a:pt x="389" y="646"/>
                  </a:lnTo>
                  <a:lnTo>
                    <a:pt x="392" y="646"/>
                  </a:lnTo>
                  <a:lnTo>
                    <a:pt x="395" y="647"/>
                  </a:lnTo>
                  <a:lnTo>
                    <a:pt x="397" y="649"/>
                  </a:lnTo>
                  <a:lnTo>
                    <a:pt x="398" y="651"/>
                  </a:lnTo>
                  <a:lnTo>
                    <a:pt x="399" y="652"/>
                  </a:lnTo>
                  <a:lnTo>
                    <a:pt x="500" y="909"/>
                  </a:lnTo>
                  <a:lnTo>
                    <a:pt x="501" y="912"/>
                  </a:lnTo>
                  <a:lnTo>
                    <a:pt x="501" y="914"/>
                  </a:lnTo>
                  <a:lnTo>
                    <a:pt x="501" y="917"/>
                  </a:lnTo>
                  <a:lnTo>
                    <a:pt x="500" y="920"/>
                  </a:lnTo>
                  <a:lnTo>
                    <a:pt x="448" y="1028"/>
                  </a:lnTo>
                  <a:lnTo>
                    <a:pt x="447" y="1030"/>
                  </a:lnTo>
                  <a:lnTo>
                    <a:pt x="447" y="1032"/>
                  </a:lnTo>
                  <a:lnTo>
                    <a:pt x="447" y="1036"/>
                  </a:lnTo>
                  <a:lnTo>
                    <a:pt x="519" y="1218"/>
                  </a:lnTo>
                  <a:lnTo>
                    <a:pt x="520" y="1221"/>
                  </a:lnTo>
                  <a:lnTo>
                    <a:pt x="523" y="1223"/>
                  </a:lnTo>
                  <a:lnTo>
                    <a:pt x="526" y="1224"/>
                  </a:lnTo>
                  <a:lnTo>
                    <a:pt x="529" y="1225"/>
                  </a:lnTo>
                  <a:lnTo>
                    <a:pt x="579" y="1225"/>
                  </a:lnTo>
                  <a:lnTo>
                    <a:pt x="629" y="1225"/>
                  </a:lnTo>
                  <a:lnTo>
                    <a:pt x="632" y="1224"/>
                  </a:lnTo>
                  <a:lnTo>
                    <a:pt x="635" y="1223"/>
                  </a:lnTo>
                  <a:lnTo>
                    <a:pt x="637" y="1221"/>
                  </a:lnTo>
                  <a:lnTo>
                    <a:pt x="638" y="1219"/>
                  </a:lnTo>
                  <a:lnTo>
                    <a:pt x="638" y="1218"/>
                  </a:lnTo>
                  <a:lnTo>
                    <a:pt x="710" y="1036"/>
                  </a:lnTo>
                  <a:lnTo>
                    <a:pt x="711" y="1034"/>
                  </a:lnTo>
                  <a:lnTo>
                    <a:pt x="711" y="1032"/>
                  </a:lnTo>
                  <a:lnTo>
                    <a:pt x="710" y="1030"/>
                  </a:lnTo>
                  <a:lnTo>
                    <a:pt x="710" y="1028"/>
                  </a:lnTo>
                  <a:lnTo>
                    <a:pt x="657" y="920"/>
                  </a:lnTo>
                  <a:lnTo>
                    <a:pt x="657" y="917"/>
                  </a:lnTo>
                  <a:lnTo>
                    <a:pt x="656" y="914"/>
                  </a:lnTo>
                  <a:lnTo>
                    <a:pt x="657" y="909"/>
                  </a:lnTo>
                  <a:lnTo>
                    <a:pt x="758" y="652"/>
                  </a:lnTo>
                  <a:lnTo>
                    <a:pt x="760" y="650"/>
                  </a:lnTo>
                  <a:lnTo>
                    <a:pt x="762" y="647"/>
                  </a:lnTo>
                  <a:lnTo>
                    <a:pt x="765" y="646"/>
                  </a:lnTo>
                  <a:lnTo>
                    <a:pt x="768" y="646"/>
                  </a:lnTo>
                  <a:lnTo>
                    <a:pt x="1006" y="646"/>
                  </a:lnTo>
                  <a:lnTo>
                    <a:pt x="1009" y="645"/>
                  </a:lnTo>
                  <a:lnTo>
                    <a:pt x="1011" y="644"/>
                  </a:lnTo>
                  <a:lnTo>
                    <a:pt x="1153" y="555"/>
                  </a:lnTo>
                  <a:lnTo>
                    <a:pt x="1155" y="554"/>
                  </a:lnTo>
                  <a:lnTo>
                    <a:pt x="1156" y="553"/>
                  </a:lnTo>
                  <a:lnTo>
                    <a:pt x="1157" y="552"/>
                  </a:lnTo>
                  <a:lnTo>
                    <a:pt x="1158" y="549"/>
                  </a:lnTo>
                  <a:lnTo>
                    <a:pt x="1158" y="546"/>
                  </a:lnTo>
                  <a:lnTo>
                    <a:pt x="1158" y="7"/>
                  </a:lnTo>
                  <a:lnTo>
                    <a:pt x="1158" y="4"/>
                  </a:lnTo>
                  <a:lnTo>
                    <a:pt x="1156" y="3"/>
                  </a:lnTo>
                  <a:lnTo>
                    <a:pt x="1154" y="1"/>
                  </a:lnTo>
                  <a:lnTo>
                    <a:pt x="1152" y="0"/>
                  </a:lnTo>
                  <a:lnTo>
                    <a:pt x="1150" y="1"/>
                  </a:lnTo>
                  <a:lnTo>
                    <a:pt x="1148" y="1"/>
                  </a:lnTo>
                  <a:lnTo>
                    <a:pt x="1146" y="3"/>
                  </a:lnTo>
                  <a:lnTo>
                    <a:pt x="1145" y="4"/>
                  </a:lnTo>
                  <a:lnTo>
                    <a:pt x="1145" y="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4" name="Freeform 7"/>
            <p:cNvSpPr>
              <a:spLocks noEditPoints="1"/>
            </p:cNvSpPr>
            <p:nvPr userDrawn="1"/>
          </p:nvSpPr>
          <p:spPr bwMode="auto">
            <a:xfrm>
              <a:off x="5386388" y="3476625"/>
              <a:ext cx="3533775" cy="933450"/>
            </a:xfrm>
            <a:custGeom>
              <a:avLst/>
              <a:gdLst>
                <a:gd name="T0" fmla="*/ 1976 w 2226"/>
                <a:gd name="T1" fmla="*/ 407 h 588"/>
                <a:gd name="T2" fmla="*/ 1967 w 2226"/>
                <a:gd name="T3" fmla="*/ 463 h 588"/>
                <a:gd name="T4" fmla="*/ 2059 w 2226"/>
                <a:gd name="T5" fmla="*/ 452 h 588"/>
                <a:gd name="T6" fmla="*/ 2077 w 2226"/>
                <a:gd name="T7" fmla="*/ 579 h 588"/>
                <a:gd name="T8" fmla="*/ 2048 w 2226"/>
                <a:gd name="T9" fmla="*/ 537 h 588"/>
                <a:gd name="T10" fmla="*/ 1914 w 2226"/>
                <a:gd name="T11" fmla="*/ 585 h 588"/>
                <a:gd name="T12" fmla="*/ 1811 w 2226"/>
                <a:gd name="T13" fmla="*/ 508 h 588"/>
                <a:gd name="T14" fmla="*/ 1836 w 2226"/>
                <a:gd name="T15" fmla="*/ 383 h 588"/>
                <a:gd name="T16" fmla="*/ 2013 w 2226"/>
                <a:gd name="T17" fmla="*/ 311 h 588"/>
                <a:gd name="T18" fmla="*/ 2045 w 2226"/>
                <a:gd name="T19" fmla="*/ 271 h 588"/>
                <a:gd name="T20" fmla="*/ 1907 w 2226"/>
                <a:gd name="T21" fmla="*/ 300 h 588"/>
                <a:gd name="T22" fmla="*/ 1866 w 2226"/>
                <a:gd name="T23" fmla="*/ 195 h 588"/>
                <a:gd name="T24" fmla="*/ 2086 w 2226"/>
                <a:gd name="T25" fmla="*/ 154 h 588"/>
                <a:gd name="T26" fmla="*/ 2190 w 2226"/>
                <a:gd name="T27" fmla="*/ 214 h 588"/>
                <a:gd name="T28" fmla="*/ 2217 w 2226"/>
                <a:gd name="T29" fmla="*/ 512 h 588"/>
                <a:gd name="T30" fmla="*/ 1994 w 2226"/>
                <a:gd name="T31" fmla="*/ 3 h 588"/>
                <a:gd name="T32" fmla="*/ 1869 w 2226"/>
                <a:gd name="T33" fmla="*/ 7 h 588"/>
                <a:gd name="T34" fmla="*/ 2172 w 2226"/>
                <a:gd name="T35" fmla="*/ 123 h 588"/>
                <a:gd name="T36" fmla="*/ 1190 w 2226"/>
                <a:gd name="T37" fmla="*/ 576 h 588"/>
                <a:gd name="T38" fmla="*/ 1121 w 2226"/>
                <a:gd name="T39" fmla="*/ 502 h 588"/>
                <a:gd name="T40" fmla="*/ 1059 w 2226"/>
                <a:gd name="T41" fmla="*/ 264 h 588"/>
                <a:gd name="T42" fmla="*/ 1170 w 2226"/>
                <a:gd name="T43" fmla="*/ 25 h 588"/>
                <a:gd name="T44" fmla="*/ 1274 w 2226"/>
                <a:gd name="T45" fmla="*/ 156 h 588"/>
                <a:gd name="T46" fmla="*/ 1374 w 2226"/>
                <a:gd name="T47" fmla="*/ 271 h 588"/>
                <a:gd name="T48" fmla="*/ 1291 w 2226"/>
                <a:gd name="T49" fmla="*/ 469 h 588"/>
                <a:gd name="T50" fmla="*/ 1370 w 2226"/>
                <a:gd name="T51" fmla="*/ 564 h 588"/>
                <a:gd name="T52" fmla="*/ 1 w 2226"/>
                <a:gd name="T53" fmla="*/ 3 h 588"/>
                <a:gd name="T54" fmla="*/ 312 w 2226"/>
                <a:gd name="T55" fmla="*/ 389 h 588"/>
                <a:gd name="T56" fmla="*/ 615 w 2226"/>
                <a:gd name="T57" fmla="*/ 572 h 588"/>
                <a:gd name="T58" fmla="*/ 463 w 2226"/>
                <a:gd name="T59" fmla="*/ 222 h 588"/>
                <a:gd name="T60" fmla="*/ 365 w 2226"/>
                <a:gd name="T61" fmla="*/ 579 h 588"/>
                <a:gd name="T62" fmla="*/ 146 w 2226"/>
                <a:gd name="T63" fmla="*/ 223 h 588"/>
                <a:gd name="T64" fmla="*/ 1 w 2226"/>
                <a:gd name="T65" fmla="*/ 576 h 588"/>
                <a:gd name="T66" fmla="*/ 795 w 2226"/>
                <a:gd name="T67" fmla="*/ 421 h 588"/>
                <a:gd name="T68" fmla="*/ 861 w 2226"/>
                <a:gd name="T69" fmla="*/ 482 h 588"/>
                <a:gd name="T70" fmla="*/ 999 w 2226"/>
                <a:gd name="T71" fmla="*/ 448 h 588"/>
                <a:gd name="T72" fmla="*/ 974 w 2226"/>
                <a:gd name="T73" fmla="*/ 574 h 588"/>
                <a:gd name="T74" fmla="*/ 772 w 2226"/>
                <a:gd name="T75" fmla="*/ 575 h 588"/>
                <a:gd name="T76" fmla="*/ 659 w 2226"/>
                <a:gd name="T77" fmla="*/ 476 h 588"/>
                <a:gd name="T78" fmla="*/ 649 w 2226"/>
                <a:gd name="T79" fmla="*/ 300 h 588"/>
                <a:gd name="T80" fmla="*/ 753 w 2226"/>
                <a:gd name="T81" fmla="*/ 177 h 588"/>
                <a:gd name="T82" fmla="*/ 901 w 2226"/>
                <a:gd name="T83" fmla="*/ 155 h 588"/>
                <a:gd name="T84" fmla="*/ 1027 w 2226"/>
                <a:gd name="T85" fmla="*/ 233 h 588"/>
                <a:gd name="T86" fmla="*/ 921 w 2226"/>
                <a:gd name="T87" fmla="*/ 325 h 588"/>
                <a:gd name="T88" fmla="*/ 895 w 2226"/>
                <a:gd name="T89" fmla="*/ 267 h 588"/>
                <a:gd name="T90" fmla="*/ 818 w 2226"/>
                <a:gd name="T91" fmla="*/ 277 h 588"/>
                <a:gd name="T92" fmla="*/ 1595 w 2226"/>
                <a:gd name="T93" fmla="*/ 588 h 588"/>
                <a:gd name="T94" fmla="*/ 1393 w 2226"/>
                <a:gd name="T95" fmla="*/ 532 h 588"/>
                <a:gd name="T96" fmla="*/ 1483 w 2226"/>
                <a:gd name="T97" fmla="*/ 465 h 588"/>
                <a:gd name="T98" fmla="*/ 1638 w 2226"/>
                <a:gd name="T99" fmla="*/ 480 h 588"/>
                <a:gd name="T100" fmla="*/ 1609 w 2226"/>
                <a:gd name="T101" fmla="*/ 434 h 588"/>
                <a:gd name="T102" fmla="*/ 1433 w 2226"/>
                <a:gd name="T103" fmla="*/ 371 h 588"/>
                <a:gd name="T104" fmla="*/ 1410 w 2226"/>
                <a:gd name="T105" fmla="*/ 261 h 588"/>
                <a:gd name="T106" fmla="*/ 1497 w 2226"/>
                <a:gd name="T107" fmla="*/ 166 h 588"/>
                <a:gd name="T108" fmla="*/ 1713 w 2226"/>
                <a:gd name="T109" fmla="*/ 174 h 588"/>
                <a:gd name="T110" fmla="*/ 1716 w 2226"/>
                <a:gd name="T111" fmla="*/ 292 h 588"/>
                <a:gd name="T112" fmla="*/ 1568 w 2226"/>
                <a:gd name="T113" fmla="*/ 256 h 588"/>
                <a:gd name="T114" fmla="*/ 1563 w 2226"/>
                <a:gd name="T115" fmla="*/ 299 h 588"/>
                <a:gd name="T116" fmla="*/ 1752 w 2226"/>
                <a:gd name="T117" fmla="*/ 356 h 588"/>
                <a:gd name="T118" fmla="*/ 1787 w 2226"/>
                <a:gd name="T119" fmla="*/ 458 h 588"/>
                <a:gd name="T120" fmla="*/ 1721 w 2226"/>
                <a:gd name="T121" fmla="*/ 55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26" h="588">
                  <a:moveTo>
                    <a:pt x="2065" y="439"/>
                  </a:moveTo>
                  <a:lnTo>
                    <a:pt x="2065" y="391"/>
                  </a:lnTo>
                  <a:lnTo>
                    <a:pt x="2064" y="389"/>
                  </a:lnTo>
                  <a:lnTo>
                    <a:pt x="2063" y="388"/>
                  </a:lnTo>
                  <a:lnTo>
                    <a:pt x="2061" y="387"/>
                  </a:lnTo>
                  <a:lnTo>
                    <a:pt x="2060" y="387"/>
                  </a:lnTo>
                  <a:lnTo>
                    <a:pt x="2047" y="388"/>
                  </a:lnTo>
                  <a:lnTo>
                    <a:pt x="2035" y="389"/>
                  </a:lnTo>
                  <a:lnTo>
                    <a:pt x="2024" y="390"/>
                  </a:lnTo>
                  <a:lnTo>
                    <a:pt x="2014" y="392"/>
                  </a:lnTo>
                  <a:lnTo>
                    <a:pt x="2004" y="395"/>
                  </a:lnTo>
                  <a:lnTo>
                    <a:pt x="1996" y="397"/>
                  </a:lnTo>
                  <a:lnTo>
                    <a:pt x="1988" y="400"/>
                  </a:lnTo>
                  <a:lnTo>
                    <a:pt x="1981" y="403"/>
                  </a:lnTo>
                  <a:lnTo>
                    <a:pt x="1976" y="407"/>
                  </a:lnTo>
                  <a:lnTo>
                    <a:pt x="1971" y="411"/>
                  </a:lnTo>
                  <a:lnTo>
                    <a:pt x="1966" y="415"/>
                  </a:lnTo>
                  <a:lnTo>
                    <a:pt x="1963" y="420"/>
                  </a:lnTo>
                  <a:lnTo>
                    <a:pt x="1960" y="425"/>
                  </a:lnTo>
                  <a:lnTo>
                    <a:pt x="1958" y="430"/>
                  </a:lnTo>
                  <a:lnTo>
                    <a:pt x="1957" y="435"/>
                  </a:lnTo>
                  <a:lnTo>
                    <a:pt x="1957" y="441"/>
                  </a:lnTo>
                  <a:lnTo>
                    <a:pt x="1957" y="445"/>
                  </a:lnTo>
                  <a:lnTo>
                    <a:pt x="1958" y="448"/>
                  </a:lnTo>
                  <a:lnTo>
                    <a:pt x="1958" y="451"/>
                  </a:lnTo>
                  <a:lnTo>
                    <a:pt x="1959" y="454"/>
                  </a:lnTo>
                  <a:lnTo>
                    <a:pt x="1961" y="457"/>
                  </a:lnTo>
                  <a:lnTo>
                    <a:pt x="1963" y="459"/>
                  </a:lnTo>
                  <a:lnTo>
                    <a:pt x="1965" y="461"/>
                  </a:lnTo>
                  <a:lnTo>
                    <a:pt x="1967" y="463"/>
                  </a:lnTo>
                  <a:lnTo>
                    <a:pt x="1972" y="467"/>
                  </a:lnTo>
                  <a:lnTo>
                    <a:pt x="1975" y="468"/>
                  </a:lnTo>
                  <a:lnTo>
                    <a:pt x="1978" y="469"/>
                  </a:lnTo>
                  <a:lnTo>
                    <a:pt x="1984" y="470"/>
                  </a:lnTo>
                  <a:lnTo>
                    <a:pt x="1991" y="471"/>
                  </a:lnTo>
                  <a:lnTo>
                    <a:pt x="2005" y="470"/>
                  </a:lnTo>
                  <a:lnTo>
                    <a:pt x="2011" y="470"/>
                  </a:lnTo>
                  <a:lnTo>
                    <a:pt x="2017" y="469"/>
                  </a:lnTo>
                  <a:lnTo>
                    <a:pt x="2023" y="468"/>
                  </a:lnTo>
                  <a:lnTo>
                    <a:pt x="2028" y="467"/>
                  </a:lnTo>
                  <a:lnTo>
                    <a:pt x="2037" y="464"/>
                  </a:lnTo>
                  <a:lnTo>
                    <a:pt x="2045" y="461"/>
                  </a:lnTo>
                  <a:lnTo>
                    <a:pt x="2051" y="458"/>
                  </a:lnTo>
                  <a:lnTo>
                    <a:pt x="2056" y="454"/>
                  </a:lnTo>
                  <a:lnTo>
                    <a:pt x="2059" y="452"/>
                  </a:lnTo>
                  <a:lnTo>
                    <a:pt x="2061" y="450"/>
                  </a:lnTo>
                  <a:lnTo>
                    <a:pt x="2063" y="447"/>
                  </a:lnTo>
                  <a:lnTo>
                    <a:pt x="2064" y="443"/>
                  </a:lnTo>
                  <a:lnTo>
                    <a:pt x="2065" y="440"/>
                  </a:lnTo>
                  <a:lnTo>
                    <a:pt x="2065" y="439"/>
                  </a:lnTo>
                  <a:close/>
                  <a:moveTo>
                    <a:pt x="2225" y="572"/>
                  </a:moveTo>
                  <a:lnTo>
                    <a:pt x="2226" y="575"/>
                  </a:lnTo>
                  <a:lnTo>
                    <a:pt x="2225" y="577"/>
                  </a:lnTo>
                  <a:lnTo>
                    <a:pt x="2225" y="578"/>
                  </a:lnTo>
                  <a:lnTo>
                    <a:pt x="2224" y="579"/>
                  </a:lnTo>
                  <a:lnTo>
                    <a:pt x="2221" y="579"/>
                  </a:lnTo>
                  <a:lnTo>
                    <a:pt x="2220" y="579"/>
                  </a:lnTo>
                  <a:lnTo>
                    <a:pt x="2081" y="579"/>
                  </a:lnTo>
                  <a:lnTo>
                    <a:pt x="2079" y="579"/>
                  </a:lnTo>
                  <a:lnTo>
                    <a:pt x="2077" y="579"/>
                  </a:lnTo>
                  <a:lnTo>
                    <a:pt x="2074" y="577"/>
                  </a:lnTo>
                  <a:lnTo>
                    <a:pt x="2073" y="574"/>
                  </a:lnTo>
                  <a:lnTo>
                    <a:pt x="2072" y="572"/>
                  </a:lnTo>
                  <a:lnTo>
                    <a:pt x="2069" y="560"/>
                  </a:lnTo>
                  <a:lnTo>
                    <a:pt x="2067" y="548"/>
                  </a:lnTo>
                  <a:lnTo>
                    <a:pt x="2065" y="537"/>
                  </a:lnTo>
                  <a:lnTo>
                    <a:pt x="2065" y="526"/>
                  </a:lnTo>
                  <a:lnTo>
                    <a:pt x="2064" y="524"/>
                  </a:lnTo>
                  <a:lnTo>
                    <a:pt x="2064" y="522"/>
                  </a:lnTo>
                  <a:lnTo>
                    <a:pt x="2063" y="522"/>
                  </a:lnTo>
                  <a:lnTo>
                    <a:pt x="2062" y="522"/>
                  </a:lnTo>
                  <a:lnTo>
                    <a:pt x="2061" y="523"/>
                  </a:lnTo>
                  <a:lnTo>
                    <a:pt x="2060" y="524"/>
                  </a:lnTo>
                  <a:lnTo>
                    <a:pt x="2054" y="531"/>
                  </a:lnTo>
                  <a:lnTo>
                    <a:pt x="2048" y="537"/>
                  </a:lnTo>
                  <a:lnTo>
                    <a:pt x="2042" y="544"/>
                  </a:lnTo>
                  <a:lnTo>
                    <a:pt x="2035" y="549"/>
                  </a:lnTo>
                  <a:lnTo>
                    <a:pt x="2028" y="555"/>
                  </a:lnTo>
                  <a:lnTo>
                    <a:pt x="2021" y="560"/>
                  </a:lnTo>
                  <a:lnTo>
                    <a:pt x="2013" y="564"/>
                  </a:lnTo>
                  <a:lnTo>
                    <a:pt x="2005" y="569"/>
                  </a:lnTo>
                  <a:lnTo>
                    <a:pt x="1996" y="573"/>
                  </a:lnTo>
                  <a:lnTo>
                    <a:pt x="1987" y="576"/>
                  </a:lnTo>
                  <a:lnTo>
                    <a:pt x="1978" y="579"/>
                  </a:lnTo>
                  <a:lnTo>
                    <a:pt x="1968" y="581"/>
                  </a:lnTo>
                  <a:lnTo>
                    <a:pt x="1958" y="583"/>
                  </a:lnTo>
                  <a:lnTo>
                    <a:pt x="1948" y="584"/>
                  </a:lnTo>
                  <a:lnTo>
                    <a:pt x="1937" y="585"/>
                  </a:lnTo>
                  <a:lnTo>
                    <a:pt x="1925" y="586"/>
                  </a:lnTo>
                  <a:lnTo>
                    <a:pt x="1914" y="585"/>
                  </a:lnTo>
                  <a:lnTo>
                    <a:pt x="1903" y="584"/>
                  </a:lnTo>
                  <a:lnTo>
                    <a:pt x="1892" y="582"/>
                  </a:lnTo>
                  <a:lnTo>
                    <a:pt x="1881" y="579"/>
                  </a:lnTo>
                  <a:lnTo>
                    <a:pt x="1871" y="574"/>
                  </a:lnTo>
                  <a:lnTo>
                    <a:pt x="1861" y="570"/>
                  </a:lnTo>
                  <a:lnTo>
                    <a:pt x="1856" y="567"/>
                  </a:lnTo>
                  <a:lnTo>
                    <a:pt x="1851" y="564"/>
                  </a:lnTo>
                  <a:lnTo>
                    <a:pt x="1843" y="557"/>
                  </a:lnTo>
                  <a:lnTo>
                    <a:pt x="1835" y="549"/>
                  </a:lnTo>
                  <a:lnTo>
                    <a:pt x="1827" y="540"/>
                  </a:lnTo>
                  <a:lnTo>
                    <a:pt x="1824" y="536"/>
                  </a:lnTo>
                  <a:lnTo>
                    <a:pt x="1821" y="531"/>
                  </a:lnTo>
                  <a:lnTo>
                    <a:pt x="1816" y="520"/>
                  </a:lnTo>
                  <a:lnTo>
                    <a:pt x="1813" y="514"/>
                  </a:lnTo>
                  <a:lnTo>
                    <a:pt x="1811" y="508"/>
                  </a:lnTo>
                  <a:lnTo>
                    <a:pt x="1808" y="495"/>
                  </a:lnTo>
                  <a:lnTo>
                    <a:pt x="1806" y="481"/>
                  </a:lnTo>
                  <a:lnTo>
                    <a:pt x="1806" y="474"/>
                  </a:lnTo>
                  <a:lnTo>
                    <a:pt x="1805" y="466"/>
                  </a:lnTo>
                  <a:lnTo>
                    <a:pt x="1806" y="458"/>
                  </a:lnTo>
                  <a:lnTo>
                    <a:pt x="1806" y="449"/>
                  </a:lnTo>
                  <a:lnTo>
                    <a:pt x="1808" y="441"/>
                  </a:lnTo>
                  <a:lnTo>
                    <a:pt x="1809" y="433"/>
                  </a:lnTo>
                  <a:lnTo>
                    <a:pt x="1812" y="425"/>
                  </a:lnTo>
                  <a:lnTo>
                    <a:pt x="1814" y="418"/>
                  </a:lnTo>
                  <a:lnTo>
                    <a:pt x="1818" y="410"/>
                  </a:lnTo>
                  <a:lnTo>
                    <a:pt x="1822" y="403"/>
                  </a:lnTo>
                  <a:lnTo>
                    <a:pt x="1826" y="396"/>
                  </a:lnTo>
                  <a:lnTo>
                    <a:pt x="1831" y="390"/>
                  </a:lnTo>
                  <a:lnTo>
                    <a:pt x="1836" y="383"/>
                  </a:lnTo>
                  <a:lnTo>
                    <a:pt x="1842" y="377"/>
                  </a:lnTo>
                  <a:lnTo>
                    <a:pt x="1848" y="371"/>
                  </a:lnTo>
                  <a:lnTo>
                    <a:pt x="1855" y="365"/>
                  </a:lnTo>
                  <a:lnTo>
                    <a:pt x="1862" y="360"/>
                  </a:lnTo>
                  <a:lnTo>
                    <a:pt x="1869" y="355"/>
                  </a:lnTo>
                  <a:lnTo>
                    <a:pt x="1886" y="345"/>
                  </a:lnTo>
                  <a:lnTo>
                    <a:pt x="1895" y="341"/>
                  </a:lnTo>
                  <a:lnTo>
                    <a:pt x="1905" y="337"/>
                  </a:lnTo>
                  <a:lnTo>
                    <a:pt x="1915" y="333"/>
                  </a:lnTo>
                  <a:lnTo>
                    <a:pt x="1926" y="329"/>
                  </a:lnTo>
                  <a:lnTo>
                    <a:pt x="1948" y="323"/>
                  </a:lnTo>
                  <a:lnTo>
                    <a:pt x="1960" y="320"/>
                  </a:lnTo>
                  <a:lnTo>
                    <a:pt x="1973" y="317"/>
                  </a:lnTo>
                  <a:lnTo>
                    <a:pt x="1999" y="313"/>
                  </a:lnTo>
                  <a:lnTo>
                    <a:pt x="2013" y="311"/>
                  </a:lnTo>
                  <a:lnTo>
                    <a:pt x="2027" y="310"/>
                  </a:lnTo>
                  <a:lnTo>
                    <a:pt x="2057" y="308"/>
                  </a:lnTo>
                  <a:lnTo>
                    <a:pt x="2061" y="307"/>
                  </a:lnTo>
                  <a:lnTo>
                    <a:pt x="2064" y="306"/>
                  </a:lnTo>
                  <a:lnTo>
                    <a:pt x="2065" y="305"/>
                  </a:lnTo>
                  <a:lnTo>
                    <a:pt x="2065" y="302"/>
                  </a:lnTo>
                  <a:lnTo>
                    <a:pt x="2064" y="295"/>
                  </a:lnTo>
                  <a:lnTo>
                    <a:pt x="2063" y="291"/>
                  </a:lnTo>
                  <a:lnTo>
                    <a:pt x="2063" y="288"/>
                  </a:lnTo>
                  <a:lnTo>
                    <a:pt x="2061" y="285"/>
                  </a:lnTo>
                  <a:lnTo>
                    <a:pt x="2060" y="282"/>
                  </a:lnTo>
                  <a:lnTo>
                    <a:pt x="2055" y="277"/>
                  </a:lnTo>
                  <a:lnTo>
                    <a:pt x="2052" y="275"/>
                  </a:lnTo>
                  <a:lnTo>
                    <a:pt x="2049" y="273"/>
                  </a:lnTo>
                  <a:lnTo>
                    <a:pt x="2045" y="271"/>
                  </a:lnTo>
                  <a:lnTo>
                    <a:pt x="2041" y="269"/>
                  </a:lnTo>
                  <a:lnTo>
                    <a:pt x="2031" y="267"/>
                  </a:lnTo>
                  <a:lnTo>
                    <a:pt x="2025" y="267"/>
                  </a:lnTo>
                  <a:lnTo>
                    <a:pt x="2018" y="267"/>
                  </a:lnTo>
                  <a:lnTo>
                    <a:pt x="2009" y="267"/>
                  </a:lnTo>
                  <a:lnTo>
                    <a:pt x="2000" y="268"/>
                  </a:lnTo>
                  <a:lnTo>
                    <a:pt x="1992" y="269"/>
                  </a:lnTo>
                  <a:lnTo>
                    <a:pt x="1983" y="270"/>
                  </a:lnTo>
                  <a:lnTo>
                    <a:pt x="1974" y="272"/>
                  </a:lnTo>
                  <a:lnTo>
                    <a:pt x="1966" y="274"/>
                  </a:lnTo>
                  <a:lnTo>
                    <a:pt x="1958" y="277"/>
                  </a:lnTo>
                  <a:lnTo>
                    <a:pt x="1950" y="280"/>
                  </a:lnTo>
                  <a:lnTo>
                    <a:pt x="1934" y="286"/>
                  </a:lnTo>
                  <a:lnTo>
                    <a:pt x="1920" y="293"/>
                  </a:lnTo>
                  <a:lnTo>
                    <a:pt x="1907" y="300"/>
                  </a:lnTo>
                  <a:lnTo>
                    <a:pt x="1895" y="308"/>
                  </a:lnTo>
                  <a:lnTo>
                    <a:pt x="1893" y="309"/>
                  </a:lnTo>
                  <a:lnTo>
                    <a:pt x="1891" y="309"/>
                  </a:lnTo>
                  <a:lnTo>
                    <a:pt x="1889" y="309"/>
                  </a:lnTo>
                  <a:lnTo>
                    <a:pt x="1888" y="309"/>
                  </a:lnTo>
                  <a:lnTo>
                    <a:pt x="1886" y="307"/>
                  </a:lnTo>
                  <a:lnTo>
                    <a:pt x="1885" y="306"/>
                  </a:lnTo>
                  <a:lnTo>
                    <a:pt x="1830" y="230"/>
                  </a:lnTo>
                  <a:lnTo>
                    <a:pt x="1828" y="227"/>
                  </a:lnTo>
                  <a:lnTo>
                    <a:pt x="1828" y="225"/>
                  </a:lnTo>
                  <a:lnTo>
                    <a:pt x="1829" y="224"/>
                  </a:lnTo>
                  <a:lnTo>
                    <a:pt x="1830" y="221"/>
                  </a:lnTo>
                  <a:lnTo>
                    <a:pt x="1831" y="220"/>
                  </a:lnTo>
                  <a:lnTo>
                    <a:pt x="1847" y="207"/>
                  </a:lnTo>
                  <a:lnTo>
                    <a:pt x="1866" y="195"/>
                  </a:lnTo>
                  <a:lnTo>
                    <a:pt x="1876" y="189"/>
                  </a:lnTo>
                  <a:lnTo>
                    <a:pt x="1887" y="184"/>
                  </a:lnTo>
                  <a:lnTo>
                    <a:pt x="1899" y="178"/>
                  </a:lnTo>
                  <a:lnTo>
                    <a:pt x="1912" y="173"/>
                  </a:lnTo>
                  <a:lnTo>
                    <a:pt x="1925" y="169"/>
                  </a:lnTo>
                  <a:lnTo>
                    <a:pt x="1939" y="165"/>
                  </a:lnTo>
                  <a:lnTo>
                    <a:pt x="1954" y="161"/>
                  </a:lnTo>
                  <a:lnTo>
                    <a:pt x="1970" y="158"/>
                  </a:lnTo>
                  <a:lnTo>
                    <a:pt x="1987" y="155"/>
                  </a:lnTo>
                  <a:lnTo>
                    <a:pt x="2005" y="153"/>
                  </a:lnTo>
                  <a:lnTo>
                    <a:pt x="2023" y="152"/>
                  </a:lnTo>
                  <a:lnTo>
                    <a:pt x="2043" y="152"/>
                  </a:lnTo>
                  <a:lnTo>
                    <a:pt x="2054" y="152"/>
                  </a:lnTo>
                  <a:lnTo>
                    <a:pt x="2065" y="152"/>
                  </a:lnTo>
                  <a:lnTo>
                    <a:pt x="2086" y="154"/>
                  </a:lnTo>
                  <a:lnTo>
                    <a:pt x="2096" y="156"/>
                  </a:lnTo>
                  <a:lnTo>
                    <a:pt x="2105" y="158"/>
                  </a:lnTo>
                  <a:lnTo>
                    <a:pt x="2114" y="160"/>
                  </a:lnTo>
                  <a:lnTo>
                    <a:pt x="2122" y="163"/>
                  </a:lnTo>
                  <a:lnTo>
                    <a:pt x="2130" y="166"/>
                  </a:lnTo>
                  <a:lnTo>
                    <a:pt x="2138" y="169"/>
                  </a:lnTo>
                  <a:lnTo>
                    <a:pt x="2145" y="172"/>
                  </a:lnTo>
                  <a:lnTo>
                    <a:pt x="2152" y="176"/>
                  </a:lnTo>
                  <a:lnTo>
                    <a:pt x="2159" y="181"/>
                  </a:lnTo>
                  <a:lnTo>
                    <a:pt x="2165" y="185"/>
                  </a:lnTo>
                  <a:lnTo>
                    <a:pt x="2170" y="190"/>
                  </a:lnTo>
                  <a:lnTo>
                    <a:pt x="2176" y="196"/>
                  </a:lnTo>
                  <a:lnTo>
                    <a:pt x="2181" y="201"/>
                  </a:lnTo>
                  <a:lnTo>
                    <a:pt x="2186" y="207"/>
                  </a:lnTo>
                  <a:lnTo>
                    <a:pt x="2190" y="214"/>
                  </a:lnTo>
                  <a:lnTo>
                    <a:pt x="2194" y="220"/>
                  </a:lnTo>
                  <a:lnTo>
                    <a:pt x="2197" y="227"/>
                  </a:lnTo>
                  <a:lnTo>
                    <a:pt x="2201" y="235"/>
                  </a:lnTo>
                  <a:lnTo>
                    <a:pt x="2204" y="242"/>
                  </a:lnTo>
                  <a:lnTo>
                    <a:pt x="2206" y="251"/>
                  </a:lnTo>
                  <a:lnTo>
                    <a:pt x="2209" y="259"/>
                  </a:lnTo>
                  <a:lnTo>
                    <a:pt x="2211" y="268"/>
                  </a:lnTo>
                  <a:lnTo>
                    <a:pt x="2212" y="277"/>
                  </a:lnTo>
                  <a:lnTo>
                    <a:pt x="2214" y="287"/>
                  </a:lnTo>
                  <a:lnTo>
                    <a:pt x="2215" y="296"/>
                  </a:lnTo>
                  <a:lnTo>
                    <a:pt x="2215" y="307"/>
                  </a:lnTo>
                  <a:lnTo>
                    <a:pt x="2216" y="317"/>
                  </a:lnTo>
                  <a:lnTo>
                    <a:pt x="2216" y="328"/>
                  </a:lnTo>
                  <a:lnTo>
                    <a:pt x="2216" y="478"/>
                  </a:lnTo>
                  <a:lnTo>
                    <a:pt x="2217" y="512"/>
                  </a:lnTo>
                  <a:lnTo>
                    <a:pt x="2218" y="539"/>
                  </a:lnTo>
                  <a:lnTo>
                    <a:pt x="2220" y="549"/>
                  </a:lnTo>
                  <a:lnTo>
                    <a:pt x="2221" y="559"/>
                  </a:lnTo>
                  <a:lnTo>
                    <a:pt x="2223" y="566"/>
                  </a:lnTo>
                  <a:lnTo>
                    <a:pt x="2225" y="572"/>
                  </a:lnTo>
                  <a:close/>
                  <a:moveTo>
                    <a:pt x="1869" y="7"/>
                  </a:moveTo>
                  <a:lnTo>
                    <a:pt x="1869" y="5"/>
                  </a:lnTo>
                  <a:lnTo>
                    <a:pt x="1870" y="3"/>
                  </a:lnTo>
                  <a:lnTo>
                    <a:pt x="1873" y="0"/>
                  </a:lnTo>
                  <a:lnTo>
                    <a:pt x="1875" y="0"/>
                  </a:lnTo>
                  <a:lnTo>
                    <a:pt x="1877" y="0"/>
                  </a:lnTo>
                  <a:lnTo>
                    <a:pt x="1987" y="0"/>
                  </a:lnTo>
                  <a:lnTo>
                    <a:pt x="1989" y="0"/>
                  </a:lnTo>
                  <a:lnTo>
                    <a:pt x="1991" y="1"/>
                  </a:lnTo>
                  <a:lnTo>
                    <a:pt x="1994" y="3"/>
                  </a:lnTo>
                  <a:lnTo>
                    <a:pt x="1994" y="6"/>
                  </a:lnTo>
                  <a:lnTo>
                    <a:pt x="1995" y="7"/>
                  </a:lnTo>
                  <a:lnTo>
                    <a:pt x="1995" y="121"/>
                  </a:lnTo>
                  <a:lnTo>
                    <a:pt x="1994" y="123"/>
                  </a:lnTo>
                  <a:lnTo>
                    <a:pt x="1993" y="125"/>
                  </a:lnTo>
                  <a:lnTo>
                    <a:pt x="1991" y="128"/>
                  </a:lnTo>
                  <a:lnTo>
                    <a:pt x="1988" y="128"/>
                  </a:lnTo>
                  <a:lnTo>
                    <a:pt x="1987" y="129"/>
                  </a:lnTo>
                  <a:lnTo>
                    <a:pt x="1877" y="129"/>
                  </a:lnTo>
                  <a:lnTo>
                    <a:pt x="1874" y="128"/>
                  </a:lnTo>
                  <a:lnTo>
                    <a:pt x="1872" y="127"/>
                  </a:lnTo>
                  <a:lnTo>
                    <a:pt x="1870" y="125"/>
                  </a:lnTo>
                  <a:lnTo>
                    <a:pt x="1869" y="122"/>
                  </a:lnTo>
                  <a:lnTo>
                    <a:pt x="1869" y="121"/>
                  </a:lnTo>
                  <a:lnTo>
                    <a:pt x="1869" y="7"/>
                  </a:lnTo>
                  <a:close/>
                  <a:moveTo>
                    <a:pt x="2047" y="121"/>
                  </a:moveTo>
                  <a:lnTo>
                    <a:pt x="2047" y="7"/>
                  </a:lnTo>
                  <a:lnTo>
                    <a:pt x="2047" y="5"/>
                  </a:lnTo>
                  <a:lnTo>
                    <a:pt x="2048" y="3"/>
                  </a:lnTo>
                  <a:lnTo>
                    <a:pt x="2051" y="0"/>
                  </a:lnTo>
                  <a:lnTo>
                    <a:pt x="2053" y="0"/>
                  </a:lnTo>
                  <a:lnTo>
                    <a:pt x="2054" y="0"/>
                  </a:lnTo>
                  <a:lnTo>
                    <a:pt x="2165" y="0"/>
                  </a:lnTo>
                  <a:lnTo>
                    <a:pt x="2167" y="0"/>
                  </a:lnTo>
                  <a:lnTo>
                    <a:pt x="2169" y="1"/>
                  </a:lnTo>
                  <a:lnTo>
                    <a:pt x="2171" y="3"/>
                  </a:lnTo>
                  <a:lnTo>
                    <a:pt x="2172" y="6"/>
                  </a:lnTo>
                  <a:lnTo>
                    <a:pt x="2172" y="7"/>
                  </a:lnTo>
                  <a:lnTo>
                    <a:pt x="2172" y="121"/>
                  </a:lnTo>
                  <a:lnTo>
                    <a:pt x="2172" y="123"/>
                  </a:lnTo>
                  <a:lnTo>
                    <a:pt x="2171" y="125"/>
                  </a:lnTo>
                  <a:lnTo>
                    <a:pt x="2169" y="127"/>
                  </a:lnTo>
                  <a:lnTo>
                    <a:pt x="2166" y="128"/>
                  </a:lnTo>
                  <a:lnTo>
                    <a:pt x="2165" y="128"/>
                  </a:lnTo>
                  <a:lnTo>
                    <a:pt x="2054" y="128"/>
                  </a:lnTo>
                  <a:lnTo>
                    <a:pt x="2052" y="128"/>
                  </a:lnTo>
                  <a:lnTo>
                    <a:pt x="2050" y="127"/>
                  </a:lnTo>
                  <a:lnTo>
                    <a:pt x="2048" y="125"/>
                  </a:lnTo>
                  <a:lnTo>
                    <a:pt x="2047" y="122"/>
                  </a:lnTo>
                  <a:lnTo>
                    <a:pt x="2047" y="121"/>
                  </a:lnTo>
                  <a:close/>
                  <a:moveTo>
                    <a:pt x="1274" y="585"/>
                  </a:moveTo>
                  <a:lnTo>
                    <a:pt x="1249" y="584"/>
                  </a:lnTo>
                  <a:lnTo>
                    <a:pt x="1226" y="583"/>
                  </a:lnTo>
                  <a:lnTo>
                    <a:pt x="1207" y="580"/>
                  </a:lnTo>
                  <a:lnTo>
                    <a:pt x="1190" y="576"/>
                  </a:lnTo>
                  <a:lnTo>
                    <a:pt x="1175" y="571"/>
                  </a:lnTo>
                  <a:lnTo>
                    <a:pt x="1168" y="568"/>
                  </a:lnTo>
                  <a:lnTo>
                    <a:pt x="1162" y="565"/>
                  </a:lnTo>
                  <a:lnTo>
                    <a:pt x="1156" y="561"/>
                  </a:lnTo>
                  <a:lnTo>
                    <a:pt x="1151" y="558"/>
                  </a:lnTo>
                  <a:lnTo>
                    <a:pt x="1149" y="556"/>
                  </a:lnTo>
                  <a:lnTo>
                    <a:pt x="1147" y="554"/>
                  </a:lnTo>
                  <a:lnTo>
                    <a:pt x="1143" y="550"/>
                  </a:lnTo>
                  <a:lnTo>
                    <a:pt x="1139" y="545"/>
                  </a:lnTo>
                  <a:lnTo>
                    <a:pt x="1135" y="541"/>
                  </a:lnTo>
                  <a:lnTo>
                    <a:pt x="1130" y="531"/>
                  </a:lnTo>
                  <a:lnTo>
                    <a:pt x="1127" y="525"/>
                  </a:lnTo>
                  <a:lnTo>
                    <a:pt x="1125" y="520"/>
                  </a:lnTo>
                  <a:lnTo>
                    <a:pt x="1122" y="508"/>
                  </a:lnTo>
                  <a:lnTo>
                    <a:pt x="1121" y="502"/>
                  </a:lnTo>
                  <a:lnTo>
                    <a:pt x="1120" y="496"/>
                  </a:lnTo>
                  <a:lnTo>
                    <a:pt x="1119" y="482"/>
                  </a:lnTo>
                  <a:lnTo>
                    <a:pt x="1118" y="468"/>
                  </a:lnTo>
                  <a:lnTo>
                    <a:pt x="1118" y="453"/>
                  </a:lnTo>
                  <a:lnTo>
                    <a:pt x="1118" y="278"/>
                  </a:lnTo>
                  <a:lnTo>
                    <a:pt x="1117" y="276"/>
                  </a:lnTo>
                  <a:lnTo>
                    <a:pt x="1117" y="274"/>
                  </a:lnTo>
                  <a:lnTo>
                    <a:pt x="1114" y="272"/>
                  </a:lnTo>
                  <a:lnTo>
                    <a:pt x="1111" y="271"/>
                  </a:lnTo>
                  <a:lnTo>
                    <a:pt x="1110" y="271"/>
                  </a:lnTo>
                  <a:lnTo>
                    <a:pt x="1067" y="271"/>
                  </a:lnTo>
                  <a:lnTo>
                    <a:pt x="1064" y="270"/>
                  </a:lnTo>
                  <a:lnTo>
                    <a:pt x="1062" y="269"/>
                  </a:lnTo>
                  <a:lnTo>
                    <a:pt x="1060" y="267"/>
                  </a:lnTo>
                  <a:lnTo>
                    <a:pt x="1059" y="264"/>
                  </a:lnTo>
                  <a:lnTo>
                    <a:pt x="1059" y="263"/>
                  </a:lnTo>
                  <a:lnTo>
                    <a:pt x="1059" y="167"/>
                  </a:lnTo>
                  <a:lnTo>
                    <a:pt x="1059" y="164"/>
                  </a:lnTo>
                  <a:lnTo>
                    <a:pt x="1060" y="162"/>
                  </a:lnTo>
                  <a:lnTo>
                    <a:pt x="1063" y="160"/>
                  </a:lnTo>
                  <a:lnTo>
                    <a:pt x="1065" y="159"/>
                  </a:lnTo>
                  <a:lnTo>
                    <a:pt x="1067" y="159"/>
                  </a:lnTo>
                  <a:lnTo>
                    <a:pt x="1110" y="159"/>
                  </a:lnTo>
                  <a:lnTo>
                    <a:pt x="1113" y="159"/>
                  </a:lnTo>
                  <a:lnTo>
                    <a:pt x="1115" y="158"/>
                  </a:lnTo>
                  <a:lnTo>
                    <a:pt x="1117" y="157"/>
                  </a:lnTo>
                  <a:lnTo>
                    <a:pt x="1118" y="156"/>
                  </a:lnTo>
                  <a:lnTo>
                    <a:pt x="1120" y="153"/>
                  </a:lnTo>
                  <a:lnTo>
                    <a:pt x="1121" y="152"/>
                  </a:lnTo>
                  <a:lnTo>
                    <a:pt x="1170" y="25"/>
                  </a:lnTo>
                  <a:lnTo>
                    <a:pt x="1171" y="23"/>
                  </a:lnTo>
                  <a:lnTo>
                    <a:pt x="1173" y="21"/>
                  </a:lnTo>
                  <a:lnTo>
                    <a:pt x="1175" y="20"/>
                  </a:lnTo>
                  <a:lnTo>
                    <a:pt x="1176" y="19"/>
                  </a:lnTo>
                  <a:lnTo>
                    <a:pt x="1179" y="18"/>
                  </a:lnTo>
                  <a:lnTo>
                    <a:pt x="1180" y="18"/>
                  </a:lnTo>
                  <a:lnTo>
                    <a:pt x="1265" y="18"/>
                  </a:lnTo>
                  <a:lnTo>
                    <a:pt x="1268" y="19"/>
                  </a:lnTo>
                  <a:lnTo>
                    <a:pt x="1270" y="19"/>
                  </a:lnTo>
                  <a:lnTo>
                    <a:pt x="1272" y="22"/>
                  </a:lnTo>
                  <a:lnTo>
                    <a:pt x="1273" y="25"/>
                  </a:lnTo>
                  <a:lnTo>
                    <a:pt x="1273" y="26"/>
                  </a:lnTo>
                  <a:lnTo>
                    <a:pt x="1273" y="152"/>
                  </a:lnTo>
                  <a:lnTo>
                    <a:pt x="1273" y="154"/>
                  </a:lnTo>
                  <a:lnTo>
                    <a:pt x="1274" y="156"/>
                  </a:lnTo>
                  <a:lnTo>
                    <a:pt x="1277" y="158"/>
                  </a:lnTo>
                  <a:lnTo>
                    <a:pt x="1279" y="159"/>
                  </a:lnTo>
                  <a:lnTo>
                    <a:pt x="1281" y="159"/>
                  </a:lnTo>
                  <a:lnTo>
                    <a:pt x="1374" y="159"/>
                  </a:lnTo>
                  <a:lnTo>
                    <a:pt x="1376" y="160"/>
                  </a:lnTo>
                  <a:lnTo>
                    <a:pt x="1378" y="161"/>
                  </a:lnTo>
                  <a:lnTo>
                    <a:pt x="1381" y="163"/>
                  </a:lnTo>
                  <a:lnTo>
                    <a:pt x="1381" y="166"/>
                  </a:lnTo>
                  <a:lnTo>
                    <a:pt x="1381" y="167"/>
                  </a:lnTo>
                  <a:lnTo>
                    <a:pt x="1381" y="263"/>
                  </a:lnTo>
                  <a:lnTo>
                    <a:pt x="1381" y="266"/>
                  </a:lnTo>
                  <a:lnTo>
                    <a:pt x="1380" y="268"/>
                  </a:lnTo>
                  <a:lnTo>
                    <a:pt x="1378" y="270"/>
                  </a:lnTo>
                  <a:lnTo>
                    <a:pt x="1375" y="271"/>
                  </a:lnTo>
                  <a:lnTo>
                    <a:pt x="1374" y="271"/>
                  </a:lnTo>
                  <a:lnTo>
                    <a:pt x="1281" y="271"/>
                  </a:lnTo>
                  <a:lnTo>
                    <a:pt x="1278" y="271"/>
                  </a:lnTo>
                  <a:lnTo>
                    <a:pt x="1276" y="272"/>
                  </a:lnTo>
                  <a:lnTo>
                    <a:pt x="1274" y="275"/>
                  </a:lnTo>
                  <a:lnTo>
                    <a:pt x="1273" y="277"/>
                  </a:lnTo>
                  <a:lnTo>
                    <a:pt x="1273" y="278"/>
                  </a:lnTo>
                  <a:lnTo>
                    <a:pt x="1273" y="419"/>
                  </a:lnTo>
                  <a:lnTo>
                    <a:pt x="1274" y="434"/>
                  </a:lnTo>
                  <a:lnTo>
                    <a:pt x="1275" y="446"/>
                  </a:lnTo>
                  <a:lnTo>
                    <a:pt x="1277" y="452"/>
                  </a:lnTo>
                  <a:lnTo>
                    <a:pt x="1279" y="456"/>
                  </a:lnTo>
                  <a:lnTo>
                    <a:pt x="1281" y="460"/>
                  </a:lnTo>
                  <a:lnTo>
                    <a:pt x="1284" y="463"/>
                  </a:lnTo>
                  <a:lnTo>
                    <a:pt x="1287" y="466"/>
                  </a:lnTo>
                  <a:lnTo>
                    <a:pt x="1291" y="469"/>
                  </a:lnTo>
                  <a:lnTo>
                    <a:pt x="1296" y="471"/>
                  </a:lnTo>
                  <a:lnTo>
                    <a:pt x="1301" y="472"/>
                  </a:lnTo>
                  <a:lnTo>
                    <a:pt x="1307" y="473"/>
                  </a:lnTo>
                  <a:lnTo>
                    <a:pt x="1313" y="474"/>
                  </a:lnTo>
                  <a:lnTo>
                    <a:pt x="1320" y="474"/>
                  </a:lnTo>
                  <a:lnTo>
                    <a:pt x="1328" y="475"/>
                  </a:lnTo>
                  <a:lnTo>
                    <a:pt x="1340" y="474"/>
                  </a:lnTo>
                  <a:lnTo>
                    <a:pt x="1351" y="473"/>
                  </a:lnTo>
                  <a:lnTo>
                    <a:pt x="1361" y="472"/>
                  </a:lnTo>
                  <a:lnTo>
                    <a:pt x="1366" y="471"/>
                  </a:lnTo>
                  <a:lnTo>
                    <a:pt x="1367" y="471"/>
                  </a:lnTo>
                  <a:lnTo>
                    <a:pt x="1368" y="471"/>
                  </a:lnTo>
                  <a:lnTo>
                    <a:pt x="1369" y="474"/>
                  </a:lnTo>
                  <a:lnTo>
                    <a:pt x="1370" y="477"/>
                  </a:lnTo>
                  <a:lnTo>
                    <a:pt x="1370" y="564"/>
                  </a:lnTo>
                  <a:lnTo>
                    <a:pt x="1369" y="569"/>
                  </a:lnTo>
                  <a:lnTo>
                    <a:pt x="1369" y="572"/>
                  </a:lnTo>
                  <a:lnTo>
                    <a:pt x="1368" y="575"/>
                  </a:lnTo>
                  <a:lnTo>
                    <a:pt x="1366" y="577"/>
                  </a:lnTo>
                  <a:lnTo>
                    <a:pt x="1364" y="578"/>
                  </a:lnTo>
                  <a:lnTo>
                    <a:pt x="1362" y="579"/>
                  </a:lnTo>
                  <a:lnTo>
                    <a:pt x="1358" y="580"/>
                  </a:lnTo>
                  <a:lnTo>
                    <a:pt x="1340" y="582"/>
                  </a:lnTo>
                  <a:lnTo>
                    <a:pt x="1317" y="583"/>
                  </a:lnTo>
                  <a:lnTo>
                    <a:pt x="1294" y="584"/>
                  </a:lnTo>
                  <a:lnTo>
                    <a:pt x="1274" y="585"/>
                  </a:lnTo>
                  <a:close/>
                  <a:moveTo>
                    <a:pt x="0" y="572"/>
                  </a:moveTo>
                  <a:lnTo>
                    <a:pt x="0" y="7"/>
                  </a:lnTo>
                  <a:lnTo>
                    <a:pt x="0" y="5"/>
                  </a:lnTo>
                  <a:lnTo>
                    <a:pt x="1" y="3"/>
                  </a:lnTo>
                  <a:lnTo>
                    <a:pt x="4" y="1"/>
                  </a:lnTo>
                  <a:lnTo>
                    <a:pt x="6" y="0"/>
                  </a:lnTo>
                  <a:lnTo>
                    <a:pt x="7" y="0"/>
                  </a:lnTo>
                  <a:lnTo>
                    <a:pt x="200" y="0"/>
                  </a:lnTo>
                  <a:lnTo>
                    <a:pt x="202" y="0"/>
                  </a:lnTo>
                  <a:lnTo>
                    <a:pt x="204" y="1"/>
                  </a:lnTo>
                  <a:lnTo>
                    <a:pt x="206" y="2"/>
                  </a:lnTo>
                  <a:lnTo>
                    <a:pt x="207" y="3"/>
                  </a:lnTo>
                  <a:lnTo>
                    <a:pt x="209" y="6"/>
                  </a:lnTo>
                  <a:lnTo>
                    <a:pt x="209" y="7"/>
                  </a:lnTo>
                  <a:lnTo>
                    <a:pt x="307" y="386"/>
                  </a:lnTo>
                  <a:lnTo>
                    <a:pt x="307" y="387"/>
                  </a:lnTo>
                  <a:lnTo>
                    <a:pt x="308" y="388"/>
                  </a:lnTo>
                  <a:lnTo>
                    <a:pt x="310" y="389"/>
                  </a:lnTo>
                  <a:lnTo>
                    <a:pt x="312" y="389"/>
                  </a:lnTo>
                  <a:lnTo>
                    <a:pt x="313" y="387"/>
                  </a:lnTo>
                  <a:lnTo>
                    <a:pt x="313" y="386"/>
                  </a:lnTo>
                  <a:lnTo>
                    <a:pt x="401" y="7"/>
                  </a:lnTo>
                  <a:lnTo>
                    <a:pt x="402" y="5"/>
                  </a:lnTo>
                  <a:lnTo>
                    <a:pt x="403" y="3"/>
                  </a:lnTo>
                  <a:lnTo>
                    <a:pt x="406" y="1"/>
                  </a:lnTo>
                  <a:lnTo>
                    <a:pt x="409" y="0"/>
                  </a:lnTo>
                  <a:lnTo>
                    <a:pt x="410" y="0"/>
                  </a:lnTo>
                  <a:lnTo>
                    <a:pt x="607" y="0"/>
                  </a:lnTo>
                  <a:lnTo>
                    <a:pt x="610" y="0"/>
                  </a:lnTo>
                  <a:lnTo>
                    <a:pt x="611" y="1"/>
                  </a:lnTo>
                  <a:lnTo>
                    <a:pt x="614" y="4"/>
                  </a:lnTo>
                  <a:lnTo>
                    <a:pt x="615" y="6"/>
                  </a:lnTo>
                  <a:lnTo>
                    <a:pt x="615" y="7"/>
                  </a:lnTo>
                  <a:lnTo>
                    <a:pt x="615" y="572"/>
                  </a:lnTo>
                  <a:lnTo>
                    <a:pt x="614" y="575"/>
                  </a:lnTo>
                  <a:lnTo>
                    <a:pt x="613" y="576"/>
                  </a:lnTo>
                  <a:lnTo>
                    <a:pt x="611" y="579"/>
                  </a:lnTo>
                  <a:lnTo>
                    <a:pt x="608" y="579"/>
                  </a:lnTo>
                  <a:lnTo>
                    <a:pt x="607" y="580"/>
                  </a:lnTo>
                  <a:lnTo>
                    <a:pt x="473" y="580"/>
                  </a:lnTo>
                  <a:lnTo>
                    <a:pt x="470" y="579"/>
                  </a:lnTo>
                  <a:lnTo>
                    <a:pt x="468" y="578"/>
                  </a:lnTo>
                  <a:lnTo>
                    <a:pt x="466" y="576"/>
                  </a:lnTo>
                  <a:lnTo>
                    <a:pt x="465" y="573"/>
                  </a:lnTo>
                  <a:lnTo>
                    <a:pt x="465" y="572"/>
                  </a:lnTo>
                  <a:lnTo>
                    <a:pt x="465" y="226"/>
                  </a:lnTo>
                  <a:lnTo>
                    <a:pt x="465" y="224"/>
                  </a:lnTo>
                  <a:lnTo>
                    <a:pt x="464" y="223"/>
                  </a:lnTo>
                  <a:lnTo>
                    <a:pt x="463" y="222"/>
                  </a:lnTo>
                  <a:lnTo>
                    <a:pt x="462" y="222"/>
                  </a:lnTo>
                  <a:lnTo>
                    <a:pt x="461" y="222"/>
                  </a:lnTo>
                  <a:lnTo>
                    <a:pt x="460" y="223"/>
                  </a:lnTo>
                  <a:lnTo>
                    <a:pt x="458" y="226"/>
                  </a:lnTo>
                  <a:lnTo>
                    <a:pt x="452" y="264"/>
                  </a:lnTo>
                  <a:lnTo>
                    <a:pt x="446" y="298"/>
                  </a:lnTo>
                  <a:lnTo>
                    <a:pt x="443" y="314"/>
                  </a:lnTo>
                  <a:lnTo>
                    <a:pt x="440" y="330"/>
                  </a:lnTo>
                  <a:lnTo>
                    <a:pt x="436" y="346"/>
                  </a:lnTo>
                  <a:lnTo>
                    <a:pt x="432" y="362"/>
                  </a:lnTo>
                  <a:lnTo>
                    <a:pt x="373" y="572"/>
                  </a:lnTo>
                  <a:lnTo>
                    <a:pt x="372" y="575"/>
                  </a:lnTo>
                  <a:lnTo>
                    <a:pt x="371" y="577"/>
                  </a:lnTo>
                  <a:lnTo>
                    <a:pt x="368" y="579"/>
                  </a:lnTo>
                  <a:lnTo>
                    <a:pt x="365" y="579"/>
                  </a:lnTo>
                  <a:lnTo>
                    <a:pt x="364" y="580"/>
                  </a:lnTo>
                  <a:lnTo>
                    <a:pt x="241" y="580"/>
                  </a:lnTo>
                  <a:lnTo>
                    <a:pt x="238" y="579"/>
                  </a:lnTo>
                  <a:lnTo>
                    <a:pt x="236" y="578"/>
                  </a:lnTo>
                  <a:lnTo>
                    <a:pt x="234" y="577"/>
                  </a:lnTo>
                  <a:lnTo>
                    <a:pt x="233" y="576"/>
                  </a:lnTo>
                  <a:lnTo>
                    <a:pt x="232" y="573"/>
                  </a:lnTo>
                  <a:lnTo>
                    <a:pt x="231" y="572"/>
                  </a:lnTo>
                  <a:lnTo>
                    <a:pt x="174" y="362"/>
                  </a:lnTo>
                  <a:lnTo>
                    <a:pt x="169" y="345"/>
                  </a:lnTo>
                  <a:lnTo>
                    <a:pt x="165" y="330"/>
                  </a:lnTo>
                  <a:lnTo>
                    <a:pt x="159" y="301"/>
                  </a:lnTo>
                  <a:lnTo>
                    <a:pt x="153" y="268"/>
                  </a:lnTo>
                  <a:lnTo>
                    <a:pt x="146" y="224"/>
                  </a:lnTo>
                  <a:lnTo>
                    <a:pt x="146" y="223"/>
                  </a:lnTo>
                  <a:lnTo>
                    <a:pt x="145" y="222"/>
                  </a:lnTo>
                  <a:lnTo>
                    <a:pt x="142" y="221"/>
                  </a:lnTo>
                  <a:lnTo>
                    <a:pt x="140" y="222"/>
                  </a:lnTo>
                  <a:lnTo>
                    <a:pt x="140" y="223"/>
                  </a:lnTo>
                  <a:lnTo>
                    <a:pt x="139" y="224"/>
                  </a:lnTo>
                  <a:lnTo>
                    <a:pt x="139" y="572"/>
                  </a:lnTo>
                  <a:lnTo>
                    <a:pt x="139" y="575"/>
                  </a:lnTo>
                  <a:lnTo>
                    <a:pt x="138" y="576"/>
                  </a:lnTo>
                  <a:lnTo>
                    <a:pt x="136" y="579"/>
                  </a:lnTo>
                  <a:lnTo>
                    <a:pt x="133" y="579"/>
                  </a:lnTo>
                  <a:lnTo>
                    <a:pt x="132" y="580"/>
                  </a:lnTo>
                  <a:lnTo>
                    <a:pt x="8" y="580"/>
                  </a:lnTo>
                  <a:lnTo>
                    <a:pt x="5" y="579"/>
                  </a:lnTo>
                  <a:lnTo>
                    <a:pt x="3" y="578"/>
                  </a:lnTo>
                  <a:lnTo>
                    <a:pt x="1" y="576"/>
                  </a:lnTo>
                  <a:lnTo>
                    <a:pt x="0" y="573"/>
                  </a:lnTo>
                  <a:lnTo>
                    <a:pt x="0" y="572"/>
                  </a:lnTo>
                  <a:close/>
                  <a:moveTo>
                    <a:pt x="1063" y="408"/>
                  </a:moveTo>
                  <a:lnTo>
                    <a:pt x="1062" y="410"/>
                  </a:lnTo>
                  <a:lnTo>
                    <a:pt x="1062" y="412"/>
                  </a:lnTo>
                  <a:lnTo>
                    <a:pt x="1061" y="413"/>
                  </a:lnTo>
                  <a:lnTo>
                    <a:pt x="1060" y="414"/>
                  </a:lnTo>
                  <a:lnTo>
                    <a:pt x="1058" y="414"/>
                  </a:lnTo>
                  <a:lnTo>
                    <a:pt x="1057" y="414"/>
                  </a:lnTo>
                  <a:lnTo>
                    <a:pt x="801" y="414"/>
                  </a:lnTo>
                  <a:lnTo>
                    <a:pt x="799" y="415"/>
                  </a:lnTo>
                  <a:lnTo>
                    <a:pt x="797" y="415"/>
                  </a:lnTo>
                  <a:lnTo>
                    <a:pt x="796" y="417"/>
                  </a:lnTo>
                  <a:lnTo>
                    <a:pt x="795" y="418"/>
                  </a:lnTo>
                  <a:lnTo>
                    <a:pt x="795" y="421"/>
                  </a:lnTo>
                  <a:lnTo>
                    <a:pt x="795" y="422"/>
                  </a:lnTo>
                  <a:lnTo>
                    <a:pt x="796" y="430"/>
                  </a:lnTo>
                  <a:lnTo>
                    <a:pt x="799" y="438"/>
                  </a:lnTo>
                  <a:lnTo>
                    <a:pt x="801" y="445"/>
                  </a:lnTo>
                  <a:lnTo>
                    <a:pt x="804" y="451"/>
                  </a:lnTo>
                  <a:lnTo>
                    <a:pt x="808" y="457"/>
                  </a:lnTo>
                  <a:lnTo>
                    <a:pt x="812" y="462"/>
                  </a:lnTo>
                  <a:lnTo>
                    <a:pt x="817" y="466"/>
                  </a:lnTo>
                  <a:lnTo>
                    <a:pt x="822" y="470"/>
                  </a:lnTo>
                  <a:lnTo>
                    <a:pt x="827" y="473"/>
                  </a:lnTo>
                  <a:lnTo>
                    <a:pt x="833" y="476"/>
                  </a:lnTo>
                  <a:lnTo>
                    <a:pt x="840" y="478"/>
                  </a:lnTo>
                  <a:lnTo>
                    <a:pt x="846" y="480"/>
                  </a:lnTo>
                  <a:lnTo>
                    <a:pt x="854" y="481"/>
                  </a:lnTo>
                  <a:lnTo>
                    <a:pt x="861" y="482"/>
                  </a:lnTo>
                  <a:lnTo>
                    <a:pt x="878" y="482"/>
                  </a:lnTo>
                  <a:lnTo>
                    <a:pt x="886" y="482"/>
                  </a:lnTo>
                  <a:lnTo>
                    <a:pt x="894" y="481"/>
                  </a:lnTo>
                  <a:lnTo>
                    <a:pt x="903" y="480"/>
                  </a:lnTo>
                  <a:lnTo>
                    <a:pt x="911" y="479"/>
                  </a:lnTo>
                  <a:lnTo>
                    <a:pt x="928" y="475"/>
                  </a:lnTo>
                  <a:lnTo>
                    <a:pt x="943" y="470"/>
                  </a:lnTo>
                  <a:lnTo>
                    <a:pt x="958" y="464"/>
                  </a:lnTo>
                  <a:lnTo>
                    <a:pt x="971" y="459"/>
                  </a:lnTo>
                  <a:lnTo>
                    <a:pt x="983" y="453"/>
                  </a:lnTo>
                  <a:lnTo>
                    <a:pt x="992" y="448"/>
                  </a:lnTo>
                  <a:lnTo>
                    <a:pt x="994" y="447"/>
                  </a:lnTo>
                  <a:lnTo>
                    <a:pt x="996" y="447"/>
                  </a:lnTo>
                  <a:lnTo>
                    <a:pt x="998" y="447"/>
                  </a:lnTo>
                  <a:lnTo>
                    <a:pt x="999" y="448"/>
                  </a:lnTo>
                  <a:lnTo>
                    <a:pt x="1002" y="450"/>
                  </a:lnTo>
                  <a:lnTo>
                    <a:pt x="1050" y="531"/>
                  </a:lnTo>
                  <a:lnTo>
                    <a:pt x="1052" y="535"/>
                  </a:lnTo>
                  <a:lnTo>
                    <a:pt x="1052" y="537"/>
                  </a:lnTo>
                  <a:lnTo>
                    <a:pt x="1051" y="538"/>
                  </a:lnTo>
                  <a:lnTo>
                    <a:pt x="1051" y="540"/>
                  </a:lnTo>
                  <a:lnTo>
                    <a:pt x="1050" y="540"/>
                  </a:lnTo>
                  <a:lnTo>
                    <a:pt x="1048" y="542"/>
                  </a:lnTo>
                  <a:lnTo>
                    <a:pt x="1038" y="547"/>
                  </a:lnTo>
                  <a:lnTo>
                    <a:pt x="1028" y="553"/>
                  </a:lnTo>
                  <a:lnTo>
                    <a:pt x="1018" y="558"/>
                  </a:lnTo>
                  <a:lnTo>
                    <a:pt x="1007" y="562"/>
                  </a:lnTo>
                  <a:lnTo>
                    <a:pt x="996" y="567"/>
                  </a:lnTo>
                  <a:lnTo>
                    <a:pt x="985" y="570"/>
                  </a:lnTo>
                  <a:lnTo>
                    <a:pt x="974" y="574"/>
                  </a:lnTo>
                  <a:lnTo>
                    <a:pt x="963" y="577"/>
                  </a:lnTo>
                  <a:lnTo>
                    <a:pt x="951" y="580"/>
                  </a:lnTo>
                  <a:lnTo>
                    <a:pt x="939" y="582"/>
                  </a:lnTo>
                  <a:lnTo>
                    <a:pt x="927" y="584"/>
                  </a:lnTo>
                  <a:lnTo>
                    <a:pt x="915" y="585"/>
                  </a:lnTo>
                  <a:lnTo>
                    <a:pt x="903" y="587"/>
                  </a:lnTo>
                  <a:lnTo>
                    <a:pt x="891" y="587"/>
                  </a:lnTo>
                  <a:lnTo>
                    <a:pt x="866" y="588"/>
                  </a:lnTo>
                  <a:lnTo>
                    <a:pt x="844" y="588"/>
                  </a:lnTo>
                  <a:lnTo>
                    <a:pt x="823" y="586"/>
                  </a:lnTo>
                  <a:lnTo>
                    <a:pt x="813" y="584"/>
                  </a:lnTo>
                  <a:lnTo>
                    <a:pt x="802" y="583"/>
                  </a:lnTo>
                  <a:lnTo>
                    <a:pt x="792" y="580"/>
                  </a:lnTo>
                  <a:lnTo>
                    <a:pt x="782" y="578"/>
                  </a:lnTo>
                  <a:lnTo>
                    <a:pt x="772" y="575"/>
                  </a:lnTo>
                  <a:lnTo>
                    <a:pt x="762" y="572"/>
                  </a:lnTo>
                  <a:lnTo>
                    <a:pt x="753" y="568"/>
                  </a:lnTo>
                  <a:lnTo>
                    <a:pt x="744" y="564"/>
                  </a:lnTo>
                  <a:lnTo>
                    <a:pt x="735" y="559"/>
                  </a:lnTo>
                  <a:lnTo>
                    <a:pt x="726" y="554"/>
                  </a:lnTo>
                  <a:lnTo>
                    <a:pt x="718" y="549"/>
                  </a:lnTo>
                  <a:lnTo>
                    <a:pt x="710" y="543"/>
                  </a:lnTo>
                  <a:lnTo>
                    <a:pt x="702" y="537"/>
                  </a:lnTo>
                  <a:lnTo>
                    <a:pt x="694" y="530"/>
                  </a:lnTo>
                  <a:lnTo>
                    <a:pt x="687" y="522"/>
                  </a:lnTo>
                  <a:lnTo>
                    <a:pt x="681" y="514"/>
                  </a:lnTo>
                  <a:lnTo>
                    <a:pt x="675" y="505"/>
                  </a:lnTo>
                  <a:lnTo>
                    <a:pt x="669" y="496"/>
                  </a:lnTo>
                  <a:lnTo>
                    <a:pt x="664" y="486"/>
                  </a:lnTo>
                  <a:lnTo>
                    <a:pt x="659" y="476"/>
                  </a:lnTo>
                  <a:lnTo>
                    <a:pt x="654" y="465"/>
                  </a:lnTo>
                  <a:lnTo>
                    <a:pt x="652" y="459"/>
                  </a:lnTo>
                  <a:lnTo>
                    <a:pt x="651" y="454"/>
                  </a:lnTo>
                  <a:lnTo>
                    <a:pt x="647" y="441"/>
                  </a:lnTo>
                  <a:lnTo>
                    <a:pt x="645" y="429"/>
                  </a:lnTo>
                  <a:lnTo>
                    <a:pt x="642" y="415"/>
                  </a:lnTo>
                  <a:lnTo>
                    <a:pt x="642" y="408"/>
                  </a:lnTo>
                  <a:lnTo>
                    <a:pt x="641" y="401"/>
                  </a:lnTo>
                  <a:lnTo>
                    <a:pt x="640" y="386"/>
                  </a:lnTo>
                  <a:lnTo>
                    <a:pt x="640" y="370"/>
                  </a:lnTo>
                  <a:lnTo>
                    <a:pt x="640" y="355"/>
                  </a:lnTo>
                  <a:lnTo>
                    <a:pt x="641" y="340"/>
                  </a:lnTo>
                  <a:lnTo>
                    <a:pt x="643" y="326"/>
                  </a:lnTo>
                  <a:lnTo>
                    <a:pt x="646" y="313"/>
                  </a:lnTo>
                  <a:lnTo>
                    <a:pt x="649" y="300"/>
                  </a:lnTo>
                  <a:lnTo>
                    <a:pt x="653" y="288"/>
                  </a:lnTo>
                  <a:lnTo>
                    <a:pt x="657" y="276"/>
                  </a:lnTo>
                  <a:lnTo>
                    <a:pt x="662" y="265"/>
                  </a:lnTo>
                  <a:lnTo>
                    <a:pt x="668" y="255"/>
                  </a:lnTo>
                  <a:lnTo>
                    <a:pt x="674" y="245"/>
                  </a:lnTo>
                  <a:lnTo>
                    <a:pt x="680" y="236"/>
                  </a:lnTo>
                  <a:lnTo>
                    <a:pt x="687" y="227"/>
                  </a:lnTo>
                  <a:lnTo>
                    <a:pt x="694" y="219"/>
                  </a:lnTo>
                  <a:lnTo>
                    <a:pt x="702" y="212"/>
                  </a:lnTo>
                  <a:lnTo>
                    <a:pt x="710" y="204"/>
                  </a:lnTo>
                  <a:lnTo>
                    <a:pt x="718" y="198"/>
                  </a:lnTo>
                  <a:lnTo>
                    <a:pt x="727" y="192"/>
                  </a:lnTo>
                  <a:lnTo>
                    <a:pt x="735" y="186"/>
                  </a:lnTo>
                  <a:lnTo>
                    <a:pt x="744" y="181"/>
                  </a:lnTo>
                  <a:lnTo>
                    <a:pt x="753" y="177"/>
                  </a:lnTo>
                  <a:lnTo>
                    <a:pt x="762" y="172"/>
                  </a:lnTo>
                  <a:lnTo>
                    <a:pt x="771" y="169"/>
                  </a:lnTo>
                  <a:lnTo>
                    <a:pt x="781" y="165"/>
                  </a:lnTo>
                  <a:lnTo>
                    <a:pt x="790" y="162"/>
                  </a:lnTo>
                  <a:lnTo>
                    <a:pt x="799" y="160"/>
                  </a:lnTo>
                  <a:lnTo>
                    <a:pt x="808" y="158"/>
                  </a:lnTo>
                  <a:lnTo>
                    <a:pt x="817" y="156"/>
                  </a:lnTo>
                  <a:lnTo>
                    <a:pt x="826" y="154"/>
                  </a:lnTo>
                  <a:lnTo>
                    <a:pt x="844" y="152"/>
                  </a:lnTo>
                  <a:lnTo>
                    <a:pt x="852" y="152"/>
                  </a:lnTo>
                  <a:lnTo>
                    <a:pt x="860" y="152"/>
                  </a:lnTo>
                  <a:lnTo>
                    <a:pt x="868" y="152"/>
                  </a:lnTo>
                  <a:lnTo>
                    <a:pt x="876" y="152"/>
                  </a:lnTo>
                  <a:lnTo>
                    <a:pt x="893" y="153"/>
                  </a:lnTo>
                  <a:lnTo>
                    <a:pt x="901" y="155"/>
                  </a:lnTo>
                  <a:lnTo>
                    <a:pt x="910" y="156"/>
                  </a:lnTo>
                  <a:lnTo>
                    <a:pt x="927" y="160"/>
                  </a:lnTo>
                  <a:lnTo>
                    <a:pt x="936" y="162"/>
                  </a:lnTo>
                  <a:lnTo>
                    <a:pt x="944" y="165"/>
                  </a:lnTo>
                  <a:lnTo>
                    <a:pt x="953" y="168"/>
                  </a:lnTo>
                  <a:lnTo>
                    <a:pt x="961" y="172"/>
                  </a:lnTo>
                  <a:lnTo>
                    <a:pt x="969" y="177"/>
                  </a:lnTo>
                  <a:lnTo>
                    <a:pt x="977" y="181"/>
                  </a:lnTo>
                  <a:lnTo>
                    <a:pt x="985" y="187"/>
                  </a:lnTo>
                  <a:lnTo>
                    <a:pt x="993" y="193"/>
                  </a:lnTo>
                  <a:lnTo>
                    <a:pt x="1000" y="199"/>
                  </a:lnTo>
                  <a:lnTo>
                    <a:pt x="1007" y="207"/>
                  </a:lnTo>
                  <a:lnTo>
                    <a:pt x="1014" y="215"/>
                  </a:lnTo>
                  <a:lnTo>
                    <a:pt x="1021" y="223"/>
                  </a:lnTo>
                  <a:lnTo>
                    <a:pt x="1027" y="233"/>
                  </a:lnTo>
                  <a:lnTo>
                    <a:pt x="1032" y="243"/>
                  </a:lnTo>
                  <a:lnTo>
                    <a:pt x="1035" y="248"/>
                  </a:lnTo>
                  <a:lnTo>
                    <a:pt x="1038" y="253"/>
                  </a:lnTo>
                  <a:lnTo>
                    <a:pt x="1043" y="265"/>
                  </a:lnTo>
                  <a:lnTo>
                    <a:pt x="1047" y="278"/>
                  </a:lnTo>
                  <a:lnTo>
                    <a:pt x="1051" y="291"/>
                  </a:lnTo>
                  <a:lnTo>
                    <a:pt x="1054" y="305"/>
                  </a:lnTo>
                  <a:lnTo>
                    <a:pt x="1057" y="320"/>
                  </a:lnTo>
                  <a:lnTo>
                    <a:pt x="1060" y="336"/>
                  </a:lnTo>
                  <a:lnTo>
                    <a:pt x="1061" y="354"/>
                  </a:lnTo>
                  <a:lnTo>
                    <a:pt x="1062" y="372"/>
                  </a:lnTo>
                  <a:lnTo>
                    <a:pt x="1063" y="391"/>
                  </a:lnTo>
                  <a:lnTo>
                    <a:pt x="1063" y="408"/>
                  </a:lnTo>
                  <a:close/>
                  <a:moveTo>
                    <a:pt x="918" y="326"/>
                  </a:moveTo>
                  <a:lnTo>
                    <a:pt x="921" y="325"/>
                  </a:lnTo>
                  <a:lnTo>
                    <a:pt x="922" y="325"/>
                  </a:lnTo>
                  <a:lnTo>
                    <a:pt x="923" y="323"/>
                  </a:lnTo>
                  <a:lnTo>
                    <a:pt x="924" y="322"/>
                  </a:lnTo>
                  <a:lnTo>
                    <a:pt x="925" y="319"/>
                  </a:lnTo>
                  <a:lnTo>
                    <a:pt x="924" y="318"/>
                  </a:lnTo>
                  <a:lnTo>
                    <a:pt x="923" y="311"/>
                  </a:lnTo>
                  <a:lnTo>
                    <a:pt x="922" y="304"/>
                  </a:lnTo>
                  <a:lnTo>
                    <a:pt x="920" y="297"/>
                  </a:lnTo>
                  <a:lnTo>
                    <a:pt x="917" y="291"/>
                  </a:lnTo>
                  <a:lnTo>
                    <a:pt x="915" y="286"/>
                  </a:lnTo>
                  <a:lnTo>
                    <a:pt x="911" y="281"/>
                  </a:lnTo>
                  <a:lnTo>
                    <a:pt x="908" y="277"/>
                  </a:lnTo>
                  <a:lnTo>
                    <a:pt x="904" y="273"/>
                  </a:lnTo>
                  <a:lnTo>
                    <a:pt x="900" y="270"/>
                  </a:lnTo>
                  <a:lnTo>
                    <a:pt x="895" y="267"/>
                  </a:lnTo>
                  <a:lnTo>
                    <a:pt x="890" y="265"/>
                  </a:lnTo>
                  <a:lnTo>
                    <a:pt x="885" y="263"/>
                  </a:lnTo>
                  <a:lnTo>
                    <a:pt x="879" y="262"/>
                  </a:lnTo>
                  <a:lnTo>
                    <a:pt x="873" y="261"/>
                  </a:lnTo>
                  <a:lnTo>
                    <a:pt x="866" y="260"/>
                  </a:lnTo>
                  <a:lnTo>
                    <a:pt x="860" y="260"/>
                  </a:lnTo>
                  <a:lnTo>
                    <a:pt x="854" y="260"/>
                  </a:lnTo>
                  <a:lnTo>
                    <a:pt x="849" y="261"/>
                  </a:lnTo>
                  <a:lnTo>
                    <a:pt x="844" y="262"/>
                  </a:lnTo>
                  <a:lnTo>
                    <a:pt x="839" y="263"/>
                  </a:lnTo>
                  <a:lnTo>
                    <a:pt x="834" y="265"/>
                  </a:lnTo>
                  <a:lnTo>
                    <a:pt x="830" y="267"/>
                  </a:lnTo>
                  <a:lnTo>
                    <a:pt x="826" y="270"/>
                  </a:lnTo>
                  <a:lnTo>
                    <a:pt x="821" y="273"/>
                  </a:lnTo>
                  <a:lnTo>
                    <a:pt x="818" y="277"/>
                  </a:lnTo>
                  <a:lnTo>
                    <a:pt x="814" y="281"/>
                  </a:lnTo>
                  <a:lnTo>
                    <a:pt x="810" y="286"/>
                  </a:lnTo>
                  <a:lnTo>
                    <a:pt x="807" y="291"/>
                  </a:lnTo>
                  <a:lnTo>
                    <a:pt x="804" y="297"/>
                  </a:lnTo>
                  <a:lnTo>
                    <a:pt x="802" y="304"/>
                  </a:lnTo>
                  <a:lnTo>
                    <a:pt x="799" y="311"/>
                  </a:lnTo>
                  <a:lnTo>
                    <a:pt x="797" y="318"/>
                  </a:lnTo>
                  <a:lnTo>
                    <a:pt x="797" y="321"/>
                  </a:lnTo>
                  <a:lnTo>
                    <a:pt x="797" y="323"/>
                  </a:lnTo>
                  <a:lnTo>
                    <a:pt x="798" y="324"/>
                  </a:lnTo>
                  <a:lnTo>
                    <a:pt x="799" y="325"/>
                  </a:lnTo>
                  <a:lnTo>
                    <a:pt x="800" y="326"/>
                  </a:lnTo>
                  <a:lnTo>
                    <a:pt x="802" y="326"/>
                  </a:lnTo>
                  <a:lnTo>
                    <a:pt x="918" y="326"/>
                  </a:lnTo>
                  <a:close/>
                  <a:moveTo>
                    <a:pt x="1595" y="588"/>
                  </a:moveTo>
                  <a:lnTo>
                    <a:pt x="1577" y="588"/>
                  </a:lnTo>
                  <a:lnTo>
                    <a:pt x="1560" y="587"/>
                  </a:lnTo>
                  <a:lnTo>
                    <a:pt x="1543" y="585"/>
                  </a:lnTo>
                  <a:lnTo>
                    <a:pt x="1528" y="584"/>
                  </a:lnTo>
                  <a:lnTo>
                    <a:pt x="1513" y="581"/>
                  </a:lnTo>
                  <a:lnTo>
                    <a:pt x="1499" y="578"/>
                  </a:lnTo>
                  <a:lnTo>
                    <a:pt x="1485" y="575"/>
                  </a:lnTo>
                  <a:lnTo>
                    <a:pt x="1472" y="571"/>
                  </a:lnTo>
                  <a:lnTo>
                    <a:pt x="1460" y="567"/>
                  </a:lnTo>
                  <a:lnTo>
                    <a:pt x="1449" y="563"/>
                  </a:lnTo>
                  <a:lnTo>
                    <a:pt x="1438" y="558"/>
                  </a:lnTo>
                  <a:lnTo>
                    <a:pt x="1427" y="553"/>
                  </a:lnTo>
                  <a:lnTo>
                    <a:pt x="1418" y="548"/>
                  </a:lnTo>
                  <a:lnTo>
                    <a:pt x="1409" y="543"/>
                  </a:lnTo>
                  <a:lnTo>
                    <a:pt x="1393" y="532"/>
                  </a:lnTo>
                  <a:lnTo>
                    <a:pt x="1391" y="531"/>
                  </a:lnTo>
                  <a:lnTo>
                    <a:pt x="1390" y="529"/>
                  </a:lnTo>
                  <a:lnTo>
                    <a:pt x="1389" y="527"/>
                  </a:lnTo>
                  <a:lnTo>
                    <a:pt x="1389" y="525"/>
                  </a:lnTo>
                  <a:lnTo>
                    <a:pt x="1390" y="523"/>
                  </a:lnTo>
                  <a:lnTo>
                    <a:pt x="1391" y="522"/>
                  </a:lnTo>
                  <a:lnTo>
                    <a:pt x="1440" y="446"/>
                  </a:lnTo>
                  <a:lnTo>
                    <a:pt x="1442" y="444"/>
                  </a:lnTo>
                  <a:lnTo>
                    <a:pt x="1443" y="444"/>
                  </a:lnTo>
                  <a:lnTo>
                    <a:pt x="1444" y="443"/>
                  </a:lnTo>
                  <a:lnTo>
                    <a:pt x="1446" y="443"/>
                  </a:lnTo>
                  <a:lnTo>
                    <a:pt x="1448" y="444"/>
                  </a:lnTo>
                  <a:lnTo>
                    <a:pt x="1450" y="445"/>
                  </a:lnTo>
                  <a:lnTo>
                    <a:pt x="1465" y="456"/>
                  </a:lnTo>
                  <a:lnTo>
                    <a:pt x="1483" y="465"/>
                  </a:lnTo>
                  <a:lnTo>
                    <a:pt x="1501" y="473"/>
                  </a:lnTo>
                  <a:lnTo>
                    <a:pt x="1510" y="476"/>
                  </a:lnTo>
                  <a:lnTo>
                    <a:pt x="1520" y="479"/>
                  </a:lnTo>
                  <a:lnTo>
                    <a:pt x="1529" y="482"/>
                  </a:lnTo>
                  <a:lnTo>
                    <a:pt x="1539" y="485"/>
                  </a:lnTo>
                  <a:lnTo>
                    <a:pt x="1558" y="489"/>
                  </a:lnTo>
                  <a:lnTo>
                    <a:pt x="1576" y="491"/>
                  </a:lnTo>
                  <a:lnTo>
                    <a:pt x="1594" y="492"/>
                  </a:lnTo>
                  <a:lnTo>
                    <a:pt x="1604" y="491"/>
                  </a:lnTo>
                  <a:lnTo>
                    <a:pt x="1613" y="490"/>
                  </a:lnTo>
                  <a:lnTo>
                    <a:pt x="1622" y="488"/>
                  </a:lnTo>
                  <a:lnTo>
                    <a:pt x="1629" y="486"/>
                  </a:lnTo>
                  <a:lnTo>
                    <a:pt x="1632" y="484"/>
                  </a:lnTo>
                  <a:lnTo>
                    <a:pt x="1635" y="482"/>
                  </a:lnTo>
                  <a:lnTo>
                    <a:pt x="1638" y="480"/>
                  </a:lnTo>
                  <a:lnTo>
                    <a:pt x="1640" y="477"/>
                  </a:lnTo>
                  <a:lnTo>
                    <a:pt x="1642" y="474"/>
                  </a:lnTo>
                  <a:lnTo>
                    <a:pt x="1643" y="471"/>
                  </a:lnTo>
                  <a:lnTo>
                    <a:pt x="1644" y="468"/>
                  </a:lnTo>
                  <a:lnTo>
                    <a:pt x="1644" y="464"/>
                  </a:lnTo>
                  <a:lnTo>
                    <a:pt x="1644" y="461"/>
                  </a:lnTo>
                  <a:lnTo>
                    <a:pt x="1643" y="457"/>
                  </a:lnTo>
                  <a:lnTo>
                    <a:pt x="1642" y="454"/>
                  </a:lnTo>
                  <a:lnTo>
                    <a:pt x="1641" y="451"/>
                  </a:lnTo>
                  <a:lnTo>
                    <a:pt x="1640" y="449"/>
                  </a:lnTo>
                  <a:lnTo>
                    <a:pt x="1638" y="448"/>
                  </a:lnTo>
                  <a:lnTo>
                    <a:pt x="1636" y="445"/>
                  </a:lnTo>
                  <a:lnTo>
                    <a:pt x="1629" y="441"/>
                  </a:lnTo>
                  <a:lnTo>
                    <a:pt x="1620" y="437"/>
                  </a:lnTo>
                  <a:lnTo>
                    <a:pt x="1609" y="434"/>
                  </a:lnTo>
                  <a:lnTo>
                    <a:pt x="1595" y="432"/>
                  </a:lnTo>
                  <a:lnTo>
                    <a:pt x="1579" y="429"/>
                  </a:lnTo>
                  <a:lnTo>
                    <a:pt x="1551" y="425"/>
                  </a:lnTo>
                  <a:lnTo>
                    <a:pt x="1537" y="422"/>
                  </a:lnTo>
                  <a:lnTo>
                    <a:pt x="1522" y="419"/>
                  </a:lnTo>
                  <a:lnTo>
                    <a:pt x="1508" y="415"/>
                  </a:lnTo>
                  <a:lnTo>
                    <a:pt x="1493" y="411"/>
                  </a:lnTo>
                  <a:lnTo>
                    <a:pt x="1480" y="405"/>
                  </a:lnTo>
                  <a:lnTo>
                    <a:pt x="1466" y="398"/>
                  </a:lnTo>
                  <a:lnTo>
                    <a:pt x="1460" y="395"/>
                  </a:lnTo>
                  <a:lnTo>
                    <a:pt x="1454" y="391"/>
                  </a:lnTo>
                  <a:lnTo>
                    <a:pt x="1448" y="386"/>
                  </a:lnTo>
                  <a:lnTo>
                    <a:pt x="1443" y="382"/>
                  </a:lnTo>
                  <a:lnTo>
                    <a:pt x="1438" y="377"/>
                  </a:lnTo>
                  <a:lnTo>
                    <a:pt x="1433" y="371"/>
                  </a:lnTo>
                  <a:lnTo>
                    <a:pt x="1428" y="366"/>
                  </a:lnTo>
                  <a:lnTo>
                    <a:pt x="1424" y="359"/>
                  </a:lnTo>
                  <a:lnTo>
                    <a:pt x="1420" y="353"/>
                  </a:lnTo>
                  <a:lnTo>
                    <a:pt x="1417" y="346"/>
                  </a:lnTo>
                  <a:lnTo>
                    <a:pt x="1414" y="338"/>
                  </a:lnTo>
                  <a:lnTo>
                    <a:pt x="1411" y="330"/>
                  </a:lnTo>
                  <a:lnTo>
                    <a:pt x="1410" y="322"/>
                  </a:lnTo>
                  <a:lnTo>
                    <a:pt x="1408" y="313"/>
                  </a:lnTo>
                  <a:lnTo>
                    <a:pt x="1408" y="308"/>
                  </a:lnTo>
                  <a:lnTo>
                    <a:pt x="1407" y="304"/>
                  </a:lnTo>
                  <a:lnTo>
                    <a:pt x="1407" y="294"/>
                  </a:lnTo>
                  <a:lnTo>
                    <a:pt x="1407" y="285"/>
                  </a:lnTo>
                  <a:lnTo>
                    <a:pt x="1408" y="277"/>
                  </a:lnTo>
                  <a:lnTo>
                    <a:pt x="1409" y="268"/>
                  </a:lnTo>
                  <a:lnTo>
                    <a:pt x="1410" y="261"/>
                  </a:lnTo>
                  <a:lnTo>
                    <a:pt x="1412" y="253"/>
                  </a:lnTo>
                  <a:lnTo>
                    <a:pt x="1415" y="246"/>
                  </a:lnTo>
                  <a:lnTo>
                    <a:pt x="1417" y="239"/>
                  </a:lnTo>
                  <a:lnTo>
                    <a:pt x="1420" y="232"/>
                  </a:lnTo>
                  <a:lnTo>
                    <a:pt x="1424" y="225"/>
                  </a:lnTo>
                  <a:lnTo>
                    <a:pt x="1428" y="219"/>
                  </a:lnTo>
                  <a:lnTo>
                    <a:pt x="1436" y="208"/>
                  </a:lnTo>
                  <a:lnTo>
                    <a:pt x="1441" y="202"/>
                  </a:lnTo>
                  <a:lnTo>
                    <a:pt x="1446" y="197"/>
                  </a:lnTo>
                  <a:lnTo>
                    <a:pt x="1457" y="188"/>
                  </a:lnTo>
                  <a:lnTo>
                    <a:pt x="1463" y="183"/>
                  </a:lnTo>
                  <a:lnTo>
                    <a:pt x="1469" y="179"/>
                  </a:lnTo>
                  <a:lnTo>
                    <a:pt x="1483" y="172"/>
                  </a:lnTo>
                  <a:lnTo>
                    <a:pt x="1490" y="169"/>
                  </a:lnTo>
                  <a:lnTo>
                    <a:pt x="1497" y="166"/>
                  </a:lnTo>
                  <a:lnTo>
                    <a:pt x="1512" y="161"/>
                  </a:lnTo>
                  <a:lnTo>
                    <a:pt x="1528" y="157"/>
                  </a:lnTo>
                  <a:lnTo>
                    <a:pt x="1544" y="154"/>
                  </a:lnTo>
                  <a:lnTo>
                    <a:pt x="1561" y="152"/>
                  </a:lnTo>
                  <a:lnTo>
                    <a:pt x="1579" y="152"/>
                  </a:lnTo>
                  <a:lnTo>
                    <a:pt x="1595" y="152"/>
                  </a:lnTo>
                  <a:lnTo>
                    <a:pt x="1611" y="153"/>
                  </a:lnTo>
                  <a:lnTo>
                    <a:pt x="1626" y="154"/>
                  </a:lnTo>
                  <a:lnTo>
                    <a:pt x="1641" y="156"/>
                  </a:lnTo>
                  <a:lnTo>
                    <a:pt x="1654" y="158"/>
                  </a:lnTo>
                  <a:lnTo>
                    <a:pt x="1667" y="160"/>
                  </a:lnTo>
                  <a:lnTo>
                    <a:pt x="1679" y="163"/>
                  </a:lnTo>
                  <a:lnTo>
                    <a:pt x="1691" y="167"/>
                  </a:lnTo>
                  <a:lnTo>
                    <a:pt x="1702" y="170"/>
                  </a:lnTo>
                  <a:lnTo>
                    <a:pt x="1713" y="174"/>
                  </a:lnTo>
                  <a:lnTo>
                    <a:pt x="1723" y="179"/>
                  </a:lnTo>
                  <a:lnTo>
                    <a:pt x="1733" y="183"/>
                  </a:lnTo>
                  <a:lnTo>
                    <a:pt x="1742" y="188"/>
                  </a:lnTo>
                  <a:lnTo>
                    <a:pt x="1751" y="194"/>
                  </a:lnTo>
                  <a:lnTo>
                    <a:pt x="1768" y="205"/>
                  </a:lnTo>
                  <a:lnTo>
                    <a:pt x="1770" y="207"/>
                  </a:lnTo>
                  <a:lnTo>
                    <a:pt x="1771" y="209"/>
                  </a:lnTo>
                  <a:lnTo>
                    <a:pt x="1772" y="211"/>
                  </a:lnTo>
                  <a:lnTo>
                    <a:pt x="1772" y="212"/>
                  </a:lnTo>
                  <a:lnTo>
                    <a:pt x="1771" y="215"/>
                  </a:lnTo>
                  <a:lnTo>
                    <a:pt x="1770" y="216"/>
                  </a:lnTo>
                  <a:lnTo>
                    <a:pt x="1722" y="288"/>
                  </a:lnTo>
                  <a:lnTo>
                    <a:pt x="1720" y="290"/>
                  </a:lnTo>
                  <a:lnTo>
                    <a:pt x="1718" y="292"/>
                  </a:lnTo>
                  <a:lnTo>
                    <a:pt x="1716" y="292"/>
                  </a:lnTo>
                  <a:lnTo>
                    <a:pt x="1715" y="292"/>
                  </a:lnTo>
                  <a:lnTo>
                    <a:pt x="1711" y="292"/>
                  </a:lnTo>
                  <a:lnTo>
                    <a:pt x="1708" y="290"/>
                  </a:lnTo>
                  <a:lnTo>
                    <a:pt x="1693" y="282"/>
                  </a:lnTo>
                  <a:lnTo>
                    <a:pt x="1677" y="274"/>
                  </a:lnTo>
                  <a:lnTo>
                    <a:pt x="1662" y="268"/>
                  </a:lnTo>
                  <a:lnTo>
                    <a:pt x="1647" y="263"/>
                  </a:lnTo>
                  <a:lnTo>
                    <a:pt x="1633" y="258"/>
                  </a:lnTo>
                  <a:lnTo>
                    <a:pt x="1619" y="255"/>
                  </a:lnTo>
                  <a:lnTo>
                    <a:pt x="1612" y="254"/>
                  </a:lnTo>
                  <a:lnTo>
                    <a:pt x="1606" y="254"/>
                  </a:lnTo>
                  <a:lnTo>
                    <a:pt x="1593" y="253"/>
                  </a:lnTo>
                  <a:lnTo>
                    <a:pt x="1584" y="253"/>
                  </a:lnTo>
                  <a:lnTo>
                    <a:pt x="1576" y="254"/>
                  </a:lnTo>
                  <a:lnTo>
                    <a:pt x="1568" y="256"/>
                  </a:lnTo>
                  <a:lnTo>
                    <a:pt x="1562" y="259"/>
                  </a:lnTo>
                  <a:lnTo>
                    <a:pt x="1560" y="261"/>
                  </a:lnTo>
                  <a:lnTo>
                    <a:pt x="1557" y="263"/>
                  </a:lnTo>
                  <a:lnTo>
                    <a:pt x="1554" y="267"/>
                  </a:lnTo>
                  <a:lnTo>
                    <a:pt x="1552" y="270"/>
                  </a:lnTo>
                  <a:lnTo>
                    <a:pt x="1551" y="273"/>
                  </a:lnTo>
                  <a:lnTo>
                    <a:pt x="1551" y="276"/>
                  </a:lnTo>
                  <a:lnTo>
                    <a:pt x="1550" y="280"/>
                  </a:lnTo>
                  <a:lnTo>
                    <a:pt x="1551" y="283"/>
                  </a:lnTo>
                  <a:lnTo>
                    <a:pt x="1551" y="286"/>
                  </a:lnTo>
                  <a:lnTo>
                    <a:pt x="1553" y="289"/>
                  </a:lnTo>
                  <a:lnTo>
                    <a:pt x="1555" y="292"/>
                  </a:lnTo>
                  <a:lnTo>
                    <a:pt x="1557" y="295"/>
                  </a:lnTo>
                  <a:lnTo>
                    <a:pt x="1560" y="297"/>
                  </a:lnTo>
                  <a:lnTo>
                    <a:pt x="1563" y="299"/>
                  </a:lnTo>
                  <a:lnTo>
                    <a:pt x="1567" y="301"/>
                  </a:lnTo>
                  <a:lnTo>
                    <a:pt x="1576" y="304"/>
                  </a:lnTo>
                  <a:lnTo>
                    <a:pt x="1587" y="307"/>
                  </a:lnTo>
                  <a:lnTo>
                    <a:pt x="1600" y="309"/>
                  </a:lnTo>
                  <a:lnTo>
                    <a:pt x="1615" y="312"/>
                  </a:lnTo>
                  <a:lnTo>
                    <a:pt x="1642" y="316"/>
                  </a:lnTo>
                  <a:lnTo>
                    <a:pt x="1657" y="318"/>
                  </a:lnTo>
                  <a:lnTo>
                    <a:pt x="1672" y="321"/>
                  </a:lnTo>
                  <a:lnTo>
                    <a:pt x="1686" y="325"/>
                  </a:lnTo>
                  <a:lnTo>
                    <a:pt x="1701" y="329"/>
                  </a:lnTo>
                  <a:lnTo>
                    <a:pt x="1715" y="334"/>
                  </a:lnTo>
                  <a:lnTo>
                    <a:pt x="1728" y="340"/>
                  </a:lnTo>
                  <a:lnTo>
                    <a:pt x="1740" y="348"/>
                  </a:lnTo>
                  <a:lnTo>
                    <a:pt x="1746" y="352"/>
                  </a:lnTo>
                  <a:lnTo>
                    <a:pt x="1752" y="356"/>
                  </a:lnTo>
                  <a:lnTo>
                    <a:pt x="1757" y="361"/>
                  </a:lnTo>
                  <a:lnTo>
                    <a:pt x="1762" y="366"/>
                  </a:lnTo>
                  <a:lnTo>
                    <a:pt x="1766" y="371"/>
                  </a:lnTo>
                  <a:lnTo>
                    <a:pt x="1771" y="377"/>
                  </a:lnTo>
                  <a:lnTo>
                    <a:pt x="1774" y="383"/>
                  </a:lnTo>
                  <a:lnTo>
                    <a:pt x="1778" y="390"/>
                  </a:lnTo>
                  <a:lnTo>
                    <a:pt x="1781" y="397"/>
                  </a:lnTo>
                  <a:lnTo>
                    <a:pt x="1783" y="404"/>
                  </a:lnTo>
                  <a:lnTo>
                    <a:pt x="1785" y="412"/>
                  </a:lnTo>
                  <a:lnTo>
                    <a:pt x="1787" y="420"/>
                  </a:lnTo>
                  <a:lnTo>
                    <a:pt x="1787" y="425"/>
                  </a:lnTo>
                  <a:lnTo>
                    <a:pt x="1787" y="429"/>
                  </a:lnTo>
                  <a:lnTo>
                    <a:pt x="1788" y="438"/>
                  </a:lnTo>
                  <a:lnTo>
                    <a:pt x="1787" y="449"/>
                  </a:lnTo>
                  <a:lnTo>
                    <a:pt x="1787" y="458"/>
                  </a:lnTo>
                  <a:lnTo>
                    <a:pt x="1785" y="468"/>
                  </a:lnTo>
                  <a:lnTo>
                    <a:pt x="1783" y="477"/>
                  </a:lnTo>
                  <a:lnTo>
                    <a:pt x="1781" y="485"/>
                  </a:lnTo>
                  <a:lnTo>
                    <a:pt x="1778" y="494"/>
                  </a:lnTo>
                  <a:lnTo>
                    <a:pt x="1775" y="501"/>
                  </a:lnTo>
                  <a:lnTo>
                    <a:pt x="1771" y="509"/>
                  </a:lnTo>
                  <a:lnTo>
                    <a:pt x="1767" y="516"/>
                  </a:lnTo>
                  <a:lnTo>
                    <a:pt x="1763" y="523"/>
                  </a:lnTo>
                  <a:lnTo>
                    <a:pt x="1758" y="529"/>
                  </a:lnTo>
                  <a:lnTo>
                    <a:pt x="1752" y="535"/>
                  </a:lnTo>
                  <a:lnTo>
                    <a:pt x="1747" y="540"/>
                  </a:lnTo>
                  <a:lnTo>
                    <a:pt x="1741" y="546"/>
                  </a:lnTo>
                  <a:lnTo>
                    <a:pt x="1734" y="550"/>
                  </a:lnTo>
                  <a:lnTo>
                    <a:pt x="1728" y="555"/>
                  </a:lnTo>
                  <a:lnTo>
                    <a:pt x="1721" y="559"/>
                  </a:lnTo>
                  <a:lnTo>
                    <a:pt x="1714" y="563"/>
                  </a:lnTo>
                  <a:lnTo>
                    <a:pt x="1699" y="570"/>
                  </a:lnTo>
                  <a:lnTo>
                    <a:pt x="1683" y="576"/>
                  </a:lnTo>
                  <a:lnTo>
                    <a:pt x="1675" y="578"/>
                  </a:lnTo>
                  <a:lnTo>
                    <a:pt x="1666" y="580"/>
                  </a:lnTo>
                  <a:lnTo>
                    <a:pt x="1649" y="584"/>
                  </a:lnTo>
                  <a:lnTo>
                    <a:pt x="1631" y="586"/>
                  </a:lnTo>
                  <a:lnTo>
                    <a:pt x="1613" y="588"/>
                  </a:lnTo>
                  <a:lnTo>
                    <a:pt x="1595" y="58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18" name="(c)" hidden="1"/>
          <p:cNvSpPr txBox="1"/>
          <p:nvPr userDrawn="1"/>
        </p:nvSpPr>
        <p:spPr>
          <a:xfrm>
            <a:off x="11946442" y="6891795"/>
            <a:ext cx="238848" cy="30778"/>
          </a:xfrm>
          <a:prstGeom prst="rect">
            <a:avLst/>
          </a:prstGeom>
          <a:noFill/>
        </p:spPr>
        <p:txBody>
          <a:bodyPr wrap="none" lIns="0" tIns="0" rIns="0" bIns="0" rtlCol="0">
            <a:spAutoFit/>
          </a:bodyPr>
          <a:lstStyle/>
          <a:p>
            <a:pPr algn="r"/>
            <a:r>
              <a:rPr lang="fi-FI" sz="200">
                <a:solidFill>
                  <a:schemeClr val="bg1"/>
                </a:solidFill>
                <a:latin typeface="+mn-lt"/>
              </a:rPr>
              <a:t>©grow. for</a:t>
            </a:r>
            <a:r>
              <a:rPr lang="fi-FI" sz="200" baseline="0">
                <a:solidFill>
                  <a:schemeClr val="bg1"/>
                </a:solidFill>
                <a:latin typeface="+mn-lt"/>
              </a:rPr>
              <a:t> metsaliitto</a:t>
            </a:r>
            <a:endParaRPr lang="en-GB" sz="200" err="1">
              <a:solidFill>
                <a:schemeClr val="bg1"/>
              </a:solidFill>
              <a:latin typeface="+mn-lt"/>
            </a:endParaRPr>
          </a:p>
        </p:txBody>
      </p:sp>
      <p:pic>
        <p:nvPicPr>
          <p:cNvPr id="19" name="(logo)" descr="Z:\GRW (grow)\logot\copyright_grow.png" hidden="1"/>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0" y="-36000"/>
            <a:ext cx="60261" cy="1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5159870"/>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1219170" rtl="0" eaLnBrk="1" latinLnBrk="0" hangingPunct="1">
        <a:lnSpc>
          <a:spcPct val="90000"/>
        </a:lnSpc>
        <a:spcBef>
          <a:spcPct val="0"/>
        </a:spcBef>
        <a:buNone/>
        <a:defRPr sz="3200" b="1" kern="1200" spc="0" baseline="0">
          <a:solidFill>
            <a:schemeClr val="tx1"/>
          </a:solidFill>
          <a:latin typeface="+mj-lt"/>
          <a:ea typeface="+mj-ea"/>
          <a:cs typeface="+mj-cs"/>
        </a:defRPr>
      </a:lvl1pPr>
    </p:titleStyle>
    <p:bodyStyle>
      <a:lvl1pPr marL="269875" indent="-269875" algn="l" defTabSz="1219170" rtl="0" eaLnBrk="1" latinLnBrk="0" hangingPunct="1">
        <a:spcBef>
          <a:spcPts val="800"/>
        </a:spcBef>
        <a:buClr>
          <a:schemeClr val="tx1"/>
        </a:buClr>
        <a:buFont typeface="Arial" panose="020B0604020202020204" pitchFamily="34" charset="0"/>
        <a:buChar char="•"/>
        <a:defRPr sz="2000" kern="1200" spc="0" baseline="0">
          <a:solidFill>
            <a:schemeClr val="tx1"/>
          </a:solidFill>
          <a:latin typeface="+mn-lt"/>
          <a:ea typeface="+mn-ea"/>
          <a:cs typeface="+mn-cs"/>
        </a:defRPr>
      </a:lvl1pPr>
      <a:lvl2pPr marL="715963" indent="-269875" algn="l" defTabSz="1219170" rtl="0" eaLnBrk="1" latinLnBrk="0" hangingPunct="1">
        <a:spcBef>
          <a:spcPts val="800"/>
        </a:spcBef>
        <a:buClr>
          <a:schemeClr val="tx1"/>
        </a:buClr>
        <a:buFont typeface="Arial" panose="020B0604020202020204" pitchFamily="34" charset="0"/>
        <a:buChar char="–"/>
        <a:defRPr sz="1800" kern="1200" spc="0" baseline="0">
          <a:solidFill>
            <a:schemeClr val="tx1"/>
          </a:solidFill>
          <a:latin typeface="+mn-lt"/>
          <a:ea typeface="+mn-ea"/>
          <a:cs typeface="+mn-cs"/>
        </a:defRPr>
      </a:lvl2pPr>
      <a:lvl3pPr marL="985838" indent="-269875" algn="l" defTabSz="1219170" rtl="0" eaLnBrk="1" latinLnBrk="0" hangingPunct="1">
        <a:spcBef>
          <a:spcPts val="800"/>
        </a:spcBef>
        <a:buClr>
          <a:schemeClr val="tx1"/>
        </a:buClr>
        <a:buFont typeface="Arial" panose="020B0604020202020204" pitchFamily="34" charset="0"/>
        <a:buChar char="•"/>
        <a:defRPr sz="1600" kern="1200" spc="0" baseline="0">
          <a:solidFill>
            <a:schemeClr val="tx1"/>
          </a:solidFill>
          <a:latin typeface="+mn-lt"/>
          <a:ea typeface="+mn-ea"/>
          <a:cs typeface="+mn-cs"/>
        </a:defRPr>
      </a:lvl3pPr>
      <a:lvl4pPr marL="1431925" indent="-269875" algn="l" defTabSz="1219170" rtl="0" eaLnBrk="1" latinLnBrk="0" hangingPunct="1">
        <a:spcBef>
          <a:spcPts val="800"/>
        </a:spcBef>
        <a:buClr>
          <a:schemeClr val="tx1"/>
        </a:buClr>
        <a:buFont typeface="Arial" panose="020B0604020202020204" pitchFamily="34" charset="0"/>
        <a:buChar char="–"/>
        <a:defRPr sz="1400" kern="1200" spc="0" baseline="0">
          <a:solidFill>
            <a:schemeClr val="tx1"/>
          </a:solidFill>
          <a:latin typeface="+mn-lt"/>
          <a:ea typeface="+mn-ea"/>
          <a:cs typeface="+mn-cs"/>
        </a:defRPr>
      </a:lvl4pPr>
      <a:lvl5pPr marL="1701800" indent="-263525" algn="l" defTabSz="1219170" rtl="0" eaLnBrk="1" latinLnBrk="0" hangingPunct="1">
        <a:spcBef>
          <a:spcPts val="800"/>
        </a:spcBef>
        <a:buClr>
          <a:schemeClr val="tx1"/>
        </a:buClr>
        <a:buFont typeface="Arial" panose="020B0604020202020204" pitchFamily="34" charset="0"/>
        <a:buChar char="•"/>
        <a:defRPr sz="1400" kern="1200" spc="0" baseline="0">
          <a:solidFill>
            <a:schemeClr val="tx1"/>
          </a:solidFill>
          <a:latin typeface="+mn-lt"/>
          <a:ea typeface="+mn-ea"/>
          <a:cs typeface="+mn-cs"/>
        </a:defRPr>
      </a:lvl5pPr>
      <a:lvl6pPr marL="1971675" indent="-269875" algn="l" defTabSz="1219170" rtl="0" eaLnBrk="1" latinLnBrk="0" hangingPunct="1">
        <a:spcBef>
          <a:spcPts val="800"/>
        </a:spcBef>
        <a:buClr>
          <a:schemeClr val="tx1"/>
        </a:buClr>
        <a:buFont typeface="Arial" panose="020B0604020202020204" pitchFamily="34" charset="0"/>
        <a:buChar char="•"/>
        <a:defRPr sz="1200" kern="1200" spc="0" baseline="0">
          <a:solidFill>
            <a:schemeClr val="tx1"/>
          </a:solidFill>
          <a:latin typeface="+mn-lt"/>
          <a:ea typeface="+mn-ea"/>
          <a:cs typeface="+mn-cs"/>
        </a:defRPr>
      </a:lvl6pPr>
      <a:lvl7pPr marL="2241550" indent="-269875" algn="l" defTabSz="1219170" rtl="0" eaLnBrk="1" latinLnBrk="0" hangingPunct="1">
        <a:spcBef>
          <a:spcPts val="800"/>
        </a:spcBef>
        <a:buClr>
          <a:schemeClr val="tx1"/>
        </a:buClr>
        <a:buFont typeface="Arial" panose="020B0604020202020204" pitchFamily="34" charset="0"/>
        <a:buChar char="•"/>
        <a:defRPr sz="1200" kern="1200" spc="0" baseline="0">
          <a:solidFill>
            <a:schemeClr val="tx1"/>
          </a:solidFill>
          <a:latin typeface="+mn-lt"/>
          <a:ea typeface="+mn-ea"/>
          <a:cs typeface="+mn-cs"/>
        </a:defRPr>
      </a:lvl7pPr>
      <a:lvl8pPr marL="2513013" indent="-269875" algn="l" defTabSz="1219170" rtl="0" eaLnBrk="1" latinLnBrk="0" hangingPunct="1">
        <a:spcBef>
          <a:spcPts val="800"/>
        </a:spcBef>
        <a:buClr>
          <a:schemeClr val="tx1"/>
        </a:buClr>
        <a:buFont typeface="Arial" panose="020B0604020202020204" pitchFamily="34" charset="0"/>
        <a:buChar char="•"/>
        <a:defRPr sz="1200" kern="1200" spc="0" baseline="0">
          <a:solidFill>
            <a:schemeClr val="tx1"/>
          </a:solidFill>
          <a:latin typeface="+mn-lt"/>
          <a:ea typeface="+mn-ea"/>
          <a:cs typeface="+mn-cs"/>
        </a:defRPr>
      </a:lvl8pPr>
      <a:lvl9pPr marL="2782888" indent="-271463" algn="l" defTabSz="1219170" rtl="0" eaLnBrk="1" latinLnBrk="0" hangingPunct="1">
        <a:spcBef>
          <a:spcPts val="800"/>
        </a:spcBef>
        <a:buClr>
          <a:schemeClr val="tx1"/>
        </a:buClr>
        <a:buFont typeface="Arial" panose="020B0604020202020204" pitchFamily="34" charset="0"/>
        <a:buChar char="•"/>
        <a:defRPr sz="1200" kern="1200" spc="0" baseline="0">
          <a:solidFill>
            <a:schemeClr val="tx1"/>
          </a:solidFill>
          <a:latin typeface="+mn-lt"/>
          <a:ea typeface="+mn-ea"/>
          <a:cs typeface="+mn-cs"/>
        </a:defRPr>
      </a:lvl9pPr>
    </p:bodyStyle>
    <p:otherStyle>
      <a:defPPr>
        <a:defRPr lang="fi-FI"/>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6764" y="692150"/>
            <a:ext cx="10658474" cy="864642"/>
          </a:xfrm>
          <a:prstGeom prst="rect">
            <a:avLst/>
          </a:prstGeom>
        </p:spPr>
        <p:txBody>
          <a:bodyPr vert="horz" lIns="0" tIns="0" rIns="0" bIns="0" rtlCol="0" anchor="ctr" anchorCtr="0">
            <a:noAutofit/>
          </a:bodyPr>
          <a:lstStyle/>
          <a:p>
            <a:r>
              <a:rPr lang="en-US"/>
              <a:t>Click to edit Master title style</a:t>
            </a:r>
            <a:endParaRPr lang="fi-FI" dirty="0"/>
          </a:p>
        </p:txBody>
      </p:sp>
      <p:sp>
        <p:nvSpPr>
          <p:cNvPr id="3" name="Text Placeholder 2"/>
          <p:cNvSpPr>
            <a:spLocks noGrp="1"/>
          </p:cNvSpPr>
          <p:nvPr>
            <p:ph type="body" idx="1"/>
          </p:nvPr>
        </p:nvSpPr>
        <p:spPr>
          <a:xfrm>
            <a:off x="766764" y="1773238"/>
            <a:ext cx="10658474" cy="4176712"/>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2063552" y="6381329"/>
            <a:ext cx="1224137" cy="216023"/>
          </a:xfrm>
          <a:prstGeom prst="rect">
            <a:avLst/>
          </a:prstGeom>
        </p:spPr>
        <p:txBody>
          <a:bodyPr vert="horz" lIns="0" tIns="0" rIns="0" bIns="0" rtlCol="0" anchor="ctr" anchorCtr="0">
            <a:noAutofit/>
          </a:bodyPr>
          <a:lstStyle>
            <a:lvl1pPr algn="l">
              <a:defRPr sz="900">
                <a:solidFill>
                  <a:schemeClr val="tx1"/>
                </a:solidFill>
              </a:defRPr>
            </a:lvl1pPr>
          </a:lstStyle>
          <a:p>
            <a:fld id="{AF314441-2FE4-4BD1-95B4-A64228C03C95}" type="datetime1">
              <a:rPr lang="en-GB" smtClean="0"/>
              <a:t>22/10/2025</a:t>
            </a:fld>
            <a:endParaRPr lang="fi-FI" dirty="0"/>
          </a:p>
        </p:txBody>
      </p:sp>
      <p:sp>
        <p:nvSpPr>
          <p:cNvPr id="5" name="Footer Placeholder 4"/>
          <p:cNvSpPr>
            <a:spLocks noGrp="1"/>
          </p:cNvSpPr>
          <p:nvPr>
            <p:ph type="ftr" sz="quarter" idx="3"/>
          </p:nvPr>
        </p:nvSpPr>
        <p:spPr>
          <a:xfrm>
            <a:off x="3287688" y="6381328"/>
            <a:ext cx="8137550" cy="216024"/>
          </a:xfrm>
          <a:prstGeom prst="rect">
            <a:avLst/>
          </a:prstGeom>
        </p:spPr>
        <p:txBody>
          <a:bodyPr vert="horz" lIns="0" tIns="0" rIns="0" bIns="0" rtlCol="0" anchor="ctr" anchorCtr="0">
            <a:noAutofit/>
          </a:bodyPr>
          <a:lstStyle>
            <a:lvl1pPr algn="l">
              <a:defRPr sz="900">
                <a:solidFill>
                  <a:schemeClr val="tx1"/>
                </a:solidFill>
              </a:defRPr>
            </a:lvl1pPr>
          </a:lstStyle>
          <a:p>
            <a:r>
              <a:rPr lang="fi-FI"/>
              <a:t>Katariina Kemppainen</a:t>
            </a:r>
            <a:endParaRPr lang="fi-FI" dirty="0"/>
          </a:p>
        </p:txBody>
      </p:sp>
      <p:sp>
        <p:nvSpPr>
          <p:cNvPr id="6" name="Slide Number Placeholder 5"/>
          <p:cNvSpPr>
            <a:spLocks noGrp="1"/>
          </p:cNvSpPr>
          <p:nvPr>
            <p:ph type="sldNum" sz="quarter" idx="4"/>
          </p:nvPr>
        </p:nvSpPr>
        <p:spPr>
          <a:xfrm>
            <a:off x="11425239" y="6381329"/>
            <a:ext cx="431800" cy="216023"/>
          </a:xfrm>
          <a:prstGeom prst="rect">
            <a:avLst/>
          </a:prstGeom>
        </p:spPr>
        <p:txBody>
          <a:bodyPr vert="horz" lIns="0" tIns="0" rIns="0" bIns="0" rtlCol="0" anchor="ctr" anchorCtr="0">
            <a:noAutofit/>
          </a:bodyPr>
          <a:lstStyle>
            <a:lvl1pPr algn="r">
              <a:defRPr sz="900">
                <a:solidFill>
                  <a:schemeClr val="tx1"/>
                </a:solidFill>
              </a:defRPr>
            </a:lvl1pPr>
          </a:lstStyle>
          <a:p>
            <a:fld id="{49A25110-65A2-4B67-BF3F-8D6D3162EF46}" type="slidenum">
              <a:rPr lang="fi-FI" smtClean="0"/>
              <a:pPr/>
              <a:t>‹#›</a:t>
            </a:fld>
            <a:endParaRPr lang="fi-FI" dirty="0"/>
          </a:p>
        </p:txBody>
      </p:sp>
      <p:grpSp>
        <p:nvGrpSpPr>
          <p:cNvPr id="15" name="Group 14"/>
          <p:cNvGrpSpPr>
            <a:grpSpLocks noChangeAspect="1"/>
          </p:cNvGrpSpPr>
          <p:nvPr/>
        </p:nvGrpSpPr>
        <p:grpSpPr>
          <a:xfrm>
            <a:off x="335360" y="6093296"/>
            <a:ext cx="1243838" cy="432000"/>
            <a:chOff x="3279775" y="2451101"/>
            <a:chExt cx="5640388" cy="1958974"/>
          </a:xfrm>
        </p:grpSpPr>
        <p:sp>
          <p:nvSpPr>
            <p:cNvPr id="13" name="Freeform 6"/>
            <p:cNvSpPr>
              <a:spLocks/>
            </p:cNvSpPr>
            <p:nvPr userDrawn="1"/>
          </p:nvSpPr>
          <p:spPr bwMode="auto">
            <a:xfrm>
              <a:off x="3279775" y="2451101"/>
              <a:ext cx="1838325" cy="1944687"/>
            </a:xfrm>
            <a:custGeom>
              <a:avLst/>
              <a:gdLst>
                <a:gd name="T0" fmla="*/ 978 w 1158"/>
                <a:gd name="T1" fmla="*/ 608 h 1225"/>
                <a:gd name="T2" fmla="*/ 974 w 1158"/>
                <a:gd name="T3" fmla="*/ 610 h 1225"/>
                <a:gd name="T4" fmla="*/ 968 w 1158"/>
                <a:gd name="T5" fmla="*/ 608 h 1225"/>
                <a:gd name="T6" fmla="*/ 966 w 1158"/>
                <a:gd name="T7" fmla="*/ 134 h 1225"/>
                <a:gd name="T8" fmla="*/ 963 w 1158"/>
                <a:gd name="T9" fmla="*/ 128 h 1225"/>
                <a:gd name="T10" fmla="*/ 956 w 1158"/>
                <a:gd name="T11" fmla="*/ 128 h 1225"/>
                <a:gd name="T12" fmla="*/ 953 w 1158"/>
                <a:gd name="T13" fmla="*/ 132 h 1225"/>
                <a:gd name="T14" fmla="*/ 784 w 1158"/>
                <a:gd name="T15" fmla="*/ 603 h 1225"/>
                <a:gd name="T16" fmla="*/ 779 w 1158"/>
                <a:gd name="T17" fmla="*/ 607 h 1225"/>
                <a:gd name="T18" fmla="*/ 773 w 1158"/>
                <a:gd name="T19" fmla="*/ 605 h 1225"/>
                <a:gd name="T20" fmla="*/ 771 w 1158"/>
                <a:gd name="T21" fmla="*/ 466 h 1225"/>
                <a:gd name="T22" fmla="*/ 769 w 1158"/>
                <a:gd name="T23" fmla="*/ 461 h 1225"/>
                <a:gd name="T24" fmla="*/ 764 w 1158"/>
                <a:gd name="T25" fmla="*/ 459 h 1225"/>
                <a:gd name="T26" fmla="*/ 584 w 1158"/>
                <a:gd name="T27" fmla="*/ 614 h 1225"/>
                <a:gd name="T28" fmla="*/ 579 w 1158"/>
                <a:gd name="T29" fmla="*/ 616 h 1225"/>
                <a:gd name="T30" fmla="*/ 396 w 1158"/>
                <a:gd name="T31" fmla="*/ 461 h 1225"/>
                <a:gd name="T32" fmla="*/ 390 w 1158"/>
                <a:gd name="T33" fmla="*/ 460 h 1225"/>
                <a:gd name="T34" fmla="*/ 386 w 1158"/>
                <a:gd name="T35" fmla="*/ 464 h 1225"/>
                <a:gd name="T36" fmla="*/ 386 w 1158"/>
                <a:gd name="T37" fmla="*/ 603 h 1225"/>
                <a:gd name="T38" fmla="*/ 381 w 1158"/>
                <a:gd name="T39" fmla="*/ 607 h 1225"/>
                <a:gd name="T40" fmla="*/ 375 w 1158"/>
                <a:gd name="T41" fmla="*/ 605 h 1225"/>
                <a:gd name="T42" fmla="*/ 292 w 1158"/>
                <a:gd name="T43" fmla="*/ 378 h 1225"/>
                <a:gd name="T44" fmla="*/ 203 w 1158"/>
                <a:gd name="T45" fmla="*/ 130 h 1225"/>
                <a:gd name="T46" fmla="*/ 197 w 1158"/>
                <a:gd name="T47" fmla="*/ 128 h 1225"/>
                <a:gd name="T48" fmla="*/ 192 w 1158"/>
                <a:gd name="T49" fmla="*/ 132 h 1225"/>
                <a:gd name="T50" fmla="*/ 191 w 1158"/>
                <a:gd name="T51" fmla="*/ 606 h 1225"/>
                <a:gd name="T52" fmla="*/ 186 w 1158"/>
                <a:gd name="T53" fmla="*/ 610 h 1225"/>
                <a:gd name="T54" fmla="*/ 181 w 1158"/>
                <a:gd name="T55" fmla="*/ 609 h 1225"/>
                <a:gd name="T56" fmla="*/ 13 w 1158"/>
                <a:gd name="T57" fmla="*/ 5 h 1225"/>
                <a:gd name="T58" fmla="*/ 10 w 1158"/>
                <a:gd name="T59" fmla="*/ 1 h 1225"/>
                <a:gd name="T60" fmla="*/ 4 w 1158"/>
                <a:gd name="T61" fmla="*/ 1 h 1225"/>
                <a:gd name="T62" fmla="*/ 0 w 1158"/>
                <a:gd name="T63" fmla="*/ 7 h 1225"/>
                <a:gd name="T64" fmla="*/ 1 w 1158"/>
                <a:gd name="T65" fmla="*/ 552 h 1225"/>
                <a:gd name="T66" fmla="*/ 147 w 1158"/>
                <a:gd name="T67" fmla="*/ 644 h 1225"/>
                <a:gd name="T68" fmla="*/ 389 w 1158"/>
                <a:gd name="T69" fmla="*/ 646 h 1225"/>
                <a:gd name="T70" fmla="*/ 397 w 1158"/>
                <a:gd name="T71" fmla="*/ 649 h 1225"/>
                <a:gd name="T72" fmla="*/ 500 w 1158"/>
                <a:gd name="T73" fmla="*/ 909 h 1225"/>
                <a:gd name="T74" fmla="*/ 501 w 1158"/>
                <a:gd name="T75" fmla="*/ 917 h 1225"/>
                <a:gd name="T76" fmla="*/ 447 w 1158"/>
                <a:gd name="T77" fmla="*/ 1030 h 1225"/>
                <a:gd name="T78" fmla="*/ 519 w 1158"/>
                <a:gd name="T79" fmla="*/ 1218 h 1225"/>
                <a:gd name="T80" fmla="*/ 526 w 1158"/>
                <a:gd name="T81" fmla="*/ 1224 h 1225"/>
                <a:gd name="T82" fmla="*/ 629 w 1158"/>
                <a:gd name="T83" fmla="*/ 1225 h 1225"/>
                <a:gd name="T84" fmla="*/ 637 w 1158"/>
                <a:gd name="T85" fmla="*/ 1221 h 1225"/>
                <a:gd name="T86" fmla="*/ 710 w 1158"/>
                <a:gd name="T87" fmla="*/ 1036 h 1225"/>
                <a:gd name="T88" fmla="*/ 710 w 1158"/>
                <a:gd name="T89" fmla="*/ 1030 h 1225"/>
                <a:gd name="T90" fmla="*/ 657 w 1158"/>
                <a:gd name="T91" fmla="*/ 917 h 1225"/>
                <a:gd name="T92" fmla="*/ 758 w 1158"/>
                <a:gd name="T93" fmla="*/ 652 h 1225"/>
                <a:gd name="T94" fmla="*/ 765 w 1158"/>
                <a:gd name="T95" fmla="*/ 646 h 1225"/>
                <a:gd name="T96" fmla="*/ 1009 w 1158"/>
                <a:gd name="T97" fmla="*/ 645 h 1225"/>
                <a:gd name="T98" fmla="*/ 1155 w 1158"/>
                <a:gd name="T99" fmla="*/ 554 h 1225"/>
                <a:gd name="T100" fmla="*/ 1158 w 1158"/>
                <a:gd name="T101" fmla="*/ 549 h 1225"/>
                <a:gd name="T102" fmla="*/ 1158 w 1158"/>
                <a:gd name="T103" fmla="*/ 4 h 1225"/>
                <a:gd name="T104" fmla="*/ 1152 w 1158"/>
                <a:gd name="T105" fmla="*/ 0 h 1225"/>
                <a:gd name="T106" fmla="*/ 1146 w 1158"/>
                <a:gd name="T107" fmla="*/ 3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8" h="1225">
                  <a:moveTo>
                    <a:pt x="1145" y="5"/>
                  </a:moveTo>
                  <a:lnTo>
                    <a:pt x="979" y="605"/>
                  </a:lnTo>
                  <a:lnTo>
                    <a:pt x="978" y="608"/>
                  </a:lnTo>
                  <a:lnTo>
                    <a:pt x="977" y="608"/>
                  </a:lnTo>
                  <a:lnTo>
                    <a:pt x="976" y="609"/>
                  </a:lnTo>
                  <a:lnTo>
                    <a:pt x="974" y="610"/>
                  </a:lnTo>
                  <a:lnTo>
                    <a:pt x="972" y="610"/>
                  </a:lnTo>
                  <a:lnTo>
                    <a:pt x="970" y="609"/>
                  </a:lnTo>
                  <a:lnTo>
                    <a:pt x="968" y="608"/>
                  </a:lnTo>
                  <a:lnTo>
                    <a:pt x="967" y="606"/>
                  </a:lnTo>
                  <a:lnTo>
                    <a:pt x="966" y="603"/>
                  </a:lnTo>
                  <a:lnTo>
                    <a:pt x="966" y="134"/>
                  </a:lnTo>
                  <a:lnTo>
                    <a:pt x="966" y="132"/>
                  </a:lnTo>
                  <a:lnTo>
                    <a:pt x="964" y="130"/>
                  </a:lnTo>
                  <a:lnTo>
                    <a:pt x="963" y="128"/>
                  </a:lnTo>
                  <a:lnTo>
                    <a:pt x="961" y="128"/>
                  </a:lnTo>
                  <a:lnTo>
                    <a:pt x="958" y="128"/>
                  </a:lnTo>
                  <a:lnTo>
                    <a:pt x="956" y="128"/>
                  </a:lnTo>
                  <a:lnTo>
                    <a:pt x="955" y="129"/>
                  </a:lnTo>
                  <a:lnTo>
                    <a:pt x="955" y="130"/>
                  </a:lnTo>
                  <a:lnTo>
                    <a:pt x="953" y="132"/>
                  </a:lnTo>
                  <a:lnTo>
                    <a:pt x="916" y="240"/>
                  </a:lnTo>
                  <a:lnTo>
                    <a:pt x="865" y="378"/>
                  </a:lnTo>
                  <a:lnTo>
                    <a:pt x="784" y="603"/>
                  </a:lnTo>
                  <a:lnTo>
                    <a:pt x="782" y="605"/>
                  </a:lnTo>
                  <a:lnTo>
                    <a:pt x="781" y="606"/>
                  </a:lnTo>
                  <a:lnTo>
                    <a:pt x="779" y="607"/>
                  </a:lnTo>
                  <a:lnTo>
                    <a:pt x="776" y="607"/>
                  </a:lnTo>
                  <a:lnTo>
                    <a:pt x="774" y="606"/>
                  </a:lnTo>
                  <a:lnTo>
                    <a:pt x="773" y="605"/>
                  </a:lnTo>
                  <a:lnTo>
                    <a:pt x="772" y="603"/>
                  </a:lnTo>
                  <a:lnTo>
                    <a:pt x="771" y="600"/>
                  </a:lnTo>
                  <a:lnTo>
                    <a:pt x="771" y="466"/>
                  </a:lnTo>
                  <a:lnTo>
                    <a:pt x="771" y="464"/>
                  </a:lnTo>
                  <a:lnTo>
                    <a:pt x="770" y="462"/>
                  </a:lnTo>
                  <a:lnTo>
                    <a:pt x="769" y="461"/>
                  </a:lnTo>
                  <a:lnTo>
                    <a:pt x="767" y="460"/>
                  </a:lnTo>
                  <a:lnTo>
                    <a:pt x="766" y="459"/>
                  </a:lnTo>
                  <a:lnTo>
                    <a:pt x="764" y="459"/>
                  </a:lnTo>
                  <a:lnTo>
                    <a:pt x="762" y="460"/>
                  </a:lnTo>
                  <a:lnTo>
                    <a:pt x="761" y="461"/>
                  </a:lnTo>
                  <a:lnTo>
                    <a:pt x="584" y="614"/>
                  </a:lnTo>
                  <a:lnTo>
                    <a:pt x="583" y="615"/>
                  </a:lnTo>
                  <a:lnTo>
                    <a:pt x="581" y="615"/>
                  </a:lnTo>
                  <a:lnTo>
                    <a:pt x="579" y="616"/>
                  </a:lnTo>
                  <a:lnTo>
                    <a:pt x="576" y="615"/>
                  </a:lnTo>
                  <a:lnTo>
                    <a:pt x="573" y="614"/>
                  </a:lnTo>
                  <a:lnTo>
                    <a:pt x="396" y="461"/>
                  </a:lnTo>
                  <a:lnTo>
                    <a:pt x="393" y="459"/>
                  </a:lnTo>
                  <a:lnTo>
                    <a:pt x="391" y="460"/>
                  </a:lnTo>
                  <a:lnTo>
                    <a:pt x="390" y="460"/>
                  </a:lnTo>
                  <a:lnTo>
                    <a:pt x="388" y="461"/>
                  </a:lnTo>
                  <a:lnTo>
                    <a:pt x="387" y="462"/>
                  </a:lnTo>
                  <a:lnTo>
                    <a:pt x="386" y="464"/>
                  </a:lnTo>
                  <a:lnTo>
                    <a:pt x="386" y="466"/>
                  </a:lnTo>
                  <a:lnTo>
                    <a:pt x="386" y="601"/>
                  </a:lnTo>
                  <a:lnTo>
                    <a:pt x="386" y="603"/>
                  </a:lnTo>
                  <a:lnTo>
                    <a:pt x="384" y="605"/>
                  </a:lnTo>
                  <a:lnTo>
                    <a:pt x="383" y="606"/>
                  </a:lnTo>
                  <a:lnTo>
                    <a:pt x="381" y="607"/>
                  </a:lnTo>
                  <a:lnTo>
                    <a:pt x="379" y="607"/>
                  </a:lnTo>
                  <a:lnTo>
                    <a:pt x="377" y="606"/>
                  </a:lnTo>
                  <a:lnTo>
                    <a:pt x="375" y="605"/>
                  </a:lnTo>
                  <a:lnTo>
                    <a:pt x="374" y="603"/>
                  </a:lnTo>
                  <a:lnTo>
                    <a:pt x="340" y="511"/>
                  </a:lnTo>
                  <a:lnTo>
                    <a:pt x="292" y="378"/>
                  </a:lnTo>
                  <a:lnTo>
                    <a:pt x="242" y="240"/>
                  </a:lnTo>
                  <a:lnTo>
                    <a:pt x="205" y="132"/>
                  </a:lnTo>
                  <a:lnTo>
                    <a:pt x="203" y="130"/>
                  </a:lnTo>
                  <a:lnTo>
                    <a:pt x="202" y="128"/>
                  </a:lnTo>
                  <a:lnTo>
                    <a:pt x="200" y="128"/>
                  </a:lnTo>
                  <a:lnTo>
                    <a:pt x="197" y="128"/>
                  </a:lnTo>
                  <a:lnTo>
                    <a:pt x="195" y="128"/>
                  </a:lnTo>
                  <a:lnTo>
                    <a:pt x="194" y="130"/>
                  </a:lnTo>
                  <a:lnTo>
                    <a:pt x="192" y="132"/>
                  </a:lnTo>
                  <a:lnTo>
                    <a:pt x="192" y="134"/>
                  </a:lnTo>
                  <a:lnTo>
                    <a:pt x="192" y="604"/>
                  </a:lnTo>
                  <a:lnTo>
                    <a:pt x="191" y="606"/>
                  </a:lnTo>
                  <a:lnTo>
                    <a:pt x="190" y="608"/>
                  </a:lnTo>
                  <a:lnTo>
                    <a:pt x="188" y="609"/>
                  </a:lnTo>
                  <a:lnTo>
                    <a:pt x="186" y="610"/>
                  </a:lnTo>
                  <a:lnTo>
                    <a:pt x="184" y="610"/>
                  </a:lnTo>
                  <a:lnTo>
                    <a:pt x="182" y="609"/>
                  </a:lnTo>
                  <a:lnTo>
                    <a:pt x="181" y="609"/>
                  </a:lnTo>
                  <a:lnTo>
                    <a:pt x="180" y="608"/>
                  </a:lnTo>
                  <a:lnTo>
                    <a:pt x="179" y="605"/>
                  </a:lnTo>
                  <a:lnTo>
                    <a:pt x="13" y="5"/>
                  </a:lnTo>
                  <a:lnTo>
                    <a:pt x="12" y="3"/>
                  </a:lnTo>
                  <a:lnTo>
                    <a:pt x="11" y="2"/>
                  </a:lnTo>
                  <a:lnTo>
                    <a:pt x="10" y="1"/>
                  </a:lnTo>
                  <a:lnTo>
                    <a:pt x="8" y="1"/>
                  </a:lnTo>
                  <a:lnTo>
                    <a:pt x="6" y="0"/>
                  </a:lnTo>
                  <a:lnTo>
                    <a:pt x="4" y="1"/>
                  </a:lnTo>
                  <a:lnTo>
                    <a:pt x="2" y="3"/>
                  </a:lnTo>
                  <a:lnTo>
                    <a:pt x="1" y="4"/>
                  </a:lnTo>
                  <a:lnTo>
                    <a:pt x="0" y="7"/>
                  </a:lnTo>
                  <a:lnTo>
                    <a:pt x="0" y="546"/>
                  </a:lnTo>
                  <a:lnTo>
                    <a:pt x="0" y="549"/>
                  </a:lnTo>
                  <a:lnTo>
                    <a:pt x="1" y="552"/>
                  </a:lnTo>
                  <a:lnTo>
                    <a:pt x="3" y="554"/>
                  </a:lnTo>
                  <a:lnTo>
                    <a:pt x="5" y="555"/>
                  </a:lnTo>
                  <a:lnTo>
                    <a:pt x="147" y="644"/>
                  </a:lnTo>
                  <a:lnTo>
                    <a:pt x="150" y="645"/>
                  </a:lnTo>
                  <a:lnTo>
                    <a:pt x="153" y="646"/>
                  </a:lnTo>
                  <a:lnTo>
                    <a:pt x="389" y="646"/>
                  </a:lnTo>
                  <a:lnTo>
                    <a:pt x="392" y="646"/>
                  </a:lnTo>
                  <a:lnTo>
                    <a:pt x="395" y="647"/>
                  </a:lnTo>
                  <a:lnTo>
                    <a:pt x="397" y="649"/>
                  </a:lnTo>
                  <a:lnTo>
                    <a:pt x="398" y="651"/>
                  </a:lnTo>
                  <a:lnTo>
                    <a:pt x="399" y="652"/>
                  </a:lnTo>
                  <a:lnTo>
                    <a:pt x="500" y="909"/>
                  </a:lnTo>
                  <a:lnTo>
                    <a:pt x="501" y="912"/>
                  </a:lnTo>
                  <a:lnTo>
                    <a:pt x="501" y="914"/>
                  </a:lnTo>
                  <a:lnTo>
                    <a:pt x="501" y="917"/>
                  </a:lnTo>
                  <a:lnTo>
                    <a:pt x="500" y="920"/>
                  </a:lnTo>
                  <a:lnTo>
                    <a:pt x="448" y="1028"/>
                  </a:lnTo>
                  <a:lnTo>
                    <a:pt x="447" y="1030"/>
                  </a:lnTo>
                  <a:lnTo>
                    <a:pt x="447" y="1032"/>
                  </a:lnTo>
                  <a:lnTo>
                    <a:pt x="447" y="1036"/>
                  </a:lnTo>
                  <a:lnTo>
                    <a:pt x="519" y="1218"/>
                  </a:lnTo>
                  <a:lnTo>
                    <a:pt x="520" y="1221"/>
                  </a:lnTo>
                  <a:lnTo>
                    <a:pt x="523" y="1223"/>
                  </a:lnTo>
                  <a:lnTo>
                    <a:pt x="526" y="1224"/>
                  </a:lnTo>
                  <a:lnTo>
                    <a:pt x="529" y="1225"/>
                  </a:lnTo>
                  <a:lnTo>
                    <a:pt x="579" y="1225"/>
                  </a:lnTo>
                  <a:lnTo>
                    <a:pt x="629" y="1225"/>
                  </a:lnTo>
                  <a:lnTo>
                    <a:pt x="632" y="1224"/>
                  </a:lnTo>
                  <a:lnTo>
                    <a:pt x="635" y="1223"/>
                  </a:lnTo>
                  <a:lnTo>
                    <a:pt x="637" y="1221"/>
                  </a:lnTo>
                  <a:lnTo>
                    <a:pt x="638" y="1219"/>
                  </a:lnTo>
                  <a:lnTo>
                    <a:pt x="638" y="1218"/>
                  </a:lnTo>
                  <a:lnTo>
                    <a:pt x="710" y="1036"/>
                  </a:lnTo>
                  <a:lnTo>
                    <a:pt x="711" y="1034"/>
                  </a:lnTo>
                  <a:lnTo>
                    <a:pt x="711" y="1032"/>
                  </a:lnTo>
                  <a:lnTo>
                    <a:pt x="710" y="1030"/>
                  </a:lnTo>
                  <a:lnTo>
                    <a:pt x="710" y="1028"/>
                  </a:lnTo>
                  <a:lnTo>
                    <a:pt x="657" y="920"/>
                  </a:lnTo>
                  <a:lnTo>
                    <a:pt x="657" y="917"/>
                  </a:lnTo>
                  <a:lnTo>
                    <a:pt x="656" y="914"/>
                  </a:lnTo>
                  <a:lnTo>
                    <a:pt x="657" y="909"/>
                  </a:lnTo>
                  <a:lnTo>
                    <a:pt x="758" y="652"/>
                  </a:lnTo>
                  <a:lnTo>
                    <a:pt x="760" y="650"/>
                  </a:lnTo>
                  <a:lnTo>
                    <a:pt x="762" y="647"/>
                  </a:lnTo>
                  <a:lnTo>
                    <a:pt x="765" y="646"/>
                  </a:lnTo>
                  <a:lnTo>
                    <a:pt x="768" y="646"/>
                  </a:lnTo>
                  <a:lnTo>
                    <a:pt x="1006" y="646"/>
                  </a:lnTo>
                  <a:lnTo>
                    <a:pt x="1009" y="645"/>
                  </a:lnTo>
                  <a:lnTo>
                    <a:pt x="1011" y="644"/>
                  </a:lnTo>
                  <a:lnTo>
                    <a:pt x="1153" y="555"/>
                  </a:lnTo>
                  <a:lnTo>
                    <a:pt x="1155" y="554"/>
                  </a:lnTo>
                  <a:lnTo>
                    <a:pt x="1156" y="553"/>
                  </a:lnTo>
                  <a:lnTo>
                    <a:pt x="1157" y="552"/>
                  </a:lnTo>
                  <a:lnTo>
                    <a:pt x="1158" y="549"/>
                  </a:lnTo>
                  <a:lnTo>
                    <a:pt x="1158" y="546"/>
                  </a:lnTo>
                  <a:lnTo>
                    <a:pt x="1158" y="7"/>
                  </a:lnTo>
                  <a:lnTo>
                    <a:pt x="1158" y="4"/>
                  </a:lnTo>
                  <a:lnTo>
                    <a:pt x="1156" y="3"/>
                  </a:lnTo>
                  <a:lnTo>
                    <a:pt x="1154" y="1"/>
                  </a:lnTo>
                  <a:lnTo>
                    <a:pt x="1152" y="0"/>
                  </a:lnTo>
                  <a:lnTo>
                    <a:pt x="1150" y="1"/>
                  </a:lnTo>
                  <a:lnTo>
                    <a:pt x="1148" y="1"/>
                  </a:lnTo>
                  <a:lnTo>
                    <a:pt x="1146" y="3"/>
                  </a:lnTo>
                  <a:lnTo>
                    <a:pt x="1145" y="4"/>
                  </a:lnTo>
                  <a:lnTo>
                    <a:pt x="1145" y="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4" name="Freeform 7"/>
            <p:cNvSpPr>
              <a:spLocks noEditPoints="1"/>
            </p:cNvSpPr>
            <p:nvPr userDrawn="1"/>
          </p:nvSpPr>
          <p:spPr bwMode="auto">
            <a:xfrm>
              <a:off x="5386388" y="3476625"/>
              <a:ext cx="3533775" cy="933450"/>
            </a:xfrm>
            <a:custGeom>
              <a:avLst/>
              <a:gdLst>
                <a:gd name="T0" fmla="*/ 1976 w 2226"/>
                <a:gd name="T1" fmla="*/ 407 h 588"/>
                <a:gd name="T2" fmla="*/ 1967 w 2226"/>
                <a:gd name="T3" fmla="*/ 463 h 588"/>
                <a:gd name="T4" fmla="*/ 2059 w 2226"/>
                <a:gd name="T5" fmla="*/ 452 h 588"/>
                <a:gd name="T6" fmla="*/ 2077 w 2226"/>
                <a:gd name="T7" fmla="*/ 579 h 588"/>
                <a:gd name="T8" fmla="*/ 2048 w 2226"/>
                <a:gd name="T9" fmla="*/ 537 h 588"/>
                <a:gd name="T10" fmla="*/ 1914 w 2226"/>
                <a:gd name="T11" fmla="*/ 585 h 588"/>
                <a:gd name="T12" fmla="*/ 1811 w 2226"/>
                <a:gd name="T13" fmla="*/ 508 h 588"/>
                <a:gd name="T14" fmla="*/ 1836 w 2226"/>
                <a:gd name="T15" fmla="*/ 383 h 588"/>
                <a:gd name="T16" fmla="*/ 2013 w 2226"/>
                <a:gd name="T17" fmla="*/ 311 h 588"/>
                <a:gd name="T18" fmla="*/ 2045 w 2226"/>
                <a:gd name="T19" fmla="*/ 271 h 588"/>
                <a:gd name="T20" fmla="*/ 1907 w 2226"/>
                <a:gd name="T21" fmla="*/ 300 h 588"/>
                <a:gd name="T22" fmla="*/ 1866 w 2226"/>
                <a:gd name="T23" fmla="*/ 195 h 588"/>
                <a:gd name="T24" fmla="*/ 2086 w 2226"/>
                <a:gd name="T25" fmla="*/ 154 h 588"/>
                <a:gd name="T26" fmla="*/ 2190 w 2226"/>
                <a:gd name="T27" fmla="*/ 214 h 588"/>
                <a:gd name="T28" fmla="*/ 2217 w 2226"/>
                <a:gd name="T29" fmla="*/ 512 h 588"/>
                <a:gd name="T30" fmla="*/ 1994 w 2226"/>
                <a:gd name="T31" fmla="*/ 3 h 588"/>
                <a:gd name="T32" fmla="*/ 1869 w 2226"/>
                <a:gd name="T33" fmla="*/ 7 h 588"/>
                <a:gd name="T34" fmla="*/ 2172 w 2226"/>
                <a:gd name="T35" fmla="*/ 123 h 588"/>
                <a:gd name="T36" fmla="*/ 1190 w 2226"/>
                <a:gd name="T37" fmla="*/ 576 h 588"/>
                <a:gd name="T38" fmla="*/ 1121 w 2226"/>
                <a:gd name="T39" fmla="*/ 502 h 588"/>
                <a:gd name="T40" fmla="*/ 1059 w 2226"/>
                <a:gd name="T41" fmla="*/ 264 h 588"/>
                <a:gd name="T42" fmla="*/ 1170 w 2226"/>
                <a:gd name="T43" fmla="*/ 25 h 588"/>
                <a:gd name="T44" fmla="*/ 1274 w 2226"/>
                <a:gd name="T45" fmla="*/ 156 h 588"/>
                <a:gd name="T46" fmla="*/ 1374 w 2226"/>
                <a:gd name="T47" fmla="*/ 271 h 588"/>
                <a:gd name="T48" fmla="*/ 1291 w 2226"/>
                <a:gd name="T49" fmla="*/ 469 h 588"/>
                <a:gd name="T50" fmla="*/ 1370 w 2226"/>
                <a:gd name="T51" fmla="*/ 564 h 588"/>
                <a:gd name="T52" fmla="*/ 1 w 2226"/>
                <a:gd name="T53" fmla="*/ 3 h 588"/>
                <a:gd name="T54" fmla="*/ 312 w 2226"/>
                <a:gd name="T55" fmla="*/ 389 h 588"/>
                <a:gd name="T56" fmla="*/ 615 w 2226"/>
                <a:gd name="T57" fmla="*/ 572 h 588"/>
                <a:gd name="T58" fmla="*/ 463 w 2226"/>
                <a:gd name="T59" fmla="*/ 222 h 588"/>
                <a:gd name="T60" fmla="*/ 365 w 2226"/>
                <a:gd name="T61" fmla="*/ 579 h 588"/>
                <a:gd name="T62" fmla="*/ 146 w 2226"/>
                <a:gd name="T63" fmla="*/ 223 h 588"/>
                <a:gd name="T64" fmla="*/ 1 w 2226"/>
                <a:gd name="T65" fmla="*/ 576 h 588"/>
                <a:gd name="T66" fmla="*/ 795 w 2226"/>
                <a:gd name="T67" fmla="*/ 421 h 588"/>
                <a:gd name="T68" fmla="*/ 861 w 2226"/>
                <a:gd name="T69" fmla="*/ 482 h 588"/>
                <a:gd name="T70" fmla="*/ 999 w 2226"/>
                <a:gd name="T71" fmla="*/ 448 h 588"/>
                <a:gd name="T72" fmla="*/ 974 w 2226"/>
                <a:gd name="T73" fmla="*/ 574 h 588"/>
                <a:gd name="T74" fmla="*/ 772 w 2226"/>
                <a:gd name="T75" fmla="*/ 575 h 588"/>
                <a:gd name="T76" fmla="*/ 659 w 2226"/>
                <a:gd name="T77" fmla="*/ 476 h 588"/>
                <a:gd name="T78" fmla="*/ 649 w 2226"/>
                <a:gd name="T79" fmla="*/ 300 h 588"/>
                <a:gd name="T80" fmla="*/ 753 w 2226"/>
                <a:gd name="T81" fmla="*/ 177 h 588"/>
                <a:gd name="T82" fmla="*/ 901 w 2226"/>
                <a:gd name="T83" fmla="*/ 155 h 588"/>
                <a:gd name="T84" fmla="*/ 1027 w 2226"/>
                <a:gd name="T85" fmla="*/ 233 h 588"/>
                <a:gd name="T86" fmla="*/ 921 w 2226"/>
                <a:gd name="T87" fmla="*/ 325 h 588"/>
                <a:gd name="T88" fmla="*/ 895 w 2226"/>
                <a:gd name="T89" fmla="*/ 267 h 588"/>
                <a:gd name="T90" fmla="*/ 818 w 2226"/>
                <a:gd name="T91" fmla="*/ 277 h 588"/>
                <a:gd name="T92" fmla="*/ 1595 w 2226"/>
                <a:gd name="T93" fmla="*/ 588 h 588"/>
                <a:gd name="T94" fmla="*/ 1393 w 2226"/>
                <a:gd name="T95" fmla="*/ 532 h 588"/>
                <a:gd name="T96" fmla="*/ 1483 w 2226"/>
                <a:gd name="T97" fmla="*/ 465 h 588"/>
                <a:gd name="T98" fmla="*/ 1638 w 2226"/>
                <a:gd name="T99" fmla="*/ 480 h 588"/>
                <a:gd name="T100" fmla="*/ 1609 w 2226"/>
                <a:gd name="T101" fmla="*/ 434 h 588"/>
                <a:gd name="T102" fmla="*/ 1433 w 2226"/>
                <a:gd name="T103" fmla="*/ 371 h 588"/>
                <a:gd name="T104" fmla="*/ 1410 w 2226"/>
                <a:gd name="T105" fmla="*/ 261 h 588"/>
                <a:gd name="T106" fmla="*/ 1497 w 2226"/>
                <a:gd name="T107" fmla="*/ 166 h 588"/>
                <a:gd name="T108" fmla="*/ 1713 w 2226"/>
                <a:gd name="T109" fmla="*/ 174 h 588"/>
                <a:gd name="T110" fmla="*/ 1716 w 2226"/>
                <a:gd name="T111" fmla="*/ 292 h 588"/>
                <a:gd name="T112" fmla="*/ 1568 w 2226"/>
                <a:gd name="T113" fmla="*/ 256 h 588"/>
                <a:gd name="T114" fmla="*/ 1563 w 2226"/>
                <a:gd name="T115" fmla="*/ 299 h 588"/>
                <a:gd name="T116" fmla="*/ 1752 w 2226"/>
                <a:gd name="T117" fmla="*/ 356 h 588"/>
                <a:gd name="T118" fmla="*/ 1787 w 2226"/>
                <a:gd name="T119" fmla="*/ 458 h 588"/>
                <a:gd name="T120" fmla="*/ 1721 w 2226"/>
                <a:gd name="T121" fmla="*/ 55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26" h="588">
                  <a:moveTo>
                    <a:pt x="2065" y="439"/>
                  </a:moveTo>
                  <a:lnTo>
                    <a:pt x="2065" y="391"/>
                  </a:lnTo>
                  <a:lnTo>
                    <a:pt x="2064" y="389"/>
                  </a:lnTo>
                  <a:lnTo>
                    <a:pt x="2063" y="388"/>
                  </a:lnTo>
                  <a:lnTo>
                    <a:pt x="2061" y="387"/>
                  </a:lnTo>
                  <a:lnTo>
                    <a:pt x="2060" y="387"/>
                  </a:lnTo>
                  <a:lnTo>
                    <a:pt x="2047" y="388"/>
                  </a:lnTo>
                  <a:lnTo>
                    <a:pt x="2035" y="389"/>
                  </a:lnTo>
                  <a:lnTo>
                    <a:pt x="2024" y="390"/>
                  </a:lnTo>
                  <a:lnTo>
                    <a:pt x="2014" y="392"/>
                  </a:lnTo>
                  <a:lnTo>
                    <a:pt x="2004" y="395"/>
                  </a:lnTo>
                  <a:lnTo>
                    <a:pt x="1996" y="397"/>
                  </a:lnTo>
                  <a:lnTo>
                    <a:pt x="1988" y="400"/>
                  </a:lnTo>
                  <a:lnTo>
                    <a:pt x="1981" y="403"/>
                  </a:lnTo>
                  <a:lnTo>
                    <a:pt x="1976" y="407"/>
                  </a:lnTo>
                  <a:lnTo>
                    <a:pt x="1971" y="411"/>
                  </a:lnTo>
                  <a:lnTo>
                    <a:pt x="1966" y="415"/>
                  </a:lnTo>
                  <a:lnTo>
                    <a:pt x="1963" y="420"/>
                  </a:lnTo>
                  <a:lnTo>
                    <a:pt x="1960" y="425"/>
                  </a:lnTo>
                  <a:lnTo>
                    <a:pt x="1958" y="430"/>
                  </a:lnTo>
                  <a:lnTo>
                    <a:pt x="1957" y="435"/>
                  </a:lnTo>
                  <a:lnTo>
                    <a:pt x="1957" y="441"/>
                  </a:lnTo>
                  <a:lnTo>
                    <a:pt x="1957" y="445"/>
                  </a:lnTo>
                  <a:lnTo>
                    <a:pt x="1958" y="448"/>
                  </a:lnTo>
                  <a:lnTo>
                    <a:pt x="1958" y="451"/>
                  </a:lnTo>
                  <a:lnTo>
                    <a:pt x="1959" y="454"/>
                  </a:lnTo>
                  <a:lnTo>
                    <a:pt x="1961" y="457"/>
                  </a:lnTo>
                  <a:lnTo>
                    <a:pt x="1963" y="459"/>
                  </a:lnTo>
                  <a:lnTo>
                    <a:pt x="1965" y="461"/>
                  </a:lnTo>
                  <a:lnTo>
                    <a:pt x="1967" y="463"/>
                  </a:lnTo>
                  <a:lnTo>
                    <a:pt x="1972" y="467"/>
                  </a:lnTo>
                  <a:lnTo>
                    <a:pt x="1975" y="468"/>
                  </a:lnTo>
                  <a:lnTo>
                    <a:pt x="1978" y="469"/>
                  </a:lnTo>
                  <a:lnTo>
                    <a:pt x="1984" y="470"/>
                  </a:lnTo>
                  <a:lnTo>
                    <a:pt x="1991" y="471"/>
                  </a:lnTo>
                  <a:lnTo>
                    <a:pt x="2005" y="470"/>
                  </a:lnTo>
                  <a:lnTo>
                    <a:pt x="2011" y="470"/>
                  </a:lnTo>
                  <a:lnTo>
                    <a:pt x="2017" y="469"/>
                  </a:lnTo>
                  <a:lnTo>
                    <a:pt x="2023" y="468"/>
                  </a:lnTo>
                  <a:lnTo>
                    <a:pt x="2028" y="467"/>
                  </a:lnTo>
                  <a:lnTo>
                    <a:pt x="2037" y="464"/>
                  </a:lnTo>
                  <a:lnTo>
                    <a:pt x="2045" y="461"/>
                  </a:lnTo>
                  <a:lnTo>
                    <a:pt x="2051" y="458"/>
                  </a:lnTo>
                  <a:lnTo>
                    <a:pt x="2056" y="454"/>
                  </a:lnTo>
                  <a:lnTo>
                    <a:pt x="2059" y="452"/>
                  </a:lnTo>
                  <a:lnTo>
                    <a:pt x="2061" y="450"/>
                  </a:lnTo>
                  <a:lnTo>
                    <a:pt x="2063" y="447"/>
                  </a:lnTo>
                  <a:lnTo>
                    <a:pt x="2064" y="443"/>
                  </a:lnTo>
                  <a:lnTo>
                    <a:pt x="2065" y="440"/>
                  </a:lnTo>
                  <a:lnTo>
                    <a:pt x="2065" y="439"/>
                  </a:lnTo>
                  <a:close/>
                  <a:moveTo>
                    <a:pt x="2225" y="572"/>
                  </a:moveTo>
                  <a:lnTo>
                    <a:pt x="2226" y="575"/>
                  </a:lnTo>
                  <a:lnTo>
                    <a:pt x="2225" y="577"/>
                  </a:lnTo>
                  <a:lnTo>
                    <a:pt x="2225" y="578"/>
                  </a:lnTo>
                  <a:lnTo>
                    <a:pt x="2224" y="579"/>
                  </a:lnTo>
                  <a:lnTo>
                    <a:pt x="2221" y="579"/>
                  </a:lnTo>
                  <a:lnTo>
                    <a:pt x="2220" y="579"/>
                  </a:lnTo>
                  <a:lnTo>
                    <a:pt x="2081" y="579"/>
                  </a:lnTo>
                  <a:lnTo>
                    <a:pt x="2079" y="579"/>
                  </a:lnTo>
                  <a:lnTo>
                    <a:pt x="2077" y="579"/>
                  </a:lnTo>
                  <a:lnTo>
                    <a:pt x="2074" y="577"/>
                  </a:lnTo>
                  <a:lnTo>
                    <a:pt x="2073" y="574"/>
                  </a:lnTo>
                  <a:lnTo>
                    <a:pt x="2072" y="572"/>
                  </a:lnTo>
                  <a:lnTo>
                    <a:pt x="2069" y="560"/>
                  </a:lnTo>
                  <a:lnTo>
                    <a:pt x="2067" y="548"/>
                  </a:lnTo>
                  <a:lnTo>
                    <a:pt x="2065" y="537"/>
                  </a:lnTo>
                  <a:lnTo>
                    <a:pt x="2065" y="526"/>
                  </a:lnTo>
                  <a:lnTo>
                    <a:pt x="2064" y="524"/>
                  </a:lnTo>
                  <a:lnTo>
                    <a:pt x="2064" y="522"/>
                  </a:lnTo>
                  <a:lnTo>
                    <a:pt x="2063" y="522"/>
                  </a:lnTo>
                  <a:lnTo>
                    <a:pt x="2062" y="522"/>
                  </a:lnTo>
                  <a:lnTo>
                    <a:pt x="2061" y="523"/>
                  </a:lnTo>
                  <a:lnTo>
                    <a:pt x="2060" y="524"/>
                  </a:lnTo>
                  <a:lnTo>
                    <a:pt x="2054" y="531"/>
                  </a:lnTo>
                  <a:lnTo>
                    <a:pt x="2048" y="537"/>
                  </a:lnTo>
                  <a:lnTo>
                    <a:pt x="2042" y="544"/>
                  </a:lnTo>
                  <a:lnTo>
                    <a:pt x="2035" y="549"/>
                  </a:lnTo>
                  <a:lnTo>
                    <a:pt x="2028" y="555"/>
                  </a:lnTo>
                  <a:lnTo>
                    <a:pt x="2021" y="560"/>
                  </a:lnTo>
                  <a:lnTo>
                    <a:pt x="2013" y="564"/>
                  </a:lnTo>
                  <a:lnTo>
                    <a:pt x="2005" y="569"/>
                  </a:lnTo>
                  <a:lnTo>
                    <a:pt x="1996" y="573"/>
                  </a:lnTo>
                  <a:lnTo>
                    <a:pt x="1987" y="576"/>
                  </a:lnTo>
                  <a:lnTo>
                    <a:pt x="1978" y="579"/>
                  </a:lnTo>
                  <a:lnTo>
                    <a:pt x="1968" y="581"/>
                  </a:lnTo>
                  <a:lnTo>
                    <a:pt x="1958" y="583"/>
                  </a:lnTo>
                  <a:lnTo>
                    <a:pt x="1948" y="584"/>
                  </a:lnTo>
                  <a:lnTo>
                    <a:pt x="1937" y="585"/>
                  </a:lnTo>
                  <a:lnTo>
                    <a:pt x="1925" y="586"/>
                  </a:lnTo>
                  <a:lnTo>
                    <a:pt x="1914" y="585"/>
                  </a:lnTo>
                  <a:lnTo>
                    <a:pt x="1903" y="584"/>
                  </a:lnTo>
                  <a:lnTo>
                    <a:pt x="1892" y="582"/>
                  </a:lnTo>
                  <a:lnTo>
                    <a:pt x="1881" y="579"/>
                  </a:lnTo>
                  <a:lnTo>
                    <a:pt x="1871" y="574"/>
                  </a:lnTo>
                  <a:lnTo>
                    <a:pt x="1861" y="570"/>
                  </a:lnTo>
                  <a:lnTo>
                    <a:pt x="1856" y="567"/>
                  </a:lnTo>
                  <a:lnTo>
                    <a:pt x="1851" y="564"/>
                  </a:lnTo>
                  <a:lnTo>
                    <a:pt x="1843" y="557"/>
                  </a:lnTo>
                  <a:lnTo>
                    <a:pt x="1835" y="549"/>
                  </a:lnTo>
                  <a:lnTo>
                    <a:pt x="1827" y="540"/>
                  </a:lnTo>
                  <a:lnTo>
                    <a:pt x="1824" y="536"/>
                  </a:lnTo>
                  <a:lnTo>
                    <a:pt x="1821" y="531"/>
                  </a:lnTo>
                  <a:lnTo>
                    <a:pt x="1816" y="520"/>
                  </a:lnTo>
                  <a:lnTo>
                    <a:pt x="1813" y="514"/>
                  </a:lnTo>
                  <a:lnTo>
                    <a:pt x="1811" y="508"/>
                  </a:lnTo>
                  <a:lnTo>
                    <a:pt x="1808" y="495"/>
                  </a:lnTo>
                  <a:lnTo>
                    <a:pt x="1806" y="481"/>
                  </a:lnTo>
                  <a:lnTo>
                    <a:pt x="1806" y="474"/>
                  </a:lnTo>
                  <a:lnTo>
                    <a:pt x="1805" y="466"/>
                  </a:lnTo>
                  <a:lnTo>
                    <a:pt x="1806" y="458"/>
                  </a:lnTo>
                  <a:lnTo>
                    <a:pt x="1806" y="449"/>
                  </a:lnTo>
                  <a:lnTo>
                    <a:pt x="1808" y="441"/>
                  </a:lnTo>
                  <a:lnTo>
                    <a:pt x="1809" y="433"/>
                  </a:lnTo>
                  <a:lnTo>
                    <a:pt x="1812" y="425"/>
                  </a:lnTo>
                  <a:lnTo>
                    <a:pt x="1814" y="418"/>
                  </a:lnTo>
                  <a:lnTo>
                    <a:pt x="1818" y="410"/>
                  </a:lnTo>
                  <a:lnTo>
                    <a:pt x="1822" y="403"/>
                  </a:lnTo>
                  <a:lnTo>
                    <a:pt x="1826" y="396"/>
                  </a:lnTo>
                  <a:lnTo>
                    <a:pt x="1831" y="390"/>
                  </a:lnTo>
                  <a:lnTo>
                    <a:pt x="1836" y="383"/>
                  </a:lnTo>
                  <a:lnTo>
                    <a:pt x="1842" y="377"/>
                  </a:lnTo>
                  <a:lnTo>
                    <a:pt x="1848" y="371"/>
                  </a:lnTo>
                  <a:lnTo>
                    <a:pt x="1855" y="365"/>
                  </a:lnTo>
                  <a:lnTo>
                    <a:pt x="1862" y="360"/>
                  </a:lnTo>
                  <a:lnTo>
                    <a:pt x="1869" y="355"/>
                  </a:lnTo>
                  <a:lnTo>
                    <a:pt x="1886" y="345"/>
                  </a:lnTo>
                  <a:lnTo>
                    <a:pt x="1895" y="341"/>
                  </a:lnTo>
                  <a:lnTo>
                    <a:pt x="1905" y="337"/>
                  </a:lnTo>
                  <a:lnTo>
                    <a:pt x="1915" y="333"/>
                  </a:lnTo>
                  <a:lnTo>
                    <a:pt x="1926" y="329"/>
                  </a:lnTo>
                  <a:lnTo>
                    <a:pt x="1948" y="323"/>
                  </a:lnTo>
                  <a:lnTo>
                    <a:pt x="1960" y="320"/>
                  </a:lnTo>
                  <a:lnTo>
                    <a:pt x="1973" y="317"/>
                  </a:lnTo>
                  <a:lnTo>
                    <a:pt x="1999" y="313"/>
                  </a:lnTo>
                  <a:lnTo>
                    <a:pt x="2013" y="311"/>
                  </a:lnTo>
                  <a:lnTo>
                    <a:pt x="2027" y="310"/>
                  </a:lnTo>
                  <a:lnTo>
                    <a:pt x="2057" y="308"/>
                  </a:lnTo>
                  <a:lnTo>
                    <a:pt x="2061" y="307"/>
                  </a:lnTo>
                  <a:lnTo>
                    <a:pt x="2064" y="306"/>
                  </a:lnTo>
                  <a:lnTo>
                    <a:pt x="2065" y="305"/>
                  </a:lnTo>
                  <a:lnTo>
                    <a:pt x="2065" y="302"/>
                  </a:lnTo>
                  <a:lnTo>
                    <a:pt x="2064" y="295"/>
                  </a:lnTo>
                  <a:lnTo>
                    <a:pt x="2063" y="291"/>
                  </a:lnTo>
                  <a:lnTo>
                    <a:pt x="2063" y="288"/>
                  </a:lnTo>
                  <a:lnTo>
                    <a:pt x="2061" y="285"/>
                  </a:lnTo>
                  <a:lnTo>
                    <a:pt x="2060" y="282"/>
                  </a:lnTo>
                  <a:lnTo>
                    <a:pt x="2055" y="277"/>
                  </a:lnTo>
                  <a:lnTo>
                    <a:pt x="2052" y="275"/>
                  </a:lnTo>
                  <a:lnTo>
                    <a:pt x="2049" y="273"/>
                  </a:lnTo>
                  <a:lnTo>
                    <a:pt x="2045" y="271"/>
                  </a:lnTo>
                  <a:lnTo>
                    <a:pt x="2041" y="269"/>
                  </a:lnTo>
                  <a:lnTo>
                    <a:pt x="2031" y="267"/>
                  </a:lnTo>
                  <a:lnTo>
                    <a:pt x="2025" y="267"/>
                  </a:lnTo>
                  <a:lnTo>
                    <a:pt x="2018" y="267"/>
                  </a:lnTo>
                  <a:lnTo>
                    <a:pt x="2009" y="267"/>
                  </a:lnTo>
                  <a:lnTo>
                    <a:pt x="2000" y="268"/>
                  </a:lnTo>
                  <a:lnTo>
                    <a:pt x="1992" y="269"/>
                  </a:lnTo>
                  <a:lnTo>
                    <a:pt x="1983" y="270"/>
                  </a:lnTo>
                  <a:lnTo>
                    <a:pt x="1974" y="272"/>
                  </a:lnTo>
                  <a:lnTo>
                    <a:pt x="1966" y="274"/>
                  </a:lnTo>
                  <a:lnTo>
                    <a:pt x="1958" y="277"/>
                  </a:lnTo>
                  <a:lnTo>
                    <a:pt x="1950" y="280"/>
                  </a:lnTo>
                  <a:lnTo>
                    <a:pt x="1934" y="286"/>
                  </a:lnTo>
                  <a:lnTo>
                    <a:pt x="1920" y="293"/>
                  </a:lnTo>
                  <a:lnTo>
                    <a:pt x="1907" y="300"/>
                  </a:lnTo>
                  <a:lnTo>
                    <a:pt x="1895" y="308"/>
                  </a:lnTo>
                  <a:lnTo>
                    <a:pt x="1893" y="309"/>
                  </a:lnTo>
                  <a:lnTo>
                    <a:pt x="1891" y="309"/>
                  </a:lnTo>
                  <a:lnTo>
                    <a:pt x="1889" y="309"/>
                  </a:lnTo>
                  <a:lnTo>
                    <a:pt x="1888" y="309"/>
                  </a:lnTo>
                  <a:lnTo>
                    <a:pt x="1886" y="307"/>
                  </a:lnTo>
                  <a:lnTo>
                    <a:pt x="1885" y="306"/>
                  </a:lnTo>
                  <a:lnTo>
                    <a:pt x="1830" y="230"/>
                  </a:lnTo>
                  <a:lnTo>
                    <a:pt x="1828" y="227"/>
                  </a:lnTo>
                  <a:lnTo>
                    <a:pt x="1828" y="225"/>
                  </a:lnTo>
                  <a:lnTo>
                    <a:pt x="1829" y="224"/>
                  </a:lnTo>
                  <a:lnTo>
                    <a:pt x="1830" y="221"/>
                  </a:lnTo>
                  <a:lnTo>
                    <a:pt x="1831" y="220"/>
                  </a:lnTo>
                  <a:lnTo>
                    <a:pt x="1847" y="207"/>
                  </a:lnTo>
                  <a:lnTo>
                    <a:pt x="1866" y="195"/>
                  </a:lnTo>
                  <a:lnTo>
                    <a:pt x="1876" y="189"/>
                  </a:lnTo>
                  <a:lnTo>
                    <a:pt x="1887" y="184"/>
                  </a:lnTo>
                  <a:lnTo>
                    <a:pt x="1899" y="178"/>
                  </a:lnTo>
                  <a:lnTo>
                    <a:pt x="1912" y="173"/>
                  </a:lnTo>
                  <a:lnTo>
                    <a:pt x="1925" y="169"/>
                  </a:lnTo>
                  <a:lnTo>
                    <a:pt x="1939" y="165"/>
                  </a:lnTo>
                  <a:lnTo>
                    <a:pt x="1954" y="161"/>
                  </a:lnTo>
                  <a:lnTo>
                    <a:pt x="1970" y="158"/>
                  </a:lnTo>
                  <a:lnTo>
                    <a:pt x="1987" y="155"/>
                  </a:lnTo>
                  <a:lnTo>
                    <a:pt x="2005" y="153"/>
                  </a:lnTo>
                  <a:lnTo>
                    <a:pt x="2023" y="152"/>
                  </a:lnTo>
                  <a:lnTo>
                    <a:pt x="2043" y="152"/>
                  </a:lnTo>
                  <a:lnTo>
                    <a:pt x="2054" y="152"/>
                  </a:lnTo>
                  <a:lnTo>
                    <a:pt x="2065" y="152"/>
                  </a:lnTo>
                  <a:lnTo>
                    <a:pt x="2086" y="154"/>
                  </a:lnTo>
                  <a:lnTo>
                    <a:pt x="2096" y="156"/>
                  </a:lnTo>
                  <a:lnTo>
                    <a:pt x="2105" y="158"/>
                  </a:lnTo>
                  <a:lnTo>
                    <a:pt x="2114" y="160"/>
                  </a:lnTo>
                  <a:lnTo>
                    <a:pt x="2122" y="163"/>
                  </a:lnTo>
                  <a:lnTo>
                    <a:pt x="2130" y="166"/>
                  </a:lnTo>
                  <a:lnTo>
                    <a:pt x="2138" y="169"/>
                  </a:lnTo>
                  <a:lnTo>
                    <a:pt x="2145" y="172"/>
                  </a:lnTo>
                  <a:lnTo>
                    <a:pt x="2152" y="176"/>
                  </a:lnTo>
                  <a:lnTo>
                    <a:pt x="2159" y="181"/>
                  </a:lnTo>
                  <a:lnTo>
                    <a:pt x="2165" y="185"/>
                  </a:lnTo>
                  <a:lnTo>
                    <a:pt x="2170" y="190"/>
                  </a:lnTo>
                  <a:lnTo>
                    <a:pt x="2176" y="196"/>
                  </a:lnTo>
                  <a:lnTo>
                    <a:pt x="2181" y="201"/>
                  </a:lnTo>
                  <a:lnTo>
                    <a:pt x="2186" y="207"/>
                  </a:lnTo>
                  <a:lnTo>
                    <a:pt x="2190" y="214"/>
                  </a:lnTo>
                  <a:lnTo>
                    <a:pt x="2194" y="220"/>
                  </a:lnTo>
                  <a:lnTo>
                    <a:pt x="2197" y="227"/>
                  </a:lnTo>
                  <a:lnTo>
                    <a:pt x="2201" y="235"/>
                  </a:lnTo>
                  <a:lnTo>
                    <a:pt x="2204" y="242"/>
                  </a:lnTo>
                  <a:lnTo>
                    <a:pt x="2206" y="251"/>
                  </a:lnTo>
                  <a:lnTo>
                    <a:pt x="2209" y="259"/>
                  </a:lnTo>
                  <a:lnTo>
                    <a:pt x="2211" y="268"/>
                  </a:lnTo>
                  <a:lnTo>
                    <a:pt x="2212" y="277"/>
                  </a:lnTo>
                  <a:lnTo>
                    <a:pt x="2214" y="287"/>
                  </a:lnTo>
                  <a:lnTo>
                    <a:pt x="2215" y="296"/>
                  </a:lnTo>
                  <a:lnTo>
                    <a:pt x="2215" y="307"/>
                  </a:lnTo>
                  <a:lnTo>
                    <a:pt x="2216" y="317"/>
                  </a:lnTo>
                  <a:lnTo>
                    <a:pt x="2216" y="328"/>
                  </a:lnTo>
                  <a:lnTo>
                    <a:pt x="2216" y="478"/>
                  </a:lnTo>
                  <a:lnTo>
                    <a:pt x="2217" y="512"/>
                  </a:lnTo>
                  <a:lnTo>
                    <a:pt x="2218" y="539"/>
                  </a:lnTo>
                  <a:lnTo>
                    <a:pt x="2220" y="549"/>
                  </a:lnTo>
                  <a:lnTo>
                    <a:pt x="2221" y="559"/>
                  </a:lnTo>
                  <a:lnTo>
                    <a:pt x="2223" y="566"/>
                  </a:lnTo>
                  <a:lnTo>
                    <a:pt x="2225" y="572"/>
                  </a:lnTo>
                  <a:close/>
                  <a:moveTo>
                    <a:pt x="1869" y="7"/>
                  </a:moveTo>
                  <a:lnTo>
                    <a:pt x="1869" y="5"/>
                  </a:lnTo>
                  <a:lnTo>
                    <a:pt x="1870" y="3"/>
                  </a:lnTo>
                  <a:lnTo>
                    <a:pt x="1873" y="0"/>
                  </a:lnTo>
                  <a:lnTo>
                    <a:pt x="1875" y="0"/>
                  </a:lnTo>
                  <a:lnTo>
                    <a:pt x="1877" y="0"/>
                  </a:lnTo>
                  <a:lnTo>
                    <a:pt x="1987" y="0"/>
                  </a:lnTo>
                  <a:lnTo>
                    <a:pt x="1989" y="0"/>
                  </a:lnTo>
                  <a:lnTo>
                    <a:pt x="1991" y="1"/>
                  </a:lnTo>
                  <a:lnTo>
                    <a:pt x="1994" y="3"/>
                  </a:lnTo>
                  <a:lnTo>
                    <a:pt x="1994" y="6"/>
                  </a:lnTo>
                  <a:lnTo>
                    <a:pt x="1995" y="7"/>
                  </a:lnTo>
                  <a:lnTo>
                    <a:pt x="1995" y="121"/>
                  </a:lnTo>
                  <a:lnTo>
                    <a:pt x="1994" y="123"/>
                  </a:lnTo>
                  <a:lnTo>
                    <a:pt x="1993" y="125"/>
                  </a:lnTo>
                  <a:lnTo>
                    <a:pt x="1991" y="128"/>
                  </a:lnTo>
                  <a:lnTo>
                    <a:pt x="1988" y="128"/>
                  </a:lnTo>
                  <a:lnTo>
                    <a:pt x="1987" y="129"/>
                  </a:lnTo>
                  <a:lnTo>
                    <a:pt x="1877" y="129"/>
                  </a:lnTo>
                  <a:lnTo>
                    <a:pt x="1874" y="128"/>
                  </a:lnTo>
                  <a:lnTo>
                    <a:pt x="1872" y="127"/>
                  </a:lnTo>
                  <a:lnTo>
                    <a:pt x="1870" y="125"/>
                  </a:lnTo>
                  <a:lnTo>
                    <a:pt x="1869" y="122"/>
                  </a:lnTo>
                  <a:lnTo>
                    <a:pt x="1869" y="121"/>
                  </a:lnTo>
                  <a:lnTo>
                    <a:pt x="1869" y="7"/>
                  </a:lnTo>
                  <a:close/>
                  <a:moveTo>
                    <a:pt x="2047" y="121"/>
                  </a:moveTo>
                  <a:lnTo>
                    <a:pt x="2047" y="7"/>
                  </a:lnTo>
                  <a:lnTo>
                    <a:pt x="2047" y="5"/>
                  </a:lnTo>
                  <a:lnTo>
                    <a:pt x="2048" y="3"/>
                  </a:lnTo>
                  <a:lnTo>
                    <a:pt x="2051" y="0"/>
                  </a:lnTo>
                  <a:lnTo>
                    <a:pt x="2053" y="0"/>
                  </a:lnTo>
                  <a:lnTo>
                    <a:pt x="2054" y="0"/>
                  </a:lnTo>
                  <a:lnTo>
                    <a:pt x="2165" y="0"/>
                  </a:lnTo>
                  <a:lnTo>
                    <a:pt x="2167" y="0"/>
                  </a:lnTo>
                  <a:lnTo>
                    <a:pt x="2169" y="1"/>
                  </a:lnTo>
                  <a:lnTo>
                    <a:pt x="2171" y="3"/>
                  </a:lnTo>
                  <a:lnTo>
                    <a:pt x="2172" y="6"/>
                  </a:lnTo>
                  <a:lnTo>
                    <a:pt x="2172" y="7"/>
                  </a:lnTo>
                  <a:lnTo>
                    <a:pt x="2172" y="121"/>
                  </a:lnTo>
                  <a:lnTo>
                    <a:pt x="2172" y="123"/>
                  </a:lnTo>
                  <a:lnTo>
                    <a:pt x="2171" y="125"/>
                  </a:lnTo>
                  <a:lnTo>
                    <a:pt x="2169" y="127"/>
                  </a:lnTo>
                  <a:lnTo>
                    <a:pt x="2166" y="128"/>
                  </a:lnTo>
                  <a:lnTo>
                    <a:pt x="2165" y="128"/>
                  </a:lnTo>
                  <a:lnTo>
                    <a:pt x="2054" y="128"/>
                  </a:lnTo>
                  <a:lnTo>
                    <a:pt x="2052" y="128"/>
                  </a:lnTo>
                  <a:lnTo>
                    <a:pt x="2050" y="127"/>
                  </a:lnTo>
                  <a:lnTo>
                    <a:pt x="2048" y="125"/>
                  </a:lnTo>
                  <a:lnTo>
                    <a:pt x="2047" y="122"/>
                  </a:lnTo>
                  <a:lnTo>
                    <a:pt x="2047" y="121"/>
                  </a:lnTo>
                  <a:close/>
                  <a:moveTo>
                    <a:pt x="1274" y="585"/>
                  </a:moveTo>
                  <a:lnTo>
                    <a:pt x="1249" y="584"/>
                  </a:lnTo>
                  <a:lnTo>
                    <a:pt x="1226" y="583"/>
                  </a:lnTo>
                  <a:lnTo>
                    <a:pt x="1207" y="580"/>
                  </a:lnTo>
                  <a:lnTo>
                    <a:pt x="1190" y="576"/>
                  </a:lnTo>
                  <a:lnTo>
                    <a:pt x="1175" y="571"/>
                  </a:lnTo>
                  <a:lnTo>
                    <a:pt x="1168" y="568"/>
                  </a:lnTo>
                  <a:lnTo>
                    <a:pt x="1162" y="565"/>
                  </a:lnTo>
                  <a:lnTo>
                    <a:pt x="1156" y="561"/>
                  </a:lnTo>
                  <a:lnTo>
                    <a:pt x="1151" y="558"/>
                  </a:lnTo>
                  <a:lnTo>
                    <a:pt x="1149" y="556"/>
                  </a:lnTo>
                  <a:lnTo>
                    <a:pt x="1147" y="554"/>
                  </a:lnTo>
                  <a:lnTo>
                    <a:pt x="1143" y="550"/>
                  </a:lnTo>
                  <a:lnTo>
                    <a:pt x="1139" y="545"/>
                  </a:lnTo>
                  <a:lnTo>
                    <a:pt x="1135" y="541"/>
                  </a:lnTo>
                  <a:lnTo>
                    <a:pt x="1130" y="531"/>
                  </a:lnTo>
                  <a:lnTo>
                    <a:pt x="1127" y="525"/>
                  </a:lnTo>
                  <a:lnTo>
                    <a:pt x="1125" y="520"/>
                  </a:lnTo>
                  <a:lnTo>
                    <a:pt x="1122" y="508"/>
                  </a:lnTo>
                  <a:lnTo>
                    <a:pt x="1121" y="502"/>
                  </a:lnTo>
                  <a:lnTo>
                    <a:pt x="1120" y="496"/>
                  </a:lnTo>
                  <a:lnTo>
                    <a:pt x="1119" y="482"/>
                  </a:lnTo>
                  <a:lnTo>
                    <a:pt x="1118" y="468"/>
                  </a:lnTo>
                  <a:lnTo>
                    <a:pt x="1118" y="453"/>
                  </a:lnTo>
                  <a:lnTo>
                    <a:pt x="1118" y="278"/>
                  </a:lnTo>
                  <a:lnTo>
                    <a:pt x="1117" y="276"/>
                  </a:lnTo>
                  <a:lnTo>
                    <a:pt x="1117" y="274"/>
                  </a:lnTo>
                  <a:lnTo>
                    <a:pt x="1114" y="272"/>
                  </a:lnTo>
                  <a:lnTo>
                    <a:pt x="1111" y="271"/>
                  </a:lnTo>
                  <a:lnTo>
                    <a:pt x="1110" y="271"/>
                  </a:lnTo>
                  <a:lnTo>
                    <a:pt x="1067" y="271"/>
                  </a:lnTo>
                  <a:lnTo>
                    <a:pt x="1064" y="270"/>
                  </a:lnTo>
                  <a:lnTo>
                    <a:pt x="1062" y="269"/>
                  </a:lnTo>
                  <a:lnTo>
                    <a:pt x="1060" y="267"/>
                  </a:lnTo>
                  <a:lnTo>
                    <a:pt x="1059" y="264"/>
                  </a:lnTo>
                  <a:lnTo>
                    <a:pt x="1059" y="263"/>
                  </a:lnTo>
                  <a:lnTo>
                    <a:pt x="1059" y="167"/>
                  </a:lnTo>
                  <a:lnTo>
                    <a:pt x="1059" y="164"/>
                  </a:lnTo>
                  <a:lnTo>
                    <a:pt x="1060" y="162"/>
                  </a:lnTo>
                  <a:lnTo>
                    <a:pt x="1063" y="160"/>
                  </a:lnTo>
                  <a:lnTo>
                    <a:pt x="1065" y="159"/>
                  </a:lnTo>
                  <a:lnTo>
                    <a:pt x="1067" y="159"/>
                  </a:lnTo>
                  <a:lnTo>
                    <a:pt x="1110" y="159"/>
                  </a:lnTo>
                  <a:lnTo>
                    <a:pt x="1113" y="159"/>
                  </a:lnTo>
                  <a:lnTo>
                    <a:pt x="1115" y="158"/>
                  </a:lnTo>
                  <a:lnTo>
                    <a:pt x="1117" y="157"/>
                  </a:lnTo>
                  <a:lnTo>
                    <a:pt x="1118" y="156"/>
                  </a:lnTo>
                  <a:lnTo>
                    <a:pt x="1120" y="153"/>
                  </a:lnTo>
                  <a:lnTo>
                    <a:pt x="1121" y="152"/>
                  </a:lnTo>
                  <a:lnTo>
                    <a:pt x="1170" y="25"/>
                  </a:lnTo>
                  <a:lnTo>
                    <a:pt x="1171" y="23"/>
                  </a:lnTo>
                  <a:lnTo>
                    <a:pt x="1173" y="21"/>
                  </a:lnTo>
                  <a:lnTo>
                    <a:pt x="1175" y="20"/>
                  </a:lnTo>
                  <a:lnTo>
                    <a:pt x="1176" y="19"/>
                  </a:lnTo>
                  <a:lnTo>
                    <a:pt x="1179" y="18"/>
                  </a:lnTo>
                  <a:lnTo>
                    <a:pt x="1180" y="18"/>
                  </a:lnTo>
                  <a:lnTo>
                    <a:pt x="1265" y="18"/>
                  </a:lnTo>
                  <a:lnTo>
                    <a:pt x="1268" y="19"/>
                  </a:lnTo>
                  <a:lnTo>
                    <a:pt x="1270" y="19"/>
                  </a:lnTo>
                  <a:lnTo>
                    <a:pt x="1272" y="22"/>
                  </a:lnTo>
                  <a:lnTo>
                    <a:pt x="1273" y="25"/>
                  </a:lnTo>
                  <a:lnTo>
                    <a:pt x="1273" y="26"/>
                  </a:lnTo>
                  <a:lnTo>
                    <a:pt x="1273" y="152"/>
                  </a:lnTo>
                  <a:lnTo>
                    <a:pt x="1273" y="154"/>
                  </a:lnTo>
                  <a:lnTo>
                    <a:pt x="1274" y="156"/>
                  </a:lnTo>
                  <a:lnTo>
                    <a:pt x="1277" y="158"/>
                  </a:lnTo>
                  <a:lnTo>
                    <a:pt x="1279" y="159"/>
                  </a:lnTo>
                  <a:lnTo>
                    <a:pt x="1281" y="159"/>
                  </a:lnTo>
                  <a:lnTo>
                    <a:pt x="1374" y="159"/>
                  </a:lnTo>
                  <a:lnTo>
                    <a:pt x="1376" y="160"/>
                  </a:lnTo>
                  <a:lnTo>
                    <a:pt x="1378" y="161"/>
                  </a:lnTo>
                  <a:lnTo>
                    <a:pt x="1381" y="163"/>
                  </a:lnTo>
                  <a:lnTo>
                    <a:pt x="1381" y="166"/>
                  </a:lnTo>
                  <a:lnTo>
                    <a:pt x="1381" y="167"/>
                  </a:lnTo>
                  <a:lnTo>
                    <a:pt x="1381" y="263"/>
                  </a:lnTo>
                  <a:lnTo>
                    <a:pt x="1381" y="266"/>
                  </a:lnTo>
                  <a:lnTo>
                    <a:pt x="1380" y="268"/>
                  </a:lnTo>
                  <a:lnTo>
                    <a:pt x="1378" y="270"/>
                  </a:lnTo>
                  <a:lnTo>
                    <a:pt x="1375" y="271"/>
                  </a:lnTo>
                  <a:lnTo>
                    <a:pt x="1374" y="271"/>
                  </a:lnTo>
                  <a:lnTo>
                    <a:pt x="1281" y="271"/>
                  </a:lnTo>
                  <a:lnTo>
                    <a:pt x="1278" y="271"/>
                  </a:lnTo>
                  <a:lnTo>
                    <a:pt x="1276" y="272"/>
                  </a:lnTo>
                  <a:lnTo>
                    <a:pt x="1274" y="275"/>
                  </a:lnTo>
                  <a:lnTo>
                    <a:pt x="1273" y="277"/>
                  </a:lnTo>
                  <a:lnTo>
                    <a:pt x="1273" y="278"/>
                  </a:lnTo>
                  <a:lnTo>
                    <a:pt x="1273" y="419"/>
                  </a:lnTo>
                  <a:lnTo>
                    <a:pt x="1274" y="434"/>
                  </a:lnTo>
                  <a:lnTo>
                    <a:pt x="1275" y="446"/>
                  </a:lnTo>
                  <a:lnTo>
                    <a:pt x="1277" y="452"/>
                  </a:lnTo>
                  <a:lnTo>
                    <a:pt x="1279" y="456"/>
                  </a:lnTo>
                  <a:lnTo>
                    <a:pt x="1281" y="460"/>
                  </a:lnTo>
                  <a:lnTo>
                    <a:pt x="1284" y="463"/>
                  </a:lnTo>
                  <a:lnTo>
                    <a:pt x="1287" y="466"/>
                  </a:lnTo>
                  <a:lnTo>
                    <a:pt x="1291" y="469"/>
                  </a:lnTo>
                  <a:lnTo>
                    <a:pt x="1296" y="471"/>
                  </a:lnTo>
                  <a:lnTo>
                    <a:pt x="1301" y="472"/>
                  </a:lnTo>
                  <a:lnTo>
                    <a:pt x="1307" y="473"/>
                  </a:lnTo>
                  <a:lnTo>
                    <a:pt x="1313" y="474"/>
                  </a:lnTo>
                  <a:lnTo>
                    <a:pt x="1320" y="474"/>
                  </a:lnTo>
                  <a:lnTo>
                    <a:pt x="1328" y="475"/>
                  </a:lnTo>
                  <a:lnTo>
                    <a:pt x="1340" y="474"/>
                  </a:lnTo>
                  <a:lnTo>
                    <a:pt x="1351" y="473"/>
                  </a:lnTo>
                  <a:lnTo>
                    <a:pt x="1361" y="472"/>
                  </a:lnTo>
                  <a:lnTo>
                    <a:pt x="1366" y="471"/>
                  </a:lnTo>
                  <a:lnTo>
                    <a:pt x="1367" y="471"/>
                  </a:lnTo>
                  <a:lnTo>
                    <a:pt x="1368" y="471"/>
                  </a:lnTo>
                  <a:lnTo>
                    <a:pt x="1369" y="474"/>
                  </a:lnTo>
                  <a:lnTo>
                    <a:pt x="1370" y="477"/>
                  </a:lnTo>
                  <a:lnTo>
                    <a:pt x="1370" y="564"/>
                  </a:lnTo>
                  <a:lnTo>
                    <a:pt x="1369" y="569"/>
                  </a:lnTo>
                  <a:lnTo>
                    <a:pt x="1369" y="572"/>
                  </a:lnTo>
                  <a:lnTo>
                    <a:pt x="1368" y="575"/>
                  </a:lnTo>
                  <a:lnTo>
                    <a:pt x="1366" y="577"/>
                  </a:lnTo>
                  <a:lnTo>
                    <a:pt x="1364" y="578"/>
                  </a:lnTo>
                  <a:lnTo>
                    <a:pt x="1362" y="579"/>
                  </a:lnTo>
                  <a:lnTo>
                    <a:pt x="1358" y="580"/>
                  </a:lnTo>
                  <a:lnTo>
                    <a:pt x="1340" y="582"/>
                  </a:lnTo>
                  <a:lnTo>
                    <a:pt x="1317" y="583"/>
                  </a:lnTo>
                  <a:lnTo>
                    <a:pt x="1294" y="584"/>
                  </a:lnTo>
                  <a:lnTo>
                    <a:pt x="1274" y="585"/>
                  </a:lnTo>
                  <a:close/>
                  <a:moveTo>
                    <a:pt x="0" y="572"/>
                  </a:moveTo>
                  <a:lnTo>
                    <a:pt x="0" y="7"/>
                  </a:lnTo>
                  <a:lnTo>
                    <a:pt x="0" y="5"/>
                  </a:lnTo>
                  <a:lnTo>
                    <a:pt x="1" y="3"/>
                  </a:lnTo>
                  <a:lnTo>
                    <a:pt x="4" y="1"/>
                  </a:lnTo>
                  <a:lnTo>
                    <a:pt x="6" y="0"/>
                  </a:lnTo>
                  <a:lnTo>
                    <a:pt x="7" y="0"/>
                  </a:lnTo>
                  <a:lnTo>
                    <a:pt x="200" y="0"/>
                  </a:lnTo>
                  <a:lnTo>
                    <a:pt x="202" y="0"/>
                  </a:lnTo>
                  <a:lnTo>
                    <a:pt x="204" y="1"/>
                  </a:lnTo>
                  <a:lnTo>
                    <a:pt x="206" y="2"/>
                  </a:lnTo>
                  <a:lnTo>
                    <a:pt x="207" y="3"/>
                  </a:lnTo>
                  <a:lnTo>
                    <a:pt x="209" y="6"/>
                  </a:lnTo>
                  <a:lnTo>
                    <a:pt x="209" y="7"/>
                  </a:lnTo>
                  <a:lnTo>
                    <a:pt x="307" y="386"/>
                  </a:lnTo>
                  <a:lnTo>
                    <a:pt x="307" y="387"/>
                  </a:lnTo>
                  <a:lnTo>
                    <a:pt x="308" y="388"/>
                  </a:lnTo>
                  <a:lnTo>
                    <a:pt x="310" y="389"/>
                  </a:lnTo>
                  <a:lnTo>
                    <a:pt x="312" y="389"/>
                  </a:lnTo>
                  <a:lnTo>
                    <a:pt x="313" y="387"/>
                  </a:lnTo>
                  <a:lnTo>
                    <a:pt x="313" y="386"/>
                  </a:lnTo>
                  <a:lnTo>
                    <a:pt x="401" y="7"/>
                  </a:lnTo>
                  <a:lnTo>
                    <a:pt x="402" y="5"/>
                  </a:lnTo>
                  <a:lnTo>
                    <a:pt x="403" y="3"/>
                  </a:lnTo>
                  <a:lnTo>
                    <a:pt x="406" y="1"/>
                  </a:lnTo>
                  <a:lnTo>
                    <a:pt x="409" y="0"/>
                  </a:lnTo>
                  <a:lnTo>
                    <a:pt x="410" y="0"/>
                  </a:lnTo>
                  <a:lnTo>
                    <a:pt x="607" y="0"/>
                  </a:lnTo>
                  <a:lnTo>
                    <a:pt x="610" y="0"/>
                  </a:lnTo>
                  <a:lnTo>
                    <a:pt x="611" y="1"/>
                  </a:lnTo>
                  <a:lnTo>
                    <a:pt x="614" y="4"/>
                  </a:lnTo>
                  <a:lnTo>
                    <a:pt x="615" y="6"/>
                  </a:lnTo>
                  <a:lnTo>
                    <a:pt x="615" y="7"/>
                  </a:lnTo>
                  <a:lnTo>
                    <a:pt x="615" y="572"/>
                  </a:lnTo>
                  <a:lnTo>
                    <a:pt x="614" y="575"/>
                  </a:lnTo>
                  <a:lnTo>
                    <a:pt x="613" y="576"/>
                  </a:lnTo>
                  <a:lnTo>
                    <a:pt x="611" y="579"/>
                  </a:lnTo>
                  <a:lnTo>
                    <a:pt x="608" y="579"/>
                  </a:lnTo>
                  <a:lnTo>
                    <a:pt x="607" y="580"/>
                  </a:lnTo>
                  <a:lnTo>
                    <a:pt x="473" y="580"/>
                  </a:lnTo>
                  <a:lnTo>
                    <a:pt x="470" y="579"/>
                  </a:lnTo>
                  <a:lnTo>
                    <a:pt x="468" y="578"/>
                  </a:lnTo>
                  <a:lnTo>
                    <a:pt x="466" y="576"/>
                  </a:lnTo>
                  <a:lnTo>
                    <a:pt x="465" y="573"/>
                  </a:lnTo>
                  <a:lnTo>
                    <a:pt x="465" y="572"/>
                  </a:lnTo>
                  <a:lnTo>
                    <a:pt x="465" y="226"/>
                  </a:lnTo>
                  <a:lnTo>
                    <a:pt x="465" y="224"/>
                  </a:lnTo>
                  <a:lnTo>
                    <a:pt x="464" y="223"/>
                  </a:lnTo>
                  <a:lnTo>
                    <a:pt x="463" y="222"/>
                  </a:lnTo>
                  <a:lnTo>
                    <a:pt x="462" y="222"/>
                  </a:lnTo>
                  <a:lnTo>
                    <a:pt x="461" y="222"/>
                  </a:lnTo>
                  <a:lnTo>
                    <a:pt x="460" y="223"/>
                  </a:lnTo>
                  <a:lnTo>
                    <a:pt x="458" y="226"/>
                  </a:lnTo>
                  <a:lnTo>
                    <a:pt x="452" y="264"/>
                  </a:lnTo>
                  <a:lnTo>
                    <a:pt x="446" y="298"/>
                  </a:lnTo>
                  <a:lnTo>
                    <a:pt x="443" y="314"/>
                  </a:lnTo>
                  <a:lnTo>
                    <a:pt x="440" y="330"/>
                  </a:lnTo>
                  <a:lnTo>
                    <a:pt x="436" y="346"/>
                  </a:lnTo>
                  <a:lnTo>
                    <a:pt x="432" y="362"/>
                  </a:lnTo>
                  <a:lnTo>
                    <a:pt x="373" y="572"/>
                  </a:lnTo>
                  <a:lnTo>
                    <a:pt x="372" y="575"/>
                  </a:lnTo>
                  <a:lnTo>
                    <a:pt x="371" y="577"/>
                  </a:lnTo>
                  <a:lnTo>
                    <a:pt x="368" y="579"/>
                  </a:lnTo>
                  <a:lnTo>
                    <a:pt x="365" y="579"/>
                  </a:lnTo>
                  <a:lnTo>
                    <a:pt x="364" y="580"/>
                  </a:lnTo>
                  <a:lnTo>
                    <a:pt x="241" y="580"/>
                  </a:lnTo>
                  <a:lnTo>
                    <a:pt x="238" y="579"/>
                  </a:lnTo>
                  <a:lnTo>
                    <a:pt x="236" y="578"/>
                  </a:lnTo>
                  <a:lnTo>
                    <a:pt x="234" y="577"/>
                  </a:lnTo>
                  <a:lnTo>
                    <a:pt x="233" y="576"/>
                  </a:lnTo>
                  <a:lnTo>
                    <a:pt x="232" y="573"/>
                  </a:lnTo>
                  <a:lnTo>
                    <a:pt x="231" y="572"/>
                  </a:lnTo>
                  <a:lnTo>
                    <a:pt x="174" y="362"/>
                  </a:lnTo>
                  <a:lnTo>
                    <a:pt x="169" y="345"/>
                  </a:lnTo>
                  <a:lnTo>
                    <a:pt x="165" y="330"/>
                  </a:lnTo>
                  <a:lnTo>
                    <a:pt x="159" y="301"/>
                  </a:lnTo>
                  <a:lnTo>
                    <a:pt x="153" y="268"/>
                  </a:lnTo>
                  <a:lnTo>
                    <a:pt x="146" y="224"/>
                  </a:lnTo>
                  <a:lnTo>
                    <a:pt x="146" y="223"/>
                  </a:lnTo>
                  <a:lnTo>
                    <a:pt x="145" y="222"/>
                  </a:lnTo>
                  <a:lnTo>
                    <a:pt x="142" y="221"/>
                  </a:lnTo>
                  <a:lnTo>
                    <a:pt x="140" y="222"/>
                  </a:lnTo>
                  <a:lnTo>
                    <a:pt x="140" y="223"/>
                  </a:lnTo>
                  <a:lnTo>
                    <a:pt x="139" y="224"/>
                  </a:lnTo>
                  <a:lnTo>
                    <a:pt x="139" y="572"/>
                  </a:lnTo>
                  <a:lnTo>
                    <a:pt x="139" y="575"/>
                  </a:lnTo>
                  <a:lnTo>
                    <a:pt x="138" y="576"/>
                  </a:lnTo>
                  <a:lnTo>
                    <a:pt x="136" y="579"/>
                  </a:lnTo>
                  <a:lnTo>
                    <a:pt x="133" y="579"/>
                  </a:lnTo>
                  <a:lnTo>
                    <a:pt x="132" y="580"/>
                  </a:lnTo>
                  <a:lnTo>
                    <a:pt x="8" y="580"/>
                  </a:lnTo>
                  <a:lnTo>
                    <a:pt x="5" y="579"/>
                  </a:lnTo>
                  <a:lnTo>
                    <a:pt x="3" y="578"/>
                  </a:lnTo>
                  <a:lnTo>
                    <a:pt x="1" y="576"/>
                  </a:lnTo>
                  <a:lnTo>
                    <a:pt x="0" y="573"/>
                  </a:lnTo>
                  <a:lnTo>
                    <a:pt x="0" y="572"/>
                  </a:lnTo>
                  <a:close/>
                  <a:moveTo>
                    <a:pt x="1063" y="408"/>
                  </a:moveTo>
                  <a:lnTo>
                    <a:pt x="1062" y="410"/>
                  </a:lnTo>
                  <a:lnTo>
                    <a:pt x="1062" y="412"/>
                  </a:lnTo>
                  <a:lnTo>
                    <a:pt x="1061" y="413"/>
                  </a:lnTo>
                  <a:lnTo>
                    <a:pt x="1060" y="414"/>
                  </a:lnTo>
                  <a:lnTo>
                    <a:pt x="1058" y="414"/>
                  </a:lnTo>
                  <a:lnTo>
                    <a:pt x="1057" y="414"/>
                  </a:lnTo>
                  <a:lnTo>
                    <a:pt x="801" y="414"/>
                  </a:lnTo>
                  <a:lnTo>
                    <a:pt x="799" y="415"/>
                  </a:lnTo>
                  <a:lnTo>
                    <a:pt x="797" y="415"/>
                  </a:lnTo>
                  <a:lnTo>
                    <a:pt x="796" y="417"/>
                  </a:lnTo>
                  <a:lnTo>
                    <a:pt x="795" y="418"/>
                  </a:lnTo>
                  <a:lnTo>
                    <a:pt x="795" y="421"/>
                  </a:lnTo>
                  <a:lnTo>
                    <a:pt x="795" y="422"/>
                  </a:lnTo>
                  <a:lnTo>
                    <a:pt x="796" y="430"/>
                  </a:lnTo>
                  <a:lnTo>
                    <a:pt x="799" y="438"/>
                  </a:lnTo>
                  <a:lnTo>
                    <a:pt x="801" y="445"/>
                  </a:lnTo>
                  <a:lnTo>
                    <a:pt x="804" y="451"/>
                  </a:lnTo>
                  <a:lnTo>
                    <a:pt x="808" y="457"/>
                  </a:lnTo>
                  <a:lnTo>
                    <a:pt x="812" y="462"/>
                  </a:lnTo>
                  <a:lnTo>
                    <a:pt x="817" y="466"/>
                  </a:lnTo>
                  <a:lnTo>
                    <a:pt x="822" y="470"/>
                  </a:lnTo>
                  <a:lnTo>
                    <a:pt x="827" y="473"/>
                  </a:lnTo>
                  <a:lnTo>
                    <a:pt x="833" y="476"/>
                  </a:lnTo>
                  <a:lnTo>
                    <a:pt x="840" y="478"/>
                  </a:lnTo>
                  <a:lnTo>
                    <a:pt x="846" y="480"/>
                  </a:lnTo>
                  <a:lnTo>
                    <a:pt x="854" y="481"/>
                  </a:lnTo>
                  <a:lnTo>
                    <a:pt x="861" y="482"/>
                  </a:lnTo>
                  <a:lnTo>
                    <a:pt x="878" y="482"/>
                  </a:lnTo>
                  <a:lnTo>
                    <a:pt x="886" y="482"/>
                  </a:lnTo>
                  <a:lnTo>
                    <a:pt x="894" y="481"/>
                  </a:lnTo>
                  <a:lnTo>
                    <a:pt x="903" y="480"/>
                  </a:lnTo>
                  <a:lnTo>
                    <a:pt x="911" y="479"/>
                  </a:lnTo>
                  <a:lnTo>
                    <a:pt x="928" y="475"/>
                  </a:lnTo>
                  <a:lnTo>
                    <a:pt x="943" y="470"/>
                  </a:lnTo>
                  <a:lnTo>
                    <a:pt x="958" y="464"/>
                  </a:lnTo>
                  <a:lnTo>
                    <a:pt x="971" y="459"/>
                  </a:lnTo>
                  <a:lnTo>
                    <a:pt x="983" y="453"/>
                  </a:lnTo>
                  <a:lnTo>
                    <a:pt x="992" y="448"/>
                  </a:lnTo>
                  <a:lnTo>
                    <a:pt x="994" y="447"/>
                  </a:lnTo>
                  <a:lnTo>
                    <a:pt x="996" y="447"/>
                  </a:lnTo>
                  <a:lnTo>
                    <a:pt x="998" y="447"/>
                  </a:lnTo>
                  <a:lnTo>
                    <a:pt x="999" y="448"/>
                  </a:lnTo>
                  <a:lnTo>
                    <a:pt x="1002" y="450"/>
                  </a:lnTo>
                  <a:lnTo>
                    <a:pt x="1050" y="531"/>
                  </a:lnTo>
                  <a:lnTo>
                    <a:pt x="1052" y="535"/>
                  </a:lnTo>
                  <a:lnTo>
                    <a:pt x="1052" y="537"/>
                  </a:lnTo>
                  <a:lnTo>
                    <a:pt x="1051" y="538"/>
                  </a:lnTo>
                  <a:lnTo>
                    <a:pt x="1051" y="540"/>
                  </a:lnTo>
                  <a:lnTo>
                    <a:pt x="1050" y="540"/>
                  </a:lnTo>
                  <a:lnTo>
                    <a:pt x="1048" y="542"/>
                  </a:lnTo>
                  <a:lnTo>
                    <a:pt x="1038" y="547"/>
                  </a:lnTo>
                  <a:lnTo>
                    <a:pt x="1028" y="553"/>
                  </a:lnTo>
                  <a:lnTo>
                    <a:pt x="1018" y="558"/>
                  </a:lnTo>
                  <a:lnTo>
                    <a:pt x="1007" y="562"/>
                  </a:lnTo>
                  <a:lnTo>
                    <a:pt x="996" y="567"/>
                  </a:lnTo>
                  <a:lnTo>
                    <a:pt x="985" y="570"/>
                  </a:lnTo>
                  <a:lnTo>
                    <a:pt x="974" y="574"/>
                  </a:lnTo>
                  <a:lnTo>
                    <a:pt x="963" y="577"/>
                  </a:lnTo>
                  <a:lnTo>
                    <a:pt x="951" y="580"/>
                  </a:lnTo>
                  <a:lnTo>
                    <a:pt x="939" y="582"/>
                  </a:lnTo>
                  <a:lnTo>
                    <a:pt x="927" y="584"/>
                  </a:lnTo>
                  <a:lnTo>
                    <a:pt x="915" y="585"/>
                  </a:lnTo>
                  <a:lnTo>
                    <a:pt x="903" y="587"/>
                  </a:lnTo>
                  <a:lnTo>
                    <a:pt x="891" y="587"/>
                  </a:lnTo>
                  <a:lnTo>
                    <a:pt x="866" y="588"/>
                  </a:lnTo>
                  <a:lnTo>
                    <a:pt x="844" y="588"/>
                  </a:lnTo>
                  <a:lnTo>
                    <a:pt x="823" y="586"/>
                  </a:lnTo>
                  <a:lnTo>
                    <a:pt x="813" y="584"/>
                  </a:lnTo>
                  <a:lnTo>
                    <a:pt x="802" y="583"/>
                  </a:lnTo>
                  <a:lnTo>
                    <a:pt x="792" y="580"/>
                  </a:lnTo>
                  <a:lnTo>
                    <a:pt x="782" y="578"/>
                  </a:lnTo>
                  <a:lnTo>
                    <a:pt x="772" y="575"/>
                  </a:lnTo>
                  <a:lnTo>
                    <a:pt x="762" y="572"/>
                  </a:lnTo>
                  <a:lnTo>
                    <a:pt x="753" y="568"/>
                  </a:lnTo>
                  <a:lnTo>
                    <a:pt x="744" y="564"/>
                  </a:lnTo>
                  <a:lnTo>
                    <a:pt x="735" y="559"/>
                  </a:lnTo>
                  <a:lnTo>
                    <a:pt x="726" y="554"/>
                  </a:lnTo>
                  <a:lnTo>
                    <a:pt x="718" y="549"/>
                  </a:lnTo>
                  <a:lnTo>
                    <a:pt x="710" y="543"/>
                  </a:lnTo>
                  <a:lnTo>
                    <a:pt x="702" y="537"/>
                  </a:lnTo>
                  <a:lnTo>
                    <a:pt x="694" y="530"/>
                  </a:lnTo>
                  <a:lnTo>
                    <a:pt x="687" y="522"/>
                  </a:lnTo>
                  <a:lnTo>
                    <a:pt x="681" y="514"/>
                  </a:lnTo>
                  <a:lnTo>
                    <a:pt x="675" y="505"/>
                  </a:lnTo>
                  <a:lnTo>
                    <a:pt x="669" y="496"/>
                  </a:lnTo>
                  <a:lnTo>
                    <a:pt x="664" y="486"/>
                  </a:lnTo>
                  <a:lnTo>
                    <a:pt x="659" y="476"/>
                  </a:lnTo>
                  <a:lnTo>
                    <a:pt x="654" y="465"/>
                  </a:lnTo>
                  <a:lnTo>
                    <a:pt x="652" y="459"/>
                  </a:lnTo>
                  <a:lnTo>
                    <a:pt x="651" y="454"/>
                  </a:lnTo>
                  <a:lnTo>
                    <a:pt x="647" y="441"/>
                  </a:lnTo>
                  <a:lnTo>
                    <a:pt x="645" y="429"/>
                  </a:lnTo>
                  <a:lnTo>
                    <a:pt x="642" y="415"/>
                  </a:lnTo>
                  <a:lnTo>
                    <a:pt x="642" y="408"/>
                  </a:lnTo>
                  <a:lnTo>
                    <a:pt x="641" y="401"/>
                  </a:lnTo>
                  <a:lnTo>
                    <a:pt x="640" y="386"/>
                  </a:lnTo>
                  <a:lnTo>
                    <a:pt x="640" y="370"/>
                  </a:lnTo>
                  <a:lnTo>
                    <a:pt x="640" y="355"/>
                  </a:lnTo>
                  <a:lnTo>
                    <a:pt x="641" y="340"/>
                  </a:lnTo>
                  <a:lnTo>
                    <a:pt x="643" y="326"/>
                  </a:lnTo>
                  <a:lnTo>
                    <a:pt x="646" y="313"/>
                  </a:lnTo>
                  <a:lnTo>
                    <a:pt x="649" y="300"/>
                  </a:lnTo>
                  <a:lnTo>
                    <a:pt x="653" y="288"/>
                  </a:lnTo>
                  <a:lnTo>
                    <a:pt x="657" y="276"/>
                  </a:lnTo>
                  <a:lnTo>
                    <a:pt x="662" y="265"/>
                  </a:lnTo>
                  <a:lnTo>
                    <a:pt x="668" y="255"/>
                  </a:lnTo>
                  <a:lnTo>
                    <a:pt x="674" y="245"/>
                  </a:lnTo>
                  <a:lnTo>
                    <a:pt x="680" y="236"/>
                  </a:lnTo>
                  <a:lnTo>
                    <a:pt x="687" y="227"/>
                  </a:lnTo>
                  <a:lnTo>
                    <a:pt x="694" y="219"/>
                  </a:lnTo>
                  <a:lnTo>
                    <a:pt x="702" y="212"/>
                  </a:lnTo>
                  <a:lnTo>
                    <a:pt x="710" y="204"/>
                  </a:lnTo>
                  <a:lnTo>
                    <a:pt x="718" y="198"/>
                  </a:lnTo>
                  <a:lnTo>
                    <a:pt x="727" y="192"/>
                  </a:lnTo>
                  <a:lnTo>
                    <a:pt x="735" y="186"/>
                  </a:lnTo>
                  <a:lnTo>
                    <a:pt x="744" y="181"/>
                  </a:lnTo>
                  <a:lnTo>
                    <a:pt x="753" y="177"/>
                  </a:lnTo>
                  <a:lnTo>
                    <a:pt x="762" y="172"/>
                  </a:lnTo>
                  <a:lnTo>
                    <a:pt x="771" y="169"/>
                  </a:lnTo>
                  <a:lnTo>
                    <a:pt x="781" y="165"/>
                  </a:lnTo>
                  <a:lnTo>
                    <a:pt x="790" y="162"/>
                  </a:lnTo>
                  <a:lnTo>
                    <a:pt x="799" y="160"/>
                  </a:lnTo>
                  <a:lnTo>
                    <a:pt x="808" y="158"/>
                  </a:lnTo>
                  <a:lnTo>
                    <a:pt x="817" y="156"/>
                  </a:lnTo>
                  <a:lnTo>
                    <a:pt x="826" y="154"/>
                  </a:lnTo>
                  <a:lnTo>
                    <a:pt x="844" y="152"/>
                  </a:lnTo>
                  <a:lnTo>
                    <a:pt x="852" y="152"/>
                  </a:lnTo>
                  <a:lnTo>
                    <a:pt x="860" y="152"/>
                  </a:lnTo>
                  <a:lnTo>
                    <a:pt x="868" y="152"/>
                  </a:lnTo>
                  <a:lnTo>
                    <a:pt x="876" y="152"/>
                  </a:lnTo>
                  <a:lnTo>
                    <a:pt x="893" y="153"/>
                  </a:lnTo>
                  <a:lnTo>
                    <a:pt x="901" y="155"/>
                  </a:lnTo>
                  <a:lnTo>
                    <a:pt x="910" y="156"/>
                  </a:lnTo>
                  <a:lnTo>
                    <a:pt x="927" y="160"/>
                  </a:lnTo>
                  <a:lnTo>
                    <a:pt x="936" y="162"/>
                  </a:lnTo>
                  <a:lnTo>
                    <a:pt x="944" y="165"/>
                  </a:lnTo>
                  <a:lnTo>
                    <a:pt x="953" y="168"/>
                  </a:lnTo>
                  <a:lnTo>
                    <a:pt x="961" y="172"/>
                  </a:lnTo>
                  <a:lnTo>
                    <a:pt x="969" y="177"/>
                  </a:lnTo>
                  <a:lnTo>
                    <a:pt x="977" y="181"/>
                  </a:lnTo>
                  <a:lnTo>
                    <a:pt x="985" y="187"/>
                  </a:lnTo>
                  <a:lnTo>
                    <a:pt x="993" y="193"/>
                  </a:lnTo>
                  <a:lnTo>
                    <a:pt x="1000" y="199"/>
                  </a:lnTo>
                  <a:lnTo>
                    <a:pt x="1007" y="207"/>
                  </a:lnTo>
                  <a:lnTo>
                    <a:pt x="1014" y="215"/>
                  </a:lnTo>
                  <a:lnTo>
                    <a:pt x="1021" y="223"/>
                  </a:lnTo>
                  <a:lnTo>
                    <a:pt x="1027" y="233"/>
                  </a:lnTo>
                  <a:lnTo>
                    <a:pt x="1032" y="243"/>
                  </a:lnTo>
                  <a:lnTo>
                    <a:pt x="1035" y="248"/>
                  </a:lnTo>
                  <a:lnTo>
                    <a:pt x="1038" y="253"/>
                  </a:lnTo>
                  <a:lnTo>
                    <a:pt x="1043" y="265"/>
                  </a:lnTo>
                  <a:lnTo>
                    <a:pt x="1047" y="278"/>
                  </a:lnTo>
                  <a:lnTo>
                    <a:pt x="1051" y="291"/>
                  </a:lnTo>
                  <a:lnTo>
                    <a:pt x="1054" y="305"/>
                  </a:lnTo>
                  <a:lnTo>
                    <a:pt x="1057" y="320"/>
                  </a:lnTo>
                  <a:lnTo>
                    <a:pt x="1060" y="336"/>
                  </a:lnTo>
                  <a:lnTo>
                    <a:pt x="1061" y="354"/>
                  </a:lnTo>
                  <a:lnTo>
                    <a:pt x="1062" y="372"/>
                  </a:lnTo>
                  <a:lnTo>
                    <a:pt x="1063" y="391"/>
                  </a:lnTo>
                  <a:lnTo>
                    <a:pt x="1063" y="408"/>
                  </a:lnTo>
                  <a:close/>
                  <a:moveTo>
                    <a:pt x="918" y="326"/>
                  </a:moveTo>
                  <a:lnTo>
                    <a:pt x="921" y="325"/>
                  </a:lnTo>
                  <a:lnTo>
                    <a:pt x="922" y="325"/>
                  </a:lnTo>
                  <a:lnTo>
                    <a:pt x="923" y="323"/>
                  </a:lnTo>
                  <a:lnTo>
                    <a:pt x="924" y="322"/>
                  </a:lnTo>
                  <a:lnTo>
                    <a:pt x="925" y="319"/>
                  </a:lnTo>
                  <a:lnTo>
                    <a:pt x="924" y="318"/>
                  </a:lnTo>
                  <a:lnTo>
                    <a:pt x="923" y="311"/>
                  </a:lnTo>
                  <a:lnTo>
                    <a:pt x="922" y="304"/>
                  </a:lnTo>
                  <a:lnTo>
                    <a:pt x="920" y="297"/>
                  </a:lnTo>
                  <a:lnTo>
                    <a:pt x="917" y="291"/>
                  </a:lnTo>
                  <a:lnTo>
                    <a:pt x="915" y="286"/>
                  </a:lnTo>
                  <a:lnTo>
                    <a:pt x="911" y="281"/>
                  </a:lnTo>
                  <a:lnTo>
                    <a:pt x="908" y="277"/>
                  </a:lnTo>
                  <a:lnTo>
                    <a:pt x="904" y="273"/>
                  </a:lnTo>
                  <a:lnTo>
                    <a:pt x="900" y="270"/>
                  </a:lnTo>
                  <a:lnTo>
                    <a:pt x="895" y="267"/>
                  </a:lnTo>
                  <a:lnTo>
                    <a:pt x="890" y="265"/>
                  </a:lnTo>
                  <a:lnTo>
                    <a:pt x="885" y="263"/>
                  </a:lnTo>
                  <a:lnTo>
                    <a:pt x="879" y="262"/>
                  </a:lnTo>
                  <a:lnTo>
                    <a:pt x="873" y="261"/>
                  </a:lnTo>
                  <a:lnTo>
                    <a:pt x="866" y="260"/>
                  </a:lnTo>
                  <a:lnTo>
                    <a:pt x="860" y="260"/>
                  </a:lnTo>
                  <a:lnTo>
                    <a:pt x="854" y="260"/>
                  </a:lnTo>
                  <a:lnTo>
                    <a:pt x="849" y="261"/>
                  </a:lnTo>
                  <a:lnTo>
                    <a:pt x="844" y="262"/>
                  </a:lnTo>
                  <a:lnTo>
                    <a:pt x="839" y="263"/>
                  </a:lnTo>
                  <a:lnTo>
                    <a:pt x="834" y="265"/>
                  </a:lnTo>
                  <a:lnTo>
                    <a:pt x="830" y="267"/>
                  </a:lnTo>
                  <a:lnTo>
                    <a:pt x="826" y="270"/>
                  </a:lnTo>
                  <a:lnTo>
                    <a:pt x="821" y="273"/>
                  </a:lnTo>
                  <a:lnTo>
                    <a:pt x="818" y="277"/>
                  </a:lnTo>
                  <a:lnTo>
                    <a:pt x="814" y="281"/>
                  </a:lnTo>
                  <a:lnTo>
                    <a:pt x="810" y="286"/>
                  </a:lnTo>
                  <a:lnTo>
                    <a:pt x="807" y="291"/>
                  </a:lnTo>
                  <a:lnTo>
                    <a:pt x="804" y="297"/>
                  </a:lnTo>
                  <a:lnTo>
                    <a:pt x="802" y="304"/>
                  </a:lnTo>
                  <a:lnTo>
                    <a:pt x="799" y="311"/>
                  </a:lnTo>
                  <a:lnTo>
                    <a:pt x="797" y="318"/>
                  </a:lnTo>
                  <a:lnTo>
                    <a:pt x="797" y="321"/>
                  </a:lnTo>
                  <a:lnTo>
                    <a:pt x="797" y="323"/>
                  </a:lnTo>
                  <a:lnTo>
                    <a:pt x="798" y="324"/>
                  </a:lnTo>
                  <a:lnTo>
                    <a:pt x="799" y="325"/>
                  </a:lnTo>
                  <a:lnTo>
                    <a:pt x="800" y="326"/>
                  </a:lnTo>
                  <a:lnTo>
                    <a:pt x="802" y="326"/>
                  </a:lnTo>
                  <a:lnTo>
                    <a:pt x="918" y="326"/>
                  </a:lnTo>
                  <a:close/>
                  <a:moveTo>
                    <a:pt x="1595" y="588"/>
                  </a:moveTo>
                  <a:lnTo>
                    <a:pt x="1577" y="588"/>
                  </a:lnTo>
                  <a:lnTo>
                    <a:pt x="1560" y="587"/>
                  </a:lnTo>
                  <a:lnTo>
                    <a:pt x="1543" y="585"/>
                  </a:lnTo>
                  <a:lnTo>
                    <a:pt x="1528" y="584"/>
                  </a:lnTo>
                  <a:lnTo>
                    <a:pt x="1513" y="581"/>
                  </a:lnTo>
                  <a:lnTo>
                    <a:pt x="1499" y="578"/>
                  </a:lnTo>
                  <a:lnTo>
                    <a:pt x="1485" y="575"/>
                  </a:lnTo>
                  <a:lnTo>
                    <a:pt x="1472" y="571"/>
                  </a:lnTo>
                  <a:lnTo>
                    <a:pt x="1460" y="567"/>
                  </a:lnTo>
                  <a:lnTo>
                    <a:pt x="1449" y="563"/>
                  </a:lnTo>
                  <a:lnTo>
                    <a:pt x="1438" y="558"/>
                  </a:lnTo>
                  <a:lnTo>
                    <a:pt x="1427" y="553"/>
                  </a:lnTo>
                  <a:lnTo>
                    <a:pt x="1418" y="548"/>
                  </a:lnTo>
                  <a:lnTo>
                    <a:pt x="1409" y="543"/>
                  </a:lnTo>
                  <a:lnTo>
                    <a:pt x="1393" y="532"/>
                  </a:lnTo>
                  <a:lnTo>
                    <a:pt x="1391" y="531"/>
                  </a:lnTo>
                  <a:lnTo>
                    <a:pt x="1390" y="529"/>
                  </a:lnTo>
                  <a:lnTo>
                    <a:pt x="1389" y="527"/>
                  </a:lnTo>
                  <a:lnTo>
                    <a:pt x="1389" y="525"/>
                  </a:lnTo>
                  <a:lnTo>
                    <a:pt x="1390" y="523"/>
                  </a:lnTo>
                  <a:lnTo>
                    <a:pt x="1391" y="522"/>
                  </a:lnTo>
                  <a:lnTo>
                    <a:pt x="1440" y="446"/>
                  </a:lnTo>
                  <a:lnTo>
                    <a:pt x="1442" y="444"/>
                  </a:lnTo>
                  <a:lnTo>
                    <a:pt x="1443" y="444"/>
                  </a:lnTo>
                  <a:lnTo>
                    <a:pt x="1444" y="443"/>
                  </a:lnTo>
                  <a:lnTo>
                    <a:pt x="1446" y="443"/>
                  </a:lnTo>
                  <a:lnTo>
                    <a:pt x="1448" y="444"/>
                  </a:lnTo>
                  <a:lnTo>
                    <a:pt x="1450" y="445"/>
                  </a:lnTo>
                  <a:lnTo>
                    <a:pt x="1465" y="456"/>
                  </a:lnTo>
                  <a:lnTo>
                    <a:pt x="1483" y="465"/>
                  </a:lnTo>
                  <a:lnTo>
                    <a:pt x="1501" y="473"/>
                  </a:lnTo>
                  <a:lnTo>
                    <a:pt x="1510" y="476"/>
                  </a:lnTo>
                  <a:lnTo>
                    <a:pt x="1520" y="479"/>
                  </a:lnTo>
                  <a:lnTo>
                    <a:pt x="1529" y="482"/>
                  </a:lnTo>
                  <a:lnTo>
                    <a:pt x="1539" y="485"/>
                  </a:lnTo>
                  <a:lnTo>
                    <a:pt x="1558" y="489"/>
                  </a:lnTo>
                  <a:lnTo>
                    <a:pt x="1576" y="491"/>
                  </a:lnTo>
                  <a:lnTo>
                    <a:pt x="1594" y="492"/>
                  </a:lnTo>
                  <a:lnTo>
                    <a:pt x="1604" y="491"/>
                  </a:lnTo>
                  <a:lnTo>
                    <a:pt x="1613" y="490"/>
                  </a:lnTo>
                  <a:lnTo>
                    <a:pt x="1622" y="488"/>
                  </a:lnTo>
                  <a:lnTo>
                    <a:pt x="1629" y="486"/>
                  </a:lnTo>
                  <a:lnTo>
                    <a:pt x="1632" y="484"/>
                  </a:lnTo>
                  <a:lnTo>
                    <a:pt x="1635" y="482"/>
                  </a:lnTo>
                  <a:lnTo>
                    <a:pt x="1638" y="480"/>
                  </a:lnTo>
                  <a:lnTo>
                    <a:pt x="1640" y="477"/>
                  </a:lnTo>
                  <a:lnTo>
                    <a:pt x="1642" y="474"/>
                  </a:lnTo>
                  <a:lnTo>
                    <a:pt x="1643" y="471"/>
                  </a:lnTo>
                  <a:lnTo>
                    <a:pt x="1644" y="468"/>
                  </a:lnTo>
                  <a:lnTo>
                    <a:pt x="1644" y="464"/>
                  </a:lnTo>
                  <a:lnTo>
                    <a:pt x="1644" y="461"/>
                  </a:lnTo>
                  <a:lnTo>
                    <a:pt x="1643" y="457"/>
                  </a:lnTo>
                  <a:lnTo>
                    <a:pt x="1642" y="454"/>
                  </a:lnTo>
                  <a:lnTo>
                    <a:pt x="1641" y="451"/>
                  </a:lnTo>
                  <a:lnTo>
                    <a:pt x="1640" y="449"/>
                  </a:lnTo>
                  <a:lnTo>
                    <a:pt x="1638" y="448"/>
                  </a:lnTo>
                  <a:lnTo>
                    <a:pt x="1636" y="445"/>
                  </a:lnTo>
                  <a:lnTo>
                    <a:pt x="1629" y="441"/>
                  </a:lnTo>
                  <a:lnTo>
                    <a:pt x="1620" y="437"/>
                  </a:lnTo>
                  <a:lnTo>
                    <a:pt x="1609" y="434"/>
                  </a:lnTo>
                  <a:lnTo>
                    <a:pt x="1595" y="432"/>
                  </a:lnTo>
                  <a:lnTo>
                    <a:pt x="1579" y="429"/>
                  </a:lnTo>
                  <a:lnTo>
                    <a:pt x="1551" y="425"/>
                  </a:lnTo>
                  <a:lnTo>
                    <a:pt x="1537" y="422"/>
                  </a:lnTo>
                  <a:lnTo>
                    <a:pt x="1522" y="419"/>
                  </a:lnTo>
                  <a:lnTo>
                    <a:pt x="1508" y="415"/>
                  </a:lnTo>
                  <a:lnTo>
                    <a:pt x="1493" y="411"/>
                  </a:lnTo>
                  <a:lnTo>
                    <a:pt x="1480" y="405"/>
                  </a:lnTo>
                  <a:lnTo>
                    <a:pt x="1466" y="398"/>
                  </a:lnTo>
                  <a:lnTo>
                    <a:pt x="1460" y="395"/>
                  </a:lnTo>
                  <a:lnTo>
                    <a:pt x="1454" y="391"/>
                  </a:lnTo>
                  <a:lnTo>
                    <a:pt x="1448" y="386"/>
                  </a:lnTo>
                  <a:lnTo>
                    <a:pt x="1443" y="382"/>
                  </a:lnTo>
                  <a:lnTo>
                    <a:pt x="1438" y="377"/>
                  </a:lnTo>
                  <a:lnTo>
                    <a:pt x="1433" y="371"/>
                  </a:lnTo>
                  <a:lnTo>
                    <a:pt x="1428" y="366"/>
                  </a:lnTo>
                  <a:lnTo>
                    <a:pt x="1424" y="359"/>
                  </a:lnTo>
                  <a:lnTo>
                    <a:pt x="1420" y="353"/>
                  </a:lnTo>
                  <a:lnTo>
                    <a:pt x="1417" y="346"/>
                  </a:lnTo>
                  <a:lnTo>
                    <a:pt x="1414" y="338"/>
                  </a:lnTo>
                  <a:lnTo>
                    <a:pt x="1411" y="330"/>
                  </a:lnTo>
                  <a:lnTo>
                    <a:pt x="1410" y="322"/>
                  </a:lnTo>
                  <a:lnTo>
                    <a:pt x="1408" y="313"/>
                  </a:lnTo>
                  <a:lnTo>
                    <a:pt x="1408" y="308"/>
                  </a:lnTo>
                  <a:lnTo>
                    <a:pt x="1407" y="304"/>
                  </a:lnTo>
                  <a:lnTo>
                    <a:pt x="1407" y="294"/>
                  </a:lnTo>
                  <a:lnTo>
                    <a:pt x="1407" y="285"/>
                  </a:lnTo>
                  <a:lnTo>
                    <a:pt x="1408" y="277"/>
                  </a:lnTo>
                  <a:lnTo>
                    <a:pt x="1409" y="268"/>
                  </a:lnTo>
                  <a:lnTo>
                    <a:pt x="1410" y="261"/>
                  </a:lnTo>
                  <a:lnTo>
                    <a:pt x="1412" y="253"/>
                  </a:lnTo>
                  <a:lnTo>
                    <a:pt x="1415" y="246"/>
                  </a:lnTo>
                  <a:lnTo>
                    <a:pt x="1417" y="239"/>
                  </a:lnTo>
                  <a:lnTo>
                    <a:pt x="1420" y="232"/>
                  </a:lnTo>
                  <a:lnTo>
                    <a:pt x="1424" y="225"/>
                  </a:lnTo>
                  <a:lnTo>
                    <a:pt x="1428" y="219"/>
                  </a:lnTo>
                  <a:lnTo>
                    <a:pt x="1436" y="208"/>
                  </a:lnTo>
                  <a:lnTo>
                    <a:pt x="1441" y="202"/>
                  </a:lnTo>
                  <a:lnTo>
                    <a:pt x="1446" y="197"/>
                  </a:lnTo>
                  <a:lnTo>
                    <a:pt x="1457" y="188"/>
                  </a:lnTo>
                  <a:lnTo>
                    <a:pt x="1463" y="183"/>
                  </a:lnTo>
                  <a:lnTo>
                    <a:pt x="1469" y="179"/>
                  </a:lnTo>
                  <a:lnTo>
                    <a:pt x="1483" y="172"/>
                  </a:lnTo>
                  <a:lnTo>
                    <a:pt x="1490" y="169"/>
                  </a:lnTo>
                  <a:lnTo>
                    <a:pt x="1497" y="166"/>
                  </a:lnTo>
                  <a:lnTo>
                    <a:pt x="1512" y="161"/>
                  </a:lnTo>
                  <a:lnTo>
                    <a:pt x="1528" y="157"/>
                  </a:lnTo>
                  <a:lnTo>
                    <a:pt x="1544" y="154"/>
                  </a:lnTo>
                  <a:lnTo>
                    <a:pt x="1561" y="152"/>
                  </a:lnTo>
                  <a:lnTo>
                    <a:pt x="1579" y="152"/>
                  </a:lnTo>
                  <a:lnTo>
                    <a:pt x="1595" y="152"/>
                  </a:lnTo>
                  <a:lnTo>
                    <a:pt x="1611" y="153"/>
                  </a:lnTo>
                  <a:lnTo>
                    <a:pt x="1626" y="154"/>
                  </a:lnTo>
                  <a:lnTo>
                    <a:pt x="1641" y="156"/>
                  </a:lnTo>
                  <a:lnTo>
                    <a:pt x="1654" y="158"/>
                  </a:lnTo>
                  <a:lnTo>
                    <a:pt x="1667" y="160"/>
                  </a:lnTo>
                  <a:lnTo>
                    <a:pt x="1679" y="163"/>
                  </a:lnTo>
                  <a:lnTo>
                    <a:pt x="1691" y="167"/>
                  </a:lnTo>
                  <a:lnTo>
                    <a:pt x="1702" y="170"/>
                  </a:lnTo>
                  <a:lnTo>
                    <a:pt x="1713" y="174"/>
                  </a:lnTo>
                  <a:lnTo>
                    <a:pt x="1723" y="179"/>
                  </a:lnTo>
                  <a:lnTo>
                    <a:pt x="1733" y="183"/>
                  </a:lnTo>
                  <a:lnTo>
                    <a:pt x="1742" y="188"/>
                  </a:lnTo>
                  <a:lnTo>
                    <a:pt x="1751" y="194"/>
                  </a:lnTo>
                  <a:lnTo>
                    <a:pt x="1768" y="205"/>
                  </a:lnTo>
                  <a:lnTo>
                    <a:pt x="1770" y="207"/>
                  </a:lnTo>
                  <a:lnTo>
                    <a:pt x="1771" y="209"/>
                  </a:lnTo>
                  <a:lnTo>
                    <a:pt x="1772" y="211"/>
                  </a:lnTo>
                  <a:lnTo>
                    <a:pt x="1772" y="212"/>
                  </a:lnTo>
                  <a:lnTo>
                    <a:pt x="1771" y="215"/>
                  </a:lnTo>
                  <a:lnTo>
                    <a:pt x="1770" y="216"/>
                  </a:lnTo>
                  <a:lnTo>
                    <a:pt x="1722" y="288"/>
                  </a:lnTo>
                  <a:lnTo>
                    <a:pt x="1720" y="290"/>
                  </a:lnTo>
                  <a:lnTo>
                    <a:pt x="1718" y="292"/>
                  </a:lnTo>
                  <a:lnTo>
                    <a:pt x="1716" y="292"/>
                  </a:lnTo>
                  <a:lnTo>
                    <a:pt x="1715" y="292"/>
                  </a:lnTo>
                  <a:lnTo>
                    <a:pt x="1711" y="292"/>
                  </a:lnTo>
                  <a:lnTo>
                    <a:pt x="1708" y="290"/>
                  </a:lnTo>
                  <a:lnTo>
                    <a:pt x="1693" y="282"/>
                  </a:lnTo>
                  <a:lnTo>
                    <a:pt x="1677" y="274"/>
                  </a:lnTo>
                  <a:lnTo>
                    <a:pt x="1662" y="268"/>
                  </a:lnTo>
                  <a:lnTo>
                    <a:pt x="1647" y="263"/>
                  </a:lnTo>
                  <a:lnTo>
                    <a:pt x="1633" y="258"/>
                  </a:lnTo>
                  <a:lnTo>
                    <a:pt x="1619" y="255"/>
                  </a:lnTo>
                  <a:lnTo>
                    <a:pt x="1612" y="254"/>
                  </a:lnTo>
                  <a:lnTo>
                    <a:pt x="1606" y="254"/>
                  </a:lnTo>
                  <a:lnTo>
                    <a:pt x="1593" y="253"/>
                  </a:lnTo>
                  <a:lnTo>
                    <a:pt x="1584" y="253"/>
                  </a:lnTo>
                  <a:lnTo>
                    <a:pt x="1576" y="254"/>
                  </a:lnTo>
                  <a:lnTo>
                    <a:pt x="1568" y="256"/>
                  </a:lnTo>
                  <a:lnTo>
                    <a:pt x="1562" y="259"/>
                  </a:lnTo>
                  <a:lnTo>
                    <a:pt x="1560" y="261"/>
                  </a:lnTo>
                  <a:lnTo>
                    <a:pt x="1557" y="263"/>
                  </a:lnTo>
                  <a:lnTo>
                    <a:pt x="1554" y="267"/>
                  </a:lnTo>
                  <a:lnTo>
                    <a:pt x="1552" y="270"/>
                  </a:lnTo>
                  <a:lnTo>
                    <a:pt x="1551" y="273"/>
                  </a:lnTo>
                  <a:lnTo>
                    <a:pt x="1551" y="276"/>
                  </a:lnTo>
                  <a:lnTo>
                    <a:pt x="1550" y="280"/>
                  </a:lnTo>
                  <a:lnTo>
                    <a:pt x="1551" y="283"/>
                  </a:lnTo>
                  <a:lnTo>
                    <a:pt x="1551" y="286"/>
                  </a:lnTo>
                  <a:lnTo>
                    <a:pt x="1553" y="289"/>
                  </a:lnTo>
                  <a:lnTo>
                    <a:pt x="1555" y="292"/>
                  </a:lnTo>
                  <a:lnTo>
                    <a:pt x="1557" y="295"/>
                  </a:lnTo>
                  <a:lnTo>
                    <a:pt x="1560" y="297"/>
                  </a:lnTo>
                  <a:lnTo>
                    <a:pt x="1563" y="299"/>
                  </a:lnTo>
                  <a:lnTo>
                    <a:pt x="1567" y="301"/>
                  </a:lnTo>
                  <a:lnTo>
                    <a:pt x="1576" y="304"/>
                  </a:lnTo>
                  <a:lnTo>
                    <a:pt x="1587" y="307"/>
                  </a:lnTo>
                  <a:lnTo>
                    <a:pt x="1600" y="309"/>
                  </a:lnTo>
                  <a:lnTo>
                    <a:pt x="1615" y="312"/>
                  </a:lnTo>
                  <a:lnTo>
                    <a:pt x="1642" y="316"/>
                  </a:lnTo>
                  <a:lnTo>
                    <a:pt x="1657" y="318"/>
                  </a:lnTo>
                  <a:lnTo>
                    <a:pt x="1672" y="321"/>
                  </a:lnTo>
                  <a:lnTo>
                    <a:pt x="1686" y="325"/>
                  </a:lnTo>
                  <a:lnTo>
                    <a:pt x="1701" y="329"/>
                  </a:lnTo>
                  <a:lnTo>
                    <a:pt x="1715" y="334"/>
                  </a:lnTo>
                  <a:lnTo>
                    <a:pt x="1728" y="340"/>
                  </a:lnTo>
                  <a:lnTo>
                    <a:pt x="1740" y="348"/>
                  </a:lnTo>
                  <a:lnTo>
                    <a:pt x="1746" y="352"/>
                  </a:lnTo>
                  <a:lnTo>
                    <a:pt x="1752" y="356"/>
                  </a:lnTo>
                  <a:lnTo>
                    <a:pt x="1757" y="361"/>
                  </a:lnTo>
                  <a:lnTo>
                    <a:pt x="1762" y="366"/>
                  </a:lnTo>
                  <a:lnTo>
                    <a:pt x="1766" y="371"/>
                  </a:lnTo>
                  <a:lnTo>
                    <a:pt x="1771" y="377"/>
                  </a:lnTo>
                  <a:lnTo>
                    <a:pt x="1774" y="383"/>
                  </a:lnTo>
                  <a:lnTo>
                    <a:pt x="1778" y="390"/>
                  </a:lnTo>
                  <a:lnTo>
                    <a:pt x="1781" y="397"/>
                  </a:lnTo>
                  <a:lnTo>
                    <a:pt x="1783" y="404"/>
                  </a:lnTo>
                  <a:lnTo>
                    <a:pt x="1785" y="412"/>
                  </a:lnTo>
                  <a:lnTo>
                    <a:pt x="1787" y="420"/>
                  </a:lnTo>
                  <a:lnTo>
                    <a:pt x="1787" y="425"/>
                  </a:lnTo>
                  <a:lnTo>
                    <a:pt x="1787" y="429"/>
                  </a:lnTo>
                  <a:lnTo>
                    <a:pt x="1788" y="438"/>
                  </a:lnTo>
                  <a:lnTo>
                    <a:pt x="1787" y="449"/>
                  </a:lnTo>
                  <a:lnTo>
                    <a:pt x="1787" y="458"/>
                  </a:lnTo>
                  <a:lnTo>
                    <a:pt x="1785" y="468"/>
                  </a:lnTo>
                  <a:lnTo>
                    <a:pt x="1783" y="477"/>
                  </a:lnTo>
                  <a:lnTo>
                    <a:pt x="1781" y="485"/>
                  </a:lnTo>
                  <a:lnTo>
                    <a:pt x="1778" y="494"/>
                  </a:lnTo>
                  <a:lnTo>
                    <a:pt x="1775" y="501"/>
                  </a:lnTo>
                  <a:lnTo>
                    <a:pt x="1771" y="509"/>
                  </a:lnTo>
                  <a:lnTo>
                    <a:pt x="1767" y="516"/>
                  </a:lnTo>
                  <a:lnTo>
                    <a:pt x="1763" y="523"/>
                  </a:lnTo>
                  <a:lnTo>
                    <a:pt x="1758" y="529"/>
                  </a:lnTo>
                  <a:lnTo>
                    <a:pt x="1752" y="535"/>
                  </a:lnTo>
                  <a:lnTo>
                    <a:pt x="1747" y="540"/>
                  </a:lnTo>
                  <a:lnTo>
                    <a:pt x="1741" y="546"/>
                  </a:lnTo>
                  <a:lnTo>
                    <a:pt x="1734" y="550"/>
                  </a:lnTo>
                  <a:lnTo>
                    <a:pt x="1728" y="555"/>
                  </a:lnTo>
                  <a:lnTo>
                    <a:pt x="1721" y="559"/>
                  </a:lnTo>
                  <a:lnTo>
                    <a:pt x="1714" y="563"/>
                  </a:lnTo>
                  <a:lnTo>
                    <a:pt x="1699" y="570"/>
                  </a:lnTo>
                  <a:lnTo>
                    <a:pt x="1683" y="576"/>
                  </a:lnTo>
                  <a:lnTo>
                    <a:pt x="1675" y="578"/>
                  </a:lnTo>
                  <a:lnTo>
                    <a:pt x="1666" y="580"/>
                  </a:lnTo>
                  <a:lnTo>
                    <a:pt x="1649" y="584"/>
                  </a:lnTo>
                  <a:lnTo>
                    <a:pt x="1631" y="586"/>
                  </a:lnTo>
                  <a:lnTo>
                    <a:pt x="1613" y="588"/>
                  </a:lnTo>
                  <a:lnTo>
                    <a:pt x="1595" y="58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18" name="(c)" hidden="1"/>
          <p:cNvSpPr txBox="1"/>
          <p:nvPr/>
        </p:nvSpPr>
        <p:spPr>
          <a:xfrm>
            <a:off x="11946442" y="6891795"/>
            <a:ext cx="238848" cy="30778"/>
          </a:xfrm>
          <a:prstGeom prst="rect">
            <a:avLst/>
          </a:prstGeom>
          <a:noFill/>
        </p:spPr>
        <p:txBody>
          <a:bodyPr wrap="none" lIns="0" tIns="0" rIns="0" bIns="0" rtlCol="0">
            <a:spAutoFit/>
          </a:bodyPr>
          <a:lstStyle/>
          <a:p>
            <a:pPr algn="r"/>
            <a:r>
              <a:rPr lang="fi-FI" sz="200" dirty="0">
                <a:solidFill>
                  <a:schemeClr val="bg1"/>
                </a:solidFill>
                <a:latin typeface="+mn-lt"/>
              </a:rPr>
              <a:t>©grow. for</a:t>
            </a:r>
            <a:r>
              <a:rPr lang="fi-FI" sz="200" baseline="0" dirty="0">
                <a:solidFill>
                  <a:schemeClr val="bg1"/>
                </a:solidFill>
                <a:latin typeface="+mn-lt"/>
              </a:rPr>
              <a:t> metsaliitto</a:t>
            </a:r>
            <a:endParaRPr lang="en-GB" sz="200" dirty="0" err="1">
              <a:solidFill>
                <a:schemeClr val="bg1"/>
              </a:solidFill>
              <a:latin typeface="+mn-lt"/>
            </a:endParaRPr>
          </a:p>
        </p:txBody>
      </p:sp>
      <p:pic>
        <p:nvPicPr>
          <p:cNvPr id="19" name="(logo)" descr="Z:\GRW (grow)\logot\copyright_grow.png" hidden="1"/>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36000"/>
            <a:ext cx="60261" cy="1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3197161"/>
      </p:ext>
    </p:extLst>
  </p:cSld>
  <p:clrMap bg1="lt1" tx1="dk1" bg2="lt2" tx2="dk2" accent1="accent1" accent2="accent2" accent3="accent3" accent4="accent4" accent5="accent5" accent6="accent6" hlink="hlink" folHlink="folHlink"/>
  <p:sldLayoutIdLst>
    <p:sldLayoutId id="2147483748" r:id="rId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txStyles>
    <p:titleStyle>
      <a:lvl1pPr algn="l" defTabSz="1219170" rtl="0" eaLnBrk="1" latinLnBrk="0" hangingPunct="1">
        <a:lnSpc>
          <a:spcPct val="90000"/>
        </a:lnSpc>
        <a:spcBef>
          <a:spcPct val="0"/>
        </a:spcBef>
        <a:buNone/>
        <a:defRPr sz="3200" b="1" kern="1200" spc="0" baseline="0">
          <a:solidFill>
            <a:schemeClr val="tx1"/>
          </a:solidFill>
          <a:latin typeface="+mj-lt"/>
          <a:ea typeface="+mj-ea"/>
          <a:cs typeface="+mj-cs"/>
        </a:defRPr>
      </a:lvl1pPr>
    </p:titleStyle>
    <p:bodyStyle>
      <a:lvl1pPr marL="269875" indent="-269875" algn="l" defTabSz="1219170" rtl="0" eaLnBrk="1" latinLnBrk="0" hangingPunct="1">
        <a:spcBef>
          <a:spcPts val="800"/>
        </a:spcBef>
        <a:buClr>
          <a:schemeClr val="tx1"/>
        </a:buClr>
        <a:buFont typeface="Arial" panose="020B0604020202020204" pitchFamily="34" charset="0"/>
        <a:buChar char="•"/>
        <a:defRPr sz="2000" kern="1200" spc="0" baseline="0">
          <a:solidFill>
            <a:schemeClr val="tx1"/>
          </a:solidFill>
          <a:latin typeface="+mn-lt"/>
          <a:ea typeface="+mn-ea"/>
          <a:cs typeface="+mn-cs"/>
        </a:defRPr>
      </a:lvl1pPr>
      <a:lvl2pPr marL="715963" indent="-269875" algn="l" defTabSz="1219170" rtl="0" eaLnBrk="1" latinLnBrk="0" hangingPunct="1">
        <a:spcBef>
          <a:spcPts val="800"/>
        </a:spcBef>
        <a:buClr>
          <a:schemeClr val="tx1"/>
        </a:buClr>
        <a:buFont typeface="Arial" panose="020B0604020202020204" pitchFamily="34" charset="0"/>
        <a:buChar char="–"/>
        <a:defRPr sz="1800" kern="1200" spc="0" baseline="0">
          <a:solidFill>
            <a:schemeClr val="tx1"/>
          </a:solidFill>
          <a:latin typeface="+mn-lt"/>
          <a:ea typeface="+mn-ea"/>
          <a:cs typeface="+mn-cs"/>
        </a:defRPr>
      </a:lvl2pPr>
      <a:lvl3pPr marL="985838" indent="-269875" algn="l" defTabSz="1219170" rtl="0" eaLnBrk="1" latinLnBrk="0" hangingPunct="1">
        <a:spcBef>
          <a:spcPts val="800"/>
        </a:spcBef>
        <a:buClr>
          <a:schemeClr val="tx1"/>
        </a:buClr>
        <a:buFont typeface="Arial" panose="020B0604020202020204" pitchFamily="34" charset="0"/>
        <a:buChar char="•"/>
        <a:defRPr sz="1600" kern="1200" spc="0" baseline="0">
          <a:solidFill>
            <a:schemeClr val="tx1"/>
          </a:solidFill>
          <a:latin typeface="+mn-lt"/>
          <a:ea typeface="+mn-ea"/>
          <a:cs typeface="+mn-cs"/>
        </a:defRPr>
      </a:lvl3pPr>
      <a:lvl4pPr marL="1431925" indent="-269875" algn="l" defTabSz="1219170" rtl="0" eaLnBrk="1" latinLnBrk="0" hangingPunct="1">
        <a:spcBef>
          <a:spcPts val="800"/>
        </a:spcBef>
        <a:buClr>
          <a:schemeClr val="tx1"/>
        </a:buClr>
        <a:buFont typeface="Arial" panose="020B0604020202020204" pitchFamily="34" charset="0"/>
        <a:buChar char="–"/>
        <a:defRPr sz="1400" kern="1200" spc="0" baseline="0">
          <a:solidFill>
            <a:schemeClr val="tx1"/>
          </a:solidFill>
          <a:latin typeface="+mn-lt"/>
          <a:ea typeface="+mn-ea"/>
          <a:cs typeface="+mn-cs"/>
        </a:defRPr>
      </a:lvl4pPr>
      <a:lvl5pPr marL="1701800" indent="-263525" algn="l" defTabSz="1219170" rtl="0" eaLnBrk="1" latinLnBrk="0" hangingPunct="1">
        <a:spcBef>
          <a:spcPts val="800"/>
        </a:spcBef>
        <a:buClr>
          <a:schemeClr val="tx1"/>
        </a:buClr>
        <a:buFont typeface="Arial" panose="020B0604020202020204" pitchFamily="34" charset="0"/>
        <a:buChar char="•"/>
        <a:defRPr sz="1400" kern="1200" spc="0" baseline="0">
          <a:solidFill>
            <a:schemeClr val="tx1"/>
          </a:solidFill>
          <a:latin typeface="+mn-lt"/>
          <a:ea typeface="+mn-ea"/>
          <a:cs typeface="+mn-cs"/>
        </a:defRPr>
      </a:lvl5pPr>
      <a:lvl6pPr marL="1971675" indent="-269875" algn="l" defTabSz="1219170" rtl="0" eaLnBrk="1" latinLnBrk="0" hangingPunct="1">
        <a:spcBef>
          <a:spcPts val="800"/>
        </a:spcBef>
        <a:buClr>
          <a:schemeClr val="tx1"/>
        </a:buClr>
        <a:buFont typeface="Arial" panose="020B0604020202020204" pitchFamily="34" charset="0"/>
        <a:buChar char="•"/>
        <a:defRPr sz="1200" kern="1200" spc="0" baseline="0">
          <a:solidFill>
            <a:schemeClr val="tx1"/>
          </a:solidFill>
          <a:latin typeface="+mn-lt"/>
          <a:ea typeface="+mn-ea"/>
          <a:cs typeface="+mn-cs"/>
        </a:defRPr>
      </a:lvl6pPr>
      <a:lvl7pPr marL="2241550" indent="-269875" algn="l" defTabSz="1219170" rtl="0" eaLnBrk="1" latinLnBrk="0" hangingPunct="1">
        <a:spcBef>
          <a:spcPts val="800"/>
        </a:spcBef>
        <a:buClr>
          <a:schemeClr val="tx1"/>
        </a:buClr>
        <a:buFont typeface="Arial" panose="020B0604020202020204" pitchFamily="34" charset="0"/>
        <a:buChar char="•"/>
        <a:defRPr sz="1200" kern="1200" spc="0" baseline="0">
          <a:solidFill>
            <a:schemeClr val="tx1"/>
          </a:solidFill>
          <a:latin typeface="+mn-lt"/>
          <a:ea typeface="+mn-ea"/>
          <a:cs typeface="+mn-cs"/>
        </a:defRPr>
      </a:lvl7pPr>
      <a:lvl8pPr marL="2513013" indent="-269875" algn="l" defTabSz="1219170" rtl="0" eaLnBrk="1" latinLnBrk="0" hangingPunct="1">
        <a:spcBef>
          <a:spcPts val="800"/>
        </a:spcBef>
        <a:buClr>
          <a:schemeClr val="tx1"/>
        </a:buClr>
        <a:buFont typeface="Arial" panose="020B0604020202020204" pitchFamily="34" charset="0"/>
        <a:buChar char="•"/>
        <a:defRPr sz="1200" kern="1200" spc="0" baseline="0">
          <a:solidFill>
            <a:schemeClr val="tx1"/>
          </a:solidFill>
          <a:latin typeface="+mn-lt"/>
          <a:ea typeface="+mn-ea"/>
          <a:cs typeface="+mn-cs"/>
        </a:defRPr>
      </a:lvl8pPr>
      <a:lvl9pPr marL="2782888" indent="-271463" algn="l" defTabSz="1219170" rtl="0" eaLnBrk="1" latinLnBrk="0" hangingPunct="1">
        <a:spcBef>
          <a:spcPts val="800"/>
        </a:spcBef>
        <a:buClr>
          <a:schemeClr val="tx1"/>
        </a:buClr>
        <a:buFont typeface="Arial" panose="020B0604020202020204" pitchFamily="34" charset="0"/>
        <a:buChar char="•"/>
        <a:defRPr sz="1200" kern="1200" spc="0" baseline="0">
          <a:solidFill>
            <a:schemeClr val="tx1"/>
          </a:solidFill>
          <a:latin typeface="+mn-lt"/>
          <a:ea typeface="+mn-ea"/>
          <a:cs typeface="+mn-cs"/>
        </a:defRPr>
      </a:lvl9pPr>
    </p:bodyStyle>
    <p:otherStyle>
      <a:defPPr>
        <a:defRPr lang="fi-FI"/>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B1F555-C463-47DC-BDB1-7BCB3C601CEC}"/>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64B1F555-C463-47DC-BDB1-7BCB3C601C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5C56F1BB-40D8-5641-B65A-DDFC0D4565BC}"/>
              </a:ext>
            </a:extLst>
          </p:cNvPr>
          <p:cNvSpPr>
            <a:spLocks noGrp="1"/>
          </p:cNvSpPr>
          <p:nvPr>
            <p:ph type="body" idx="1"/>
          </p:nvPr>
        </p:nvSpPr>
        <p:spPr>
          <a:xfrm>
            <a:off x="837843" y="1825625"/>
            <a:ext cx="1051631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FI"/>
          </a:p>
        </p:txBody>
      </p:sp>
      <p:sp>
        <p:nvSpPr>
          <p:cNvPr id="4" name="Date Placeholder 3">
            <a:extLst>
              <a:ext uri="{FF2B5EF4-FFF2-40B4-BE49-F238E27FC236}">
                <a16:creationId xmlns:a16="http://schemas.microsoft.com/office/drawing/2014/main" id="{1BEA9CF3-ABAA-7147-9C81-F339B39460F8}"/>
              </a:ext>
            </a:extLst>
          </p:cNvPr>
          <p:cNvSpPr>
            <a:spLocks noGrp="1"/>
          </p:cNvSpPr>
          <p:nvPr>
            <p:ph type="dt" sz="half" idx="2"/>
          </p:nvPr>
        </p:nvSpPr>
        <p:spPr>
          <a:xfrm>
            <a:off x="837843" y="6356350"/>
            <a:ext cx="2743835" cy="365125"/>
          </a:xfrm>
          <a:prstGeom prst="rect">
            <a:avLst/>
          </a:prstGeom>
        </p:spPr>
        <p:txBody>
          <a:bodyPr vert="horz" lIns="91440" tIns="45720" rIns="91440" bIns="45720" rtlCol="0" anchor="ctr"/>
          <a:lstStyle>
            <a:lvl1pPr algn="l">
              <a:defRPr sz="600">
                <a:solidFill>
                  <a:schemeClr val="tx1">
                    <a:tint val="75000"/>
                  </a:schemeClr>
                </a:solidFill>
              </a:defRPr>
            </a:lvl1pPr>
          </a:lstStyle>
          <a:p>
            <a:fld id="{BA7602FF-97FE-4B90-9F73-3DEA6CF6F1E1}" type="datetime1">
              <a:rPr lang="en-US" smtClean="0"/>
              <a:t>10/22/2025</a:t>
            </a:fld>
            <a:endParaRPr lang="en-FI"/>
          </a:p>
        </p:txBody>
      </p:sp>
      <p:sp>
        <p:nvSpPr>
          <p:cNvPr id="6" name="Slide Number Placeholder 5">
            <a:extLst>
              <a:ext uri="{FF2B5EF4-FFF2-40B4-BE49-F238E27FC236}">
                <a16:creationId xmlns:a16="http://schemas.microsoft.com/office/drawing/2014/main" id="{3197C5E7-9B7F-8C45-8A83-5693B08AC5FB}"/>
              </a:ext>
            </a:extLst>
          </p:cNvPr>
          <p:cNvSpPr>
            <a:spLocks noGrp="1"/>
          </p:cNvSpPr>
          <p:nvPr>
            <p:ph type="sldNum" sz="quarter" idx="4"/>
          </p:nvPr>
        </p:nvSpPr>
        <p:spPr>
          <a:xfrm>
            <a:off x="8610322" y="6356350"/>
            <a:ext cx="2743836" cy="365125"/>
          </a:xfrm>
          <a:prstGeom prst="rect">
            <a:avLst/>
          </a:prstGeom>
        </p:spPr>
        <p:txBody>
          <a:bodyPr vert="horz" lIns="91440" tIns="45720" rIns="91440" bIns="45720" rtlCol="0" anchor="ctr"/>
          <a:lstStyle>
            <a:lvl1pPr algn="r">
              <a:defRPr sz="600">
                <a:solidFill>
                  <a:schemeClr val="tx1">
                    <a:tint val="75000"/>
                  </a:schemeClr>
                </a:solidFill>
              </a:defRPr>
            </a:lvl1pPr>
          </a:lstStyle>
          <a:p>
            <a:fld id="{8DB85A3B-76C8-B74E-98CA-DA98142D40F8}" type="slidenum">
              <a:rPr lang="en-FI" smtClean="0"/>
              <a:t>‹#›</a:t>
            </a:fld>
            <a:endParaRPr lang="en-FI"/>
          </a:p>
        </p:txBody>
      </p:sp>
      <p:pic>
        <p:nvPicPr>
          <p:cNvPr id="7" name="bg.png" descr="bg.png">
            <a:extLst>
              <a:ext uri="{FF2B5EF4-FFF2-40B4-BE49-F238E27FC236}">
                <a16:creationId xmlns:a16="http://schemas.microsoft.com/office/drawing/2014/main" id="{69221F3D-F85B-1E41-8FA5-0658828C6549}"/>
              </a:ext>
            </a:extLst>
          </p:cNvPr>
          <p:cNvPicPr>
            <a:picLocks noChangeAspect="1"/>
          </p:cNvPicPr>
          <p:nvPr/>
        </p:nvPicPr>
        <p:blipFill rotWithShape="1">
          <a:blip r:embed="rId6"/>
          <a:srcRect r="20386" b="1645"/>
          <a:stretch/>
        </p:blipFill>
        <p:spPr>
          <a:xfrm>
            <a:off x="1" y="1"/>
            <a:ext cx="12192000" cy="6858000"/>
          </a:xfrm>
          <a:prstGeom prst="rect">
            <a:avLst/>
          </a:prstGeom>
          <a:ln w="12700">
            <a:miter lim="400000"/>
          </a:ln>
        </p:spPr>
      </p:pic>
      <p:pic>
        <p:nvPicPr>
          <p:cNvPr id="9" name="Picture 8">
            <a:extLst>
              <a:ext uri="{FF2B5EF4-FFF2-40B4-BE49-F238E27FC236}">
                <a16:creationId xmlns:a16="http://schemas.microsoft.com/office/drawing/2014/main" id="{EE5AB432-F0A2-4987-8383-0DB81F22F769}"/>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69670" y="1615900"/>
            <a:ext cx="3970148" cy="451439"/>
          </a:xfrm>
          <a:prstGeom prst="rect">
            <a:avLst/>
          </a:prstGeom>
        </p:spPr>
      </p:pic>
      <p:pic>
        <p:nvPicPr>
          <p:cNvPr id="12" name="Picture 7">
            <a:extLst>
              <a:ext uri="{FF2B5EF4-FFF2-40B4-BE49-F238E27FC236}">
                <a16:creationId xmlns:a16="http://schemas.microsoft.com/office/drawing/2014/main" id="{8278852A-AF63-A1D8-E63E-1BF3F1F13EC5}"/>
              </a:ext>
            </a:extLst>
          </p:cNvPr>
          <p:cNvPicPr>
            <a:picLocks noChangeAspect="1"/>
          </p:cNvPicPr>
          <p:nvPr userDrawn="1"/>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42340" r="57"/>
          <a:stretch/>
        </p:blipFill>
        <p:spPr>
          <a:xfrm>
            <a:off x="295013" y="6318699"/>
            <a:ext cx="2159731" cy="397565"/>
          </a:xfrm>
          <a:prstGeom prst="rect">
            <a:avLst/>
          </a:prstGeom>
        </p:spPr>
      </p:pic>
    </p:spTree>
    <p:extLst>
      <p:ext uri="{BB962C8B-B14F-4D97-AF65-F5344CB8AC3E}">
        <p14:creationId xmlns:p14="http://schemas.microsoft.com/office/powerpoint/2010/main" val="1255093977"/>
      </p:ext>
    </p:extLst>
  </p:cSld>
  <p:clrMap bg1="lt1" tx1="dk1" bg2="lt2" tx2="dk2" accent1="accent1" accent2="accent2" accent3="accent3" accent4="accent4" accent5="accent5" accent6="accent6" hlink="hlink" folHlink="folHlink"/>
  <p:sldLayoutIdLst>
    <p:sldLayoutId id="2147483751" r:id="rId1"/>
  </p:sldLayoutIdLst>
  <p:hf sldNum="0" hdr="0" ftr="0" dt="0"/>
  <p:txStyles>
    <p:titleStyle>
      <a:lvl1pPr algn="l" defTabSz="457200" rtl="0" eaLnBrk="1" latinLnBrk="0" hangingPunct="1">
        <a:lnSpc>
          <a:spcPct val="90000"/>
        </a:lnSpc>
        <a:spcBef>
          <a:spcPct val="0"/>
        </a:spcBef>
        <a:buNone/>
        <a:defRPr sz="2200" kern="1200">
          <a:solidFill>
            <a:schemeClr val="tx1"/>
          </a:solidFill>
          <a:latin typeface="+mj-lt"/>
          <a:ea typeface="+mj-ea"/>
          <a:cs typeface="+mj-cs"/>
        </a:defRPr>
      </a:lvl1pPr>
    </p:titleStyle>
    <p:bodyStyle>
      <a:lvl1pPr marL="114300" indent="-114300" algn="l" defTabSz="4572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tx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000" kern="1200">
          <a:solidFill>
            <a:schemeClr val="tx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p:bodyStyle>
    <p:otherStyle>
      <a:defPPr>
        <a:defRPr lang="en-FI"/>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0.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5.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4.bin"/><Relationship Id="rId13" Type="http://schemas.openxmlformats.org/officeDocument/2006/relationships/image" Target="../media/image30.png"/><Relationship Id="rId18" Type="http://schemas.openxmlformats.org/officeDocument/2006/relationships/hyperlink" Target="https://www.linkedin.com/company/expandfibre" TargetMode="External"/><Relationship Id="rId3" Type="http://schemas.openxmlformats.org/officeDocument/2006/relationships/tags" Target="../tags/tag7.xml"/><Relationship Id="rId21" Type="http://schemas.openxmlformats.org/officeDocument/2006/relationships/image" Target="../media/image36.svg"/><Relationship Id="rId7" Type="http://schemas.openxmlformats.org/officeDocument/2006/relationships/image" Target="../media/image26.png"/><Relationship Id="rId12" Type="http://schemas.openxmlformats.org/officeDocument/2006/relationships/image" Target="../media/image29.png"/><Relationship Id="rId17" Type="http://schemas.openxmlformats.org/officeDocument/2006/relationships/image" Target="../media/image34.svg"/><Relationship Id="rId2" Type="http://schemas.openxmlformats.org/officeDocument/2006/relationships/tags" Target="../tags/tag6.xml"/><Relationship Id="rId16" Type="http://schemas.openxmlformats.org/officeDocument/2006/relationships/image" Target="../media/image33.png"/><Relationship Id="rId20" Type="http://schemas.openxmlformats.org/officeDocument/2006/relationships/image" Target="../media/image35.png"/><Relationship Id="rId1" Type="http://schemas.openxmlformats.org/officeDocument/2006/relationships/tags" Target="../tags/tag5.xml"/><Relationship Id="rId6" Type="http://schemas.openxmlformats.org/officeDocument/2006/relationships/notesSlide" Target="../notesSlides/notesSlide2.xml"/><Relationship Id="rId11" Type="http://schemas.openxmlformats.org/officeDocument/2006/relationships/image" Target="../media/image28.png"/><Relationship Id="rId5" Type="http://schemas.openxmlformats.org/officeDocument/2006/relationships/slideLayout" Target="../slideLayouts/slideLayout38.xml"/><Relationship Id="rId15" Type="http://schemas.openxmlformats.org/officeDocument/2006/relationships/image" Target="../media/image32.png"/><Relationship Id="rId10" Type="http://schemas.openxmlformats.org/officeDocument/2006/relationships/image" Target="../media/image27.png"/><Relationship Id="rId19" Type="http://schemas.openxmlformats.org/officeDocument/2006/relationships/hyperlink" Target="https://www.expandfibre.com/" TargetMode="External"/><Relationship Id="rId4" Type="http://schemas.openxmlformats.org/officeDocument/2006/relationships/tags" Target="../tags/tag8.xml"/><Relationship Id="rId9" Type="http://schemas.openxmlformats.org/officeDocument/2006/relationships/image" Target="../media/image14.emf"/><Relationship Id="rId14" Type="http://schemas.openxmlformats.org/officeDocument/2006/relationships/image" Target="../media/image31.png"/></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7.png"/><Relationship Id="rId1"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chart" Target="../charts/chart2.xml"/><Relationship Id="rId1" Type="http://schemas.openxmlformats.org/officeDocument/2006/relationships/slideLayout" Target="../slideLayouts/slideLayout52.xml"/><Relationship Id="rId5" Type="http://schemas.openxmlformats.org/officeDocument/2006/relationships/image" Target="../media/image40.png"/><Relationship Id="rId4" Type="http://schemas.openxmlformats.org/officeDocument/2006/relationships/image" Target="../media/image39.png"/></Relationships>
</file>

<file path=ppt/slides/_rels/slide7.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5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6A7BA8A-BE3F-11E4-E81A-99917F5C9A08}"/>
              </a:ext>
            </a:extLst>
          </p:cNvPr>
          <p:cNvSpPr>
            <a:spLocks noGrp="1"/>
          </p:cNvSpPr>
          <p:nvPr>
            <p:ph type="dt" sz="half" idx="14"/>
          </p:nvPr>
        </p:nvSpPr>
        <p:spPr/>
        <p:txBody>
          <a:bodyPr/>
          <a:lstStyle/>
          <a:p>
            <a:fld id="{F2FEF9D6-0A29-4B75-8B59-B512FFF89DA2}" type="datetime1">
              <a:rPr lang="en-GB" smtClean="0"/>
              <a:t>22/10/2025</a:t>
            </a:fld>
            <a:endParaRPr lang="fi-FI" dirty="0"/>
          </a:p>
        </p:txBody>
      </p:sp>
      <p:sp>
        <p:nvSpPr>
          <p:cNvPr id="4" name="Footer Placeholder 3">
            <a:extLst>
              <a:ext uri="{FF2B5EF4-FFF2-40B4-BE49-F238E27FC236}">
                <a16:creationId xmlns:a16="http://schemas.microsoft.com/office/drawing/2014/main" id="{910B921A-DF8C-76EF-256D-3AE4299D2C87}"/>
              </a:ext>
            </a:extLst>
          </p:cNvPr>
          <p:cNvSpPr>
            <a:spLocks noGrp="1"/>
          </p:cNvSpPr>
          <p:nvPr>
            <p:ph type="ftr" sz="quarter" idx="15"/>
          </p:nvPr>
        </p:nvSpPr>
        <p:spPr/>
        <p:txBody>
          <a:bodyPr/>
          <a:lstStyle/>
          <a:p>
            <a:r>
              <a:rPr lang="fi-FI"/>
              <a:t>Katariina Kemppainen</a:t>
            </a:r>
            <a:endParaRPr lang="fi-FI" dirty="0"/>
          </a:p>
        </p:txBody>
      </p:sp>
      <p:sp>
        <p:nvSpPr>
          <p:cNvPr id="5" name="Slide Number Placeholder 4">
            <a:extLst>
              <a:ext uri="{FF2B5EF4-FFF2-40B4-BE49-F238E27FC236}">
                <a16:creationId xmlns:a16="http://schemas.microsoft.com/office/drawing/2014/main" id="{5EEB6261-A777-A6C0-CED7-CBECC212C0E2}"/>
              </a:ext>
            </a:extLst>
          </p:cNvPr>
          <p:cNvSpPr>
            <a:spLocks noGrp="1"/>
          </p:cNvSpPr>
          <p:nvPr>
            <p:ph type="sldNum" sz="quarter" idx="16"/>
          </p:nvPr>
        </p:nvSpPr>
        <p:spPr/>
        <p:txBody>
          <a:bodyPr/>
          <a:lstStyle/>
          <a:p>
            <a:fld id="{49A25110-65A2-4B67-BF3F-8D6D3162EF46}" type="slidenum">
              <a:rPr lang="fi-FI" smtClean="0"/>
              <a:pPr/>
              <a:t>1</a:t>
            </a:fld>
            <a:endParaRPr lang="fi-FI" dirty="0"/>
          </a:p>
        </p:txBody>
      </p:sp>
      <p:sp>
        <p:nvSpPr>
          <p:cNvPr id="7" name="Title 6">
            <a:extLst>
              <a:ext uri="{FF2B5EF4-FFF2-40B4-BE49-F238E27FC236}">
                <a16:creationId xmlns:a16="http://schemas.microsoft.com/office/drawing/2014/main" id="{776F4D15-379B-2A88-B99C-2BDF6C00703E}"/>
              </a:ext>
            </a:extLst>
          </p:cNvPr>
          <p:cNvSpPr>
            <a:spLocks noGrp="1"/>
          </p:cNvSpPr>
          <p:nvPr>
            <p:ph type="ctrTitle"/>
          </p:nvPr>
        </p:nvSpPr>
        <p:spPr/>
        <p:txBody>
          <a:bodyPr/>
          <a:lstStyle/>
          <a:p>
            <a:r>
              <a:rPr lang="en-GB" sz="4000" dirty="0"/>
              <a:t>Metsä </a:t>
            </a:r>
            <a:r>
              <a:rPr lang="en-GB" sz="4000" dirty="0" err="1"/>
              <a:t>Groupin</a:t>
            </a:r>
            <a:r>
              <a:rPr lang="en-GB" sz="4000" dirty="0"/>
              <a:t> </a:t>
            </a:r>
            <a:r>
              <a:rPr lang="en-GB" sz="4000" dirty="0" err="1"/>
              <a:t>kokemukset</a:t>
            </a:r>
            <a:r>
              <a:rPr lang="en-GB" sz="4000" dirty="0"/>
              <a:t> </a:t>
            </a:r>
            <a:r>
              <a:rPr lang="en-GB" sz="4000" dirty="0" err="1"/>
              <a:t>veturihankkeesta</a:t>
            </a:r>
            <a:r>
              <a:rPr lang="en-GB" sz="4000" dirty="0"/>
              <a:t> ja TKI-</a:t>
            </a:r>
            <a:r>
              <a:rPr lang="en-GB" sz="4000" dirty="0" err="1"/>
              <a:t>toiminnan</a:t>
            </a:r>
            <a:r>
              <a:rPr lang="en-GB" sz="4000" dirty="0"/>
              <a:t> </a:t>
            </a:r>
            <a:r>
              <a:rPr lang="en-GB" sz="4000" dirty="0" err="1"/>
              <a:t>rahoituksesta</a:t>
            </a:r>
            <a:endParaRPr lang="en-GB" sz="4000" dirty="0"/>
          </a:p>
        </p:txBody>
      </p:sp>
      <p:sp>
        <p:nvSpPr>
          <p:cNvPr id="8" name="Subtitle 7">
            <a:extLst>
              <a:ext uri="{FF2B5EF4-FFF2-40B4-BE49-F238E27FC236}">
                <a16:creationId xmlns:a16="http://schemas.microsoft.com/office/drawing/2014/main" id="{5D0A0E6B-E4AA-C1D8-FA84-06E42613FB44}"/>
              </a:ext>
            </a:extLst>
          </p:cNvPr>
          <p:cNvSpPr>
            <a:spLocks noGrp="1"/>
          </p:cNvSpPr>
          <p:nvPr>
            <p:ph type="subTitle" idx="1"/>
          </p:nvPr>
        </p:nvSpPr>
        <p:spPr/>
        <p:txBody>
          <a:bodyPr/>
          <a:lstStyle/>
          <a:p>
            <a:r>
              <a:rPr lang="en-GB" dirty="0"/>
              <a:t>Tutkimus- ja </a:t>
            </a:r>
            <a:r>
              <a:rPr lang="en-GB" dirty="0" err="1"/>
              <a:t>innovaationeuvoston</a:t>
            </a:r>
            <a:r>
              <a:rPr lang="en-GB" dirty="0"/>
              <a:t> </a:t>
            </a:r>
            <a:r>
              <a:rPr lang="en-GB" dirty="0" err="1"/>
              <a:t>kokous</a:t>
            </a:r>
            <a:r>
              <a:rPr lang="en-GB" dirty="0"/>
              <a:t> 16.9.2025</a:t>
            </a:r>
          </a:p>
          <a:p>
            <a:r>
              <a:rPr lang="en-GB" dirty="0"/>
              <a:t>Katariina Kemppainen, SVP Group R&amp;D, Metsä Group</a:t>
            </a:r>
          </a:p>
        </p:txBody>
      </p:sp>
      <p:pic>
        <p:nvPicPr>
          <p:cNvPr id="15" name="Picture 14" descr="A person holding a box and a person pointing at something&#10;&#10;AI-generated content may be incorrect.">
            <a:extLst>
              <a:ext uri="{FF2B5EF4-FFF2-40B4-BE49-F238E27FC236}">
                <a16:creationId xmlns:a16="http://schemas.microsoft.com/office/drawing/2014/main" id="{11F0281E-9189-1DD7-FBF2-F7833808C7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336" y="937262"/>
            <a:ext cx="4447041" cy="5145034"/>
          </a:xfrm>
          <a:prstGeom prst="rect">
            <a:avLst/>
          </a:prstGeom>
        </p:spPr>
      </p:pic>
    </p:spTree>
    <p:extLst>
      <p:ext uri="{BB962C8B-B14F-4D97-AF65-F5344CB8AC3E}">
        <p14:creationId xmlns:p14="http://schemas.microsoft.com/office/powerpoint/2010/main" val="3848634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descr="A person standing in a grassy area&#10;&#10;Description automatically generated">
            <a:extLst>
              <a:ext uri="{FF2B5EF4-FFF2-40B4-BE49-F238E27FC236}">
                <a16:creationId xmlns:a16="http://schemas.microsoft.com/office/drawing/2014/main" id="{50847A93-F0B5-60E8-64EF-9E7A00CA6FD4}"/>
              </a:ext>
            </a:extLst>
          </p:cNvPr>
          <p:cNvPicPr>
            <a:picLocks noGrp="1" noChangeAspect="1"/>
          </p:cNvPicPr>
          <p:nvPr>
            <p:ph type="pic" sz="quarter" idx="17"/>
          </p:nvPr>
        </p:nvPicPr>
        <p:blipFill rotWithShape="1">
          <a:blip r:embed="rId2" cstate="print">
            <a:extLst>
              <a:ext uri="{28A0092B-C50C-407E-A947-70E740481C1C}">
                <a14:useLocalDpi xmlns:a14="http://schemas.microsoft.com/office/drawing/2010/main" val="0"/>
              </a:ext>
            </a:extLst>
          </a:blip>
          <a:srcRect l="11087" r="1349"/>
          <a:stretch/>
        </p:blipFill>
        <p:spPr>
          <a:xfrm>
            <a:off x="1" y="1"/>
            <a:ext cx="4008438" cy="6858000"/>
          </a:xfrm>
          <a:noFill/>
        </p:spPr>
      </p:pic>
      <p:sp>
        <p:nvSpPr>
          <p:cNvPr id="15" name="Date Placeholder 2">
            <a:extLst>
              <a:ext uri="{FF2B5EF4-FFF2-40B4-BE49-F238E27FC236}">
                <a16:creationId xmlns:a16="http://schemas.microsoft.com/office/drawing/2014/main" id="{DE095BB4-2381-22D9-2D51-2BD736B3C009}"/>
              </a:ext>
            </a:extLst>
          </p:cNvPr>
          <p:cNvSpPr>
            <a:spLocks noGrp="1"/>
          </p:cNvSpPr>
          <p:nvPr>
            <p:ph type="dt" sz="half" idx="14"/>
          </p:nvPr>
        </p:nvSpPr>
        <p:spPr>
          <a:xfrm>
            <a:off x="4799856" y="6381329"/>
            <a:ext cx="1224137" cy="216023"/>
          </a:xfrm>
        </p:spPr>
        <p:txBody>
          <a:bodyPr/>
          <a:lstStyle/>
          <a:p>
            <a:pPr>
              <a:spcAft>
                <a:spcPts val="600"/>
              </a:spcAft>
            </a:pPr>
            <a:fld id="{C851407C-CDA2-4CFB-91A0-477EC4619045}" type="datetime1">
              <a:rPr lang="en-GB" smtClean="0"/>
              <a:t>22/10/2025</a:t>
            </a:fld>
            <a:endParaRPr lang="fi-FI"/>
          </a:p>
        </p:txBody>
      </p:sp>
      <p:sp>
        <p:nvSpPr>
          <p:cNvPr id="17" name="Footer Placeholder 3">
            <a:extLst>
              <a:ext uri="{FF2B5EF4-FFF2-40B4-BE49-F238E27FC236}">
                <a16:creationId xmlns:a16="http://schemas.microsoft.com/office/drawing/2014/main" id="{B9CC8D3D-4168-F056-3953-FE9A2504598D}"/>
              </a:ext>
            </a:extLst>
          </p:cNvPr>
          <p:cNvSpPr>
            <a:spLocks noGrp="1"/>
          </p:cNvSpPr>
          <p:nvPr>
            <p:ph type="ftr" sz="quarter" idx="15"/>
          </p:nvPr>
        </p:nvSpPr>
        <p:spPr>
          <a:xfrm>
            <a:off x="6023992" y="6381328"/>
            <a:ext cx="5401246" cy="216024"/>
          </a:xfrm>
        </p:spPr>
        <p:txBody>
          <a:bodyPr/>
          <a:lstStyle/>
          <a:p>
            <a:pPr>
              <a:spcAft>
                <a:spcPts val="600"/>
              </a:spcAft>
            </a:pPr>
            <a:r>
              <a:rPr lang="fi-FI"/>
              <a:t>Katariina Kemppainen</a:t>
            </a:r>
          </a:p>
        </p:txBody>
      </p:sp>
      <p:sp>
        <p:nvSpPr>
          <p:cNvPr id="19" name="Slide Number Placeholder 4">
            <a:extLst>
              <a:ext uri="{FF2B5EF4-FFF2-40B4-BE49-F238E27FC236}">
                <a16:creationId xmlns:a16="http://schemas.microsoft.com/office/drawing/2014/main" id="{80C7BE5E-6D69-DCBE-956D-D9DFE5E1CEAE}"/>
              </a:ext>
            </a:extLst>
          </p:cNvPr>
          <p:cNvSpPr>
            <a:spLocks noGrp="1"/>
          </p:cNvSpPr>
          <p:nvPr>
            <p:ph type="sldNum" sz="quarter" idx="16"/>
          </p:nvPr>
        </p:nvSpPr>
        <p:spPr>
          <a:xfrm>
            <a:off x="11425239" y="6381329"/>
            <a:ext cx="431800" cy="216023"/>
          </a:xfrm>
        </p:spPr>
        <p:txBody>
          <a:bodyPr/>
          <a:lstStyle/>
          <a:p>
            <a:pPr>
              <a:spcAft>
                <a:spcPts val="600"/>
              </a:spcAft>
            </a:pPr>
            <a:fld id="{49A25110-65A2-4B67-BF3F-8D6D3162EF46}" type="slidenum">
              <a:rPr lang="fi-FI" smtClean="0"/>
              <a:pPr>
                <a:spcAft>
                  <a:spcPts val="600"/>
                </a:spcAft>
              </a:pPr>
              <a:t>2</a:t>
            </a:fld>
            <a:endParaRPr lang="fi-FI"/>
          </a:p>
        </p:txBody>
      </p:sp>
      <p:sp>
        <p:nvSpPr>
          <p:cNvPr id="6" name="Title 5">
            <a:extLst>
              <a:ext uri="{FF2B5EF4-FFF2-40B4-BE49-F238E27FC236}">
                <a16:creationId xmlns:a16="http://schemas.microsoft.com/office/drawing/2014/main" id="{BC2D8AD5-2145-B6B4-3BD3-3DDE92BBA288}"/>
              </a:ext>
            </a:extLst>
          </p:cNvPr>
          <p:cNvSpPr>
            <a:spLocks noGrp="1"/>
          </p:cNvSpPr>
          <p:nvPr>
            <p:ph type="ctrTitle"/>
          </p:nvPr>
        </p:nvSpPr>
        <p:spPr>
          <a:xfrm>
            <a:off x="4799856" y="1773238"/>
            <a:ext cx="6625382" cy="817562"/>
          </a:xfrm>
        </p:spPr>
        <p:txBody>
          <a:bodyPr anchor="b">
            <a:noAutofit/>
          </a:bodyPr>
          <a:lstStyle/>
          <a:p>
            <a:r>
              <a:rPr lang="fi-FI" sz="3600" dirty="0"/>
              <a:t>Katariina Kemppainen</a:t>
            </a:r>
            <a:endParaRPr lang="en-GB" sz="3600" dirty="0"/>
          </a:p>
        </p:txBody>
      </p:sp>
      <p:sp>
        <p:nvSpPr>
          <p:cNvPr id="23" name="Subtitle 7">
            <a:extLst>
              <a:ext uri="{FF2B5EF4-FFF2-40B4-BE49-F238E27FC236}">
                <a16:creationId xmlns:a16="http://schemas.microsoft.com/office/drawing/2014/main" id="{A6A2B6EF-3B3C-D522-6AC8-0089096F03CC}"/>
              </a:ext>
            </a:extLst>
          </p:cNvPr>
          <p:cNvSpPr>
            <a:spLocks noGrp="1"/>
          </p:cNvSpPr>
          <p:nvPr>
            <p:ph type="subTitle" idx="1"/>
          </p:nvPr>
        </p:nvSpPr>
        <p:spPr>
          <a:xfrm>
            <a:off x="4799855" y="2960947"/>
            <a:ext cx="6625383" cy="3060341"/>
          </a:xfrm>
        </p:spPr>
        <p:txBody>
          <a:bodyPr/>
          <a:lstStyle/>
          <a:p>
            <a:pPr marL="342900" indent="-342900">
              <a:lnSpc>
                <a:spcPct val="150000"/>
              </a:lnSpc>
              <a:buFont typeface="Arial" panose="020B0604020202020204" pitchFamily="34" charset="0"/>
              <a:buChar char="•"/>
            </a:pPr>
            <a:r>
              <a:rPr lang="en-US" dirty="0"/>
              <a:t>Senior Vice President, Group R&amp;D, Metsä Group 2023-</a:t>
            </a:r>
          </a:p>
          <a:p>
            <a:pPr marL="342900" indent="-342900">
              <a:lnSpc>
                <a:spcPct val="150000"/>
              </a:lnSpc>
              <a:buFont typeface="Arial" panose="020B0604020202020204" pitchFamily="34" charset="0"/>
              <a:buChar char="•"/>
            </a:pPr>
            <a:r>
              <a:rPr lang="en-US" dirty="0"/>
              <a:t>ExpandFibre </a:t>
            </a:r>
            <a:r>
              <a:rPr lang="en-US" dirty="0" err="1"/>
              <a:t>veturihankkeen</a:t>
            </a:r>
            <a:r>
              <a:rPr lang="en-US" dirty="0"/>
              <a:t> </a:t>
            </a:r>
            <a:r>
              <a:rPr lang="en-US" dirty="0" err="1"/>
              <a:t>ohjelmapäällikkö</a:t>
            </a:r>
            <a:r>
              <a:rPr lang="en-US" dirty="0"/>
              <a:t> Metsä </a:t>
            </a:r>
            <a:r>
              <a:rPr lang="en-US" dirty="0" err="1"/>
              <a:t>Groupissa</a:t>
            </a:r>
            <a:r>
              <a:rPr lang="en-US" dirty="0"/>
              <a:t> 2020-2024</a:t>
            </a:r>
          </a:p>
          <a:p>
            <a:pPr marL="342900" indent="-342900">
              <a:lnSpc>
                <a:spcPct val="150000"/>
              </a:lnSpc>
              <a:buFont typeface="Arial" panose="020B0604020202020204" pitchFamily="34" charset="0"/>
              <a:buChar char="•"/>
            </a:pPr>
            <a:r>
              <a:rPr lang="en-US" dirty="0"/>
              <a:t>Biobased Industries Consortium, </a:t>
            </a:r>
            <a:r>
              <a:rPr lang="en-US" dirty="0" err="1"/>
              <a:t>hallituksen</a:t>
            </a:r>
            <a:r>
              <a:rPr lang="en-US" dirty="0"/>
              <a:t> </a:t>
            </a:r>
            <a:r>
              <a:rPr lang="en-US" dirty="0" err="1"/>
              <a:t>jäsen</a:t>
            </a:r>
            <a:r>
              <a:rPr lang="en-US" dirty="0"/>
              <a:t> 2024-</a:t>
            </a:r>
          </a:p>
          <a:p>
            <a:pPr marL="342900" indent="-342900">
              <a:lnSpc>
                <a:spcPct val="150000"/>
              </a:lnSpc>
              <a:buFont typeface="Arial" panose="020B0604020202020204" pitchFamily="34" charset="0"/>
              <a:buChar char="•"/>
            </a:pPr>
            <a:r>
              <a:rPr lang="en-US" dirty="0"/>
              <a:t>Boreal Bioproducts </a:t>
            </a:r>
            <a:r>
              <a:rPr lang="en-US" dirty="0" err="1"/>
              <a:t>startupin</a:t>
            </a:r>
            <a:r>
              <a:rPr lang="en-US" dirty="0"/>
              <a:t> </a:t>
            </a:r>
            <a:r>
              <a:rPr lang="en-US" dirty="0" err="1"/>
              <a:t>hallituksen</a:t>
            </a:r>
            <a:r>
              <a:rPr lang="en-US" dirty="0"/>
              <a:t> </a:t>
            </a:r>
            <a:r>
              <a:rPr lang="en-US" dirty="0" err="1"/>
              <a:t>jäsen</a:t>
            </a:r>
            <a:r>
              <a:rPr lang="en-US" dirty="0"/>
              <a:t> 2021-</a:t>
            </a:r>
          </a:p>
          <a:p>
            <a:pPr marL="342900" indent="-342900">
              <a:lnSpc>
                <a:spcPct val="150000"/>
              </a:lnSpc>
              <a:buFont typeface="Arial" panose="020B0604020202020204" pitchFamily="34" charset="0"/>
              <a:buChar char="•"/>
            </a:pPr>
            <a:r>
              <a:rPr lang="en-US" dirty="0" err="1"/>
              <a:t>VTT:llä</a:t>
            </a:r>
            <a:r>
              <a:rPr lang="en-US" dirty="0"/>
              <a:t> </a:t>
            </a:r>
            <a:r>
              <a:rPr lang="en-US" dirty="0" err="1"/>
              <a:t>tutkijana</a:t>
            </a:r>
            <a:r>
              <a:rPr lang="en-US" dirty="0"/>
              <a:t> 2009-2015</a:t>
            </a:r>
          </a:p>
        </p:txBody>
      </p:sp>
      <p:sp>
        <p:nvSpPr>
          <p:cNvPr id="3" name="Date Placeholder 2" hidden="1">
            <a:extLst>
              <a:ext uri="{FF2B5EF4-FFF2-40B4-BE49-F238E27FC236}">
                <a16:creationId xmlns:a16="http://schemas.microsoft.com/office/drawing/2014/main" id="{5DE5C736-A545-E1BB-28DF-48BACDDA46BB}"/>
              </a:ext>
            </a:extLst>
          </p:cNvPr>
          <p:cNvSpPr>
            <a:spLocks noGrp="1"/>
          </p:cNvSpPr>
          <p:nvPr>
            <p:ph type="dt" sz="half" idx="4294967295"/>
          </p:nvPr>
        </p:nvSpPr>
        <p:spPr>
          <a:xfrm>
            <a:off x="2063552" y="6381329"/>
            <a:ext cx="1224137" cy="216023"/>
          </a:xfrm>
        </p:spPr>
        <p:txBody>
          <a:bodyPr/>
          <a:lstStyle/>
          <a:p>
            <a:pPr>
              <a:spcAft>
                <a:spcPts val="600"/>
              </a:spcAft>
            </a:pPr>
            <a:fld id="{17BAFCE9-2058-4A67-ABB3-D3F6F25E3C1C}" type="datetime1">
              <a:rPr lang="en-GB" smtClean="0"/>
              <a:pPr>
                <a:spcAft>
                  <a:spcPts val="600"/>
                </a:spcAft>
              </a:pPr>
              <a:t>22/10/2025</a:t>
            </a:fld>
            <a:endParaRPr lang="fi-FI" dirty="0"/>
          </a:p>
        </p:txBody>
      </p:sp>
      <p:sp>
        <p:nvSpPr>
          <p:cNvPr id="5" name="Slide Number Placeholder 4" hidden="1">
            <a:extLst>
              <a:ext uri="{FF2B5EF4-FFF2-40B4-BE49-F238E27FC236}">
                <a16:creationId xmlns:a16="http://schemas.microsoft.com/office/drawing/2014/main" id="{A290851E-73A8-EAB0-C207-3035F2BB5D1A}"/>
              </a:ext>
            </a:extLst>
          </p:cNvPr>
          <p:cNvSpPr>
            <a:spLocks noGrp="1"/>
          </p:cNvSpPr>
          <p:nvPr>
            <p:ph type="sldNum" sz="quarter" idx="4294967295"/>
          </p:nvPr>
        </p:nvSpPr>
        <p:spPr>
          <a:xfrm>
            <a:off x="11425239" y="6381329"/>
            <a:ext cx="431800" cy="216023"/>
          </a:xfrm>
        </p:spPr>
        <p:txBody>
          <a:bodyPr/>
          <a:lstStyle/>
          <a:p>
            <a:pPr>
              <a:spcAft>
                <a:spcPts val="600"/>
              </a:spcAft>
            </a:pPr>
            <a:fld id="{49A25110-65A2-4B67-BF3F-8D6D3162EF46}" type="slidenum">
              <a:rPr lang="fi-FI" smtClean="0"/>
              <a:pPr>
                <a:spcAft>
                  <a:spcPts val="600"/>
                </a:spcAft>
              </a:pPr>
              <a:t>2</a:t>
            </a:fld>
            <a:endParaRPr lang="fi-FI"/>
          </a:p>
        </p:txBody>
      </p:sp>
    </p:spTree>
    <p:extLst>
      <p:ext uri="{BB962C8B-B14F-4D97-AF65-F5344CB8AC3E}">
        <p14:creationId xmlns:p14="http://schemas.microsoft.com/office/powerpoint/2010/main" val="4158844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70FCB6-9DF6-4A2A-89E4-A6BAE4B749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FA70FCB6-9DF6-4A2A-89E4-A6BAE4B7498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E60CA31-9676-444A-A952-F04B8611143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537" rtl="0" eaLnBrk="1" fontAlgn="auto" latinLnBrk="0" hangingPunct="0">
              <a:lnSpc>
                <a:spcPct val="100000"/>
              </a:lnSpc>
              <a:spcBef>
                <a:spcPts val="0"/>
              </a:spcBef>
              <a:spcAft>
                <a:spcPts val="0"/>
              </a:spcAft>
              <a:buClrTx/>
              <a:buSzTx/>
              <a:buFontTx/>
              <a:buNone/>
              <a:tabLst/>
              <a:defRPr/>
            </a:pPr>
            <a:endParaRPr kumimoji="0" lang="en-GB" sz="48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 name="Title 3">
            <a:extLst>
              <a:ext uri="{FF2B5EF4-FFF2-40B4-BE49-F238E27FC236}">
                <a16:creationId xmlns:a16="http://schemas.microsoft.com/office/drawing/2014/main" id="{598F068A-85EE-432C-9C9B-FB3264469DB4}"/>
              </a:ext>
            </a:extLst>
          </p:cNvPr>
          <p:cNvSpPr>
            <a:spLocks noGrp="1"/>
          </p:cNvSpPr>
          <p:nvPr>
            <p:ph type="title"/>
          </p:nvPr>
        </p:nvSpPr>
        <p:spPr/>
        <p:txBody>
          <a:bodyPr lIns="91440" tIns="45720" rIns="91440" bIns="45720" anchor="t"/>
          <a:lstStyle/>
          <a:p>
            <a:r>
              <a:rPr lang="en-GB" sz="4800">
                <a:solidFill>
                  <a:schemeClr val="accent4"/>
                </a:solidFill>
                <a:latin typeface="+mj-lt"/>
                <a:cs typeface="Calibri"/>
              </a:rPr>
              <a:t>Accelerating the development of </a:t>
            </a:r>
            <a:br>
              <a:rPr lang="en-GB" sz="4800">
                <a:solidFill>
                  <a:schemeClr val="accent4"/>
                </a:solidFill>
                <a:latin typeface="+mj-lt"/>
                <a:cs typeface="Calibri"/>
              </a:rPr>
            </a:br>
            <a:r>
              <a:rPr lang="en-GB" sz="4800" b="1" i="0">
                <a:solidFill>
                  <a:schemeClr val="accent4"/>
                </a:solidFill>
                <a:effectLst/>
                <a:latin typeface="+mj-lt"/>
                <a:cs typeface="Calibri"/>
              </a:rPr>
              <a:t>sustainable bioproducts</a:t>
            </a:r>
            <a:br>
              <a:rPr lang="en-GB" sz="4800" b="1" i="0">
                <a:solidFill>
                  <a:schemeClr val="accent4"/>
                </a:solidFill>
                <a:effectLst/>
                <a:latin typeface="+mj-lt"/>
                <a:cs typeface="Calibri"/>
              </a:rPr>
            </a:br>
            <a:br>
              <a:rPr lang="en-GB" sz="3200" b="1" i="0">
                <a:solidFill>
                  <a:schemeClr val="accent4"/>
                </a:solidFill>
                <a:effectLst/>
                <a:latin typeface="+mj-lt"/>
                <a:cs typeface="Calibri"/>
              </a:rPr>
            </a:br>
            <a:endParaRPr lang="en-GB" sz="4800" b="1" i="0">
              <a:solidFill>
                <a:schemeClr val="accent4"/>
              </a:solidFill>
              <a:effectLst/>
              <a:latin typeface="+mj-lt"/>
              <a:cs typeface="Calibri"/>
            </a:endParaRPr>
          </a:p>
        </p:txBody>
      </p:sp>
    </p:spTree>
    <p:extLst>
      <p:ext uri="{BB962C8B-B14F-4D97-AF65-F5344CB8AC3E}">
        <p14:creationId xmlns:p14="http://schemas.microsoft.com/office/powerpoint/2010/main" val="19988406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3F796E-C922-F45B-15B3-94123B910540}"/>
            </a:ext>
          </a:extLst>
        </p:cNvPr>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F2F0B4E0-5B0E-B37C-132E-B076C440E36C}"/>
              </a:ext>
            </a:extLst>
          </p:cNvPr>
          <p:cNvSpPr/>
          <p:nvPr/>
        </p:nvSpPr>
        <p:spPr>
          <a:xfrm>
            <a:off x="221537" y="3358949"/>
            <a:ext cx="4498382" cy="2672057"/>
          </a:xfrm>
          <a:prstGeom prst="roundRect">
            <a:avLst>
              <a:gd name="adj" fmla="val 4902"/>
            </a:avLst>
          </a:prstGeom>
          <a:solidFill>
            <a:srgbClr val="FBFBFC"/>
          </a:solidFill>
          <a:ln w="6350">
            <a:solidFill>
              <a:srgbClr val="E5E5E7"/>
            </a:solidFill>
          </a:ln>
          <a:effectLst>
            <a:outerShdw blurRad="25400" dist="25400" dir="7380000" sx="99000" sy="99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72000" rtlCol="0" anchor="t"/>
          <a:lstStyle/>
          <a:p>
            <a:pPr marL="0" marR="0" lvl="0" indent="0" algn="l" defTabSz="914537" rtl="0" eaLnBrk="1" fontAlgn="auto" latinLnBrk="0" hangingPunct="0">
              <a:lnSpc>
                <a:spcPct val="100000"/>
              </a:lnSpc>
              <a:spcBef>
                <a:spcPts val="0"/>
              </a:spcBef>
              <a:spcAft>
                <a:spcPts val="0"/>
              </a:spcAft>
              <a:buClrTx/>
              <a:buSzTx/>
              <a:buFontTx/>
              <a:buNone/>
              <a:tabLst/>
              <a:defRPr/>
            </a:pPr>
            <a:r>
              <a:rPr kumimoji="0" lang="en-US" sz="1600" b="0" i="0" u="none" strike="noStrike" kern="0" cap="none" spc="40" normalizeH="0" baseline="0" noProof="0" dirty="0">
                <a:ln>
                  <a:noFill/>
                </a:ln>
                <a:solidFill>
                  <a:srgbClr val="44536A"/>
                </a:solidFill>
                <a:effectLst/>
                <a:uLnTx/>
                <a:uFillTx/>
                <a:latin typeface="Calibri Light" panose="020F0302020204030204"/>
                <a:ea typeface="+mn-ea"/>
                <a:cs typeface="+mn-cs"/>
                <a:sym typeface="Cabin Regular"/>
              </a:rPr>
              <a:t>The </a:t>
            </a:r>
            <a:r>
              <a:rPr kumimoji="0" lang="en-US" sz="1600" b="1" i="0" u="none" strike="noStrike" kern="0" cap="none" spc="40" normalizeH="0" baseline="0" noProof="0" dirty="0">
                <a:ln>
                  <a:noFill/>
                </a:ln>
                <a:solidFill>
                  <a:srgbClr val="44536A"/>
                </a:solidFill>
                <a:effectLst/>
                <a:uLnTx/>
                <a:uFillTx/>
                <a:latin typeface="Calibri Light" panose="020F0302020204030204"/>
                <a:ea typeface="+mn-ea"/>
                <a:cs typeface="+mn-cs"/>
                <a:sym typeface="Cabin Regular"/>
              </a:rPr>
              <a:t>research and development in ExpandFibre, </a:t>
            </a:r>
            <a:r>
              <a:rPr kumimoji="0" lang="en-US" sz="1600" b="0" i="0" u="none" strike="noStrike" kern="0" cap="none" spc="40" normalizeH="0" baseline="0" noProof="0" dirty="0">
                <a:ln>
                  <a:noFill/>
                </a:ln>
                <a:solidFill>
                  <a:srgbClr val="44536A"/>
                </a:solidFill>
                <a:effectLst/>
                <a:uLnTx/>
                <a:uFillTx/>
                <a:latin typeface="Calibri Light" panose="020F0302020204030204"/>
                <a:ea typeface="+mn-ea"/>
                <a:cs typeface="+mn-cs"/>
                <a:sym typeface="Cabin Regular"/>
              </a:rPr>
              <a:t>aiming at producing new ground-breaking technologies and smart business concepts, was divided into </a:t>
            </a:r>
            <a:r>
              <a:rPr kumimoji="0" lang="en-US" sz="1600" b="1" i="0" u="none" strike="noStrike" kern="0" cap="none" spc="40" normalizeH="0" baseline="0" noProof="0" dirty="0">
                <a:ln>
                  <a:noFill/>
                </a:ln>
                <a:solidFill>
                  <a:srgbClr val="44536A"/>
                </a:solidFill>
                <a:effectLst/>
                <a:uLnTx/>
                <a:uFillTx/>
                <a:latin typeface="Calibri Light" panose="020F0302020204030204"/>
                <a:ea typeface="+mn-ea"/>
                <a:cs typeface="+mn-cs"/>
                <a:sym typeface="Cabin Regular"/>
              </a:rPr>
              <a:t>seven research themes:</a:t>
            </a:r>
          </a:p>
        </p:txBody>
      </p:sp>
      <p:pic>
        <p:nvPicPr>
          <p:cNvPr id="42" name="Picture 41">
            <a:extLst>
              <a:ext uri="{FF2B5EF4-FFF2-40B4-BE49-F238E27FC236}">
                <a16:creationId xmlns:a16="http://schemas.microsoft.com/office/drawing/2014/main" id="{D8FE7580-F2C6-0516-BF47-8813C957EC89}"/>
              </a:ext>
            </a:extLst>
          </p:cNvPr>
          <p:cNvPicPr>
            <a:picLocks noChangeAspect="1"/>
          </p:cNvPicPr>
          <p:nvPr/>
        </p:nvPicPr>
        <p:blipFill>
          <a:blip r:embed="rId7"/>
          <a:stretch>
            <a:fillRect/>
          </a:stretch>
        </p:blipFill>
        <p:spPr>
          <a:xfrm>
            <a:off x="5685007" y="3289597"/>
            <a:ext cx="5366660" cy="3019583"/>
          </a:xfrm>
          <a:prstGeom prst="rect">
            <a:avLst/>
          </a:prstGeom>
        </p:spPr>
      </p:pic>
      <p:graphicFrame>
        <p:nvGraphicFramePr>
          <p:cNvPr id="9" name="Object 8" hidden="1">
            <a:extLst>
              <a:ext uri="{FF2B5EF4-FFF2-40B4-BE49-F238E27FC236}">
                <a16:creationId xmlns:a16="http://schemas.microsoft.com/office/drawing/2014/main" id="{D86DCCC8-19D9-B982-D0D7-9D05353301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94" imgH="302" progId="TCLayout.ActiveDocument.1">
                  <p:embed/>
                </p:oleObj>
              </mc:Choice>
              <mc:Fallback>
                <p:oleObj name="think-cell Slide" r:id="rId8" imgW="294" imgH="302" progId="TCLayout.ActiveDocument.1">
                  <p:embed/>
                  <p:pic>
                    <p:nvPicPr>
                      <p:cNvPr id="9" name="Object 8" hidden="1">
                        <a:extLst>
                          <a:ext uri="{FF2B5EF4-FFF2-40B4-BE49-F238E27FC236}">
                            <a16:creationId xmlns:a16="http://schemas.microsoft.com/office/drawing/2014/main" id="{D86DCCC8-19D9-B982-D0D7-9D05353301A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9" name="Rectangle 38" hidden="1">
            <a:extLst>
              <a:ext uri="{FF2B5EF4-FFF2-40B4-BE49-F238E27FC236}">
                <a16:creationId xmlns:a16="http://schemas.microsoft.com/office/drawing/2014/main" id="{A2916217-83F2-A96E-F2A4-DA0D5C686C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537" rtl="0" eaLnBrk="1" fontAlgn="auto" latinLnBrk="0" hangingPunct="0">
              <a:lnSpc>
                <a:spcPct val="100000"/>
              </a:lnSpc>
              <a:spcBef>
                <a:spcPts val="0"/>
              </a:spcBef>
              <a:spcAft>
                <a:spcPts val="0"/>
              </a:spcAft>
              <a:buClrTx/>
              <a:buSzTx/>
              <a:buFontTx/>
              <a:buNone/>
              <a:tabLst/>
              <a:defRPr/>
            </a:pPr>
            <a:endParaRPr kumimoji="0" lang="fi-FI" sz="48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1" name="Rectangle 10">
            <a:extLst>
              <a:ext uri="{FF2B5EF4-FFF2-40B4-BE49-F238E27FC236}">
                <a16:creationId xmlns:a16="http://schemas.microsoft.com/office/drawing/2014/main" id="{033A9598-B5DD-22CC-1BFB-157AB96837E1}"/>
              </a:ext>
            </a:extLst>
          </p:cNvPr>
          <p:cNvSpPr/>
          <p:nvPr/>
        </p:nvSpPr>
        <p:spPr>
          <a:xfrm>
            <a:off x="0" y="1103581"/>
            <a:ext cx="12192000" cy="2102760"/>
          </a:xfrm>
          <a:prstGeom prst="rect">
            <a:avLst/>
          </a:prstGeom>
          <a:solidFill>
            <a:srgbClr val="4D8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537" rtl="0" eaLnBrk="1" fontAlgn="auto" latinLnBrk="0" hangingPunct="0">
              <a:lnSpc>
                <a:spcPct val="100000"/>
              </a:lnSpc>
              <a:spcBef>
                <a:spcPts val="0"/>
              </a:spcBef>
              <a:spcAft>
                <a:spcPts val="0"/>
              </a:spcAft>
              <a:buClrTx/>
              <a:buSzTx/>
              <a:buFontTx/>
              <a:buNone/>
              <a:tabLst/>
              <a:defRPr/>
            </a:pPr>
            <a:endParaRPr kumimoji="0" lang="en-FI" sz="1100" b="0" i="0" u="none" strike="noStrike" kern="0" cap="none" spc="0" normalizeH="0" baseline="0" noProof="0">
              <a:ln>
                <a:noFill/>
              </a:ln>
              <a:solidFill>
                <a:srgbClr val="FFFFFF"/>
              </a:solidFill>
              <a:effectLst/>
              <a:uLnTx/>
              <a:uFillTx/>
              <a:latin typeface="Calibri Light" panose="020F0302020204030204"/>
              <a:ea typeface="+mn-ea"/>
              <a:cs typeface="+mn-cs"/>
              <a:sym typeface="Cabin Regular"/>
            </a:endParaRPr>
          </a:p>
        </p:txBody>
      </p:sp>
      <p:grpSp>
        <p:nvGrpSpPr>
          <p:cNvPr id="13" name="Group 12">
            <a:extLst>
              <a:ext uri="{FF2B5EF4-FFF2-40B4-BE49-F238E27FC236}">
                <a16:creationId xmlns:a16="http://schemas.microsoft.com/office/drawing/2014/main" id="{301BF897-5FDA-A5A3-C12A-46B55579D33D}"/>
              </a:ext>
            </a:extLst>
          </p:cNvPr>
          <p:cNvGrpSpPr/>
          <p:nvPr/>
        </p:nvGrpSpPr>
        <p:grpSpPr>
          <a:xfrm>
            <a:off x="613316" y="1256189"/>
            <a:ext cx="8476896" cy="1797545"/>
            <a:chOff x="343116" y="1201269"/>
            <a:chExt cx="7764202" cy="1797545"/>
          </a:xfrm>
        </p:grpSpPr>
        <p:sp>
          <p:nvSpPr>
            <p:cNvPr id="14" name="TextBox 13">
              <a:extLst>
                <a:ext uri="{FF2B5EF4-FFF2-40B4-BE49-F238E27FC236}">
                  <a16:creationId xmlns:a16="http://schemas.microsoft.com/office/drawing/2014/main" id="{30F2AECA-A881-A007-B9C1-8E84A6F00660}"/>
                </a:ext>
              </a:extLst>
            </p:cNvPr>
            <p:cNvSpPr txBox="1"/>
            <p:nvPr/>
          </p:nvSpPr>
          <p:spPr>
            <a:xfrm>
              <a:off x="2598963" y="1238268"/>
              <a:ext cx="5508355" cy="1723549"/>
            </a:xfrm>
            <a:prstGeom prst="rect">
              <a:avLst/>
            </a:prstGeom>
            <a:noFill/>
          </p:spPr>
          <p:txBody>
            <a:bodyPr wrap="square" lIns="0" tIns="0" rIns="91440" bIns="0" anchor="ctr">
              <a:spAutoFit/>
            </a:bodyPr>
            <a:lstStyle/>
            <a:p>
              <a:pPr marL="0" marR="0" lvl="0" indent="0" algn="just" defTabSz="914537" rtl="0" eaLnBrk="1" fontAlgn="auto" latinLnBrk="0" hangingPunct="0">
                <a:lnSpc>
                  <a:spcPct val="100000"/>
                </a:lnSpc>
                <a:spcBef>
                  <a:spcPts val="0"/>
                </a:spcBef>
                <a:spcAft>
                  <a:spcPts val="0"/>
                </a:spcAft>
                <a:buClrTx/>
                <a:buSzTx/>
                <a:buFontTx/>
                <a:buNone/>
                <a:tabLst/>
                <a:defRPr/>
              </a:pPr>
              <a:r>
                <a:rPr kumimoji="0" lang="en-US" sz="1600" b="1" i="0" u="none" strike="noStrike" kern="0" cap="none" spc="30" normalizeH="0" baseline="0" noProof="0" dirty="0">
                  <a:ln>
                    <a:noFill/>
                  </a:ln>
                  <a:solidFill>
                    <a:srgbClr val="FFFFFF"/>
                  </a:solidFill>
                  <a:effectLst/>
                  <a:uLnTx/>
                  <a:uFillTx/>
                  <a:latin typeface="Calibri Light" panose="020F0302020204030204"/>
                  <a:ea typeface="+mn-ea"/>
                  <a:cs typeface="+mn-cs"/>
                  <a:sym typeface="Cabin Regular"/>
                </a:rPr>
                <a:t>ExpandFibre</a:t>
              </a:r>
              <a:r>
                <a:rPr kumimoji="0" lang="en-US" sz="1600" b="0" i="0" u="none" strike="noStrike" kern="0" cap="none" spc="30" normalizeH="0" baseline="0" noProof="0" dirty="0">
                  <a:ln>
                    <a:noFill/>
                  </a:ln>
                  <a:solidFill>
                    <a:srgbClr val="FFFFFF"/>
                  </a:solidFill>
                  <a:effectLst/>
                  <a:uLnTx/>
                  <a:uFillTx/>
                  <a:latin typeface="Calibri Light" panose="020F0302020204030204"/>
                  <a:ea typeface="+mn-ea"/>
                  <a:cs typeface="+mn-cs"/>
                  <a:sym typeface="Cabin Regular"/>
                </a:rPr>
                <a:t> (2020-2024) was a R&amp;D collaboration and an Ecosystem launched by Fortum and Metsä Group and co-funded by Business Finland. It focused on upgrading pulp </a:t>
              </a:r>
              <a:r>
                <a:rPr kumimoji="0" lang="en-US" sz="1600" b="0" i="0" u="none" strike="noStrike" kern="0" cap="none" spc="30" normalizeH="0" baseline="0" noProof="0" dirty="0" err="1">
                  <a:ln>
                    <a:noFill/>
                  </a:ln>
                  <a:solidFill>
                    <a:srgbClr val="FFFFFF"/>
                  </a:solidFill>
                  <a:effectLst/>
                  <a:uLnTx/>
                  <a:uFillTx/>
                  <a:latin typeface="Calibri Light" panose="020F0302020204030204"/>
                  <a:ea typeface="+mn-ea"/>
                  <a:cs typeface="+mn-cs"/>
                  <a:sym typeface="Cabin Regular"/>
                </a:rPr>
                <a:t>fibre</a:t>
              </a:r>
              <a:r>
                <a:rPr kumimoji="0" lang="en-US" sz="1600" b="0" i="0" u="none" strike="noStrike" kern="0" cap="none" spc="30" normalizeH="0" baseline="0" noProof="0" dirty="0">
                  <a:ln>
                    <a:noFill/>
                  </a:ln>
                  <a:solidFill>
                    <a:srgbClr val="FFFFFF"/>
                  </a:solidFill>
                  <a:effectLst/>
                  <a:uLnTx/>
                  <a:uFillTx/>
                  <a:latin typeface="Calibri Light" panose="020F0302020204030204"/>
                  <a:ea typeface="+mn-ea"/>
                  <a:cs typeface="+mn-cs"/>
                  <a:sym typeface="Cabin Regular"/>
                </a:rPr>
                <a:t>, hemicellulose and lignin from renewable and sustainable sources of straw and northern wood into new bioproducts. Its ambition was to meet the growing demands for sustainable textile fibres and other added value biomaterials. </a:t>
              </a:r>
              <a:endParaRPr kumimoji="0" lang="en-FI" sz="1600" b="0" i="0" u="none" strike="noStrike" kern="0" cap="none" spc="0" normalizeH="0" baseline="0" noProof="0" dirty="0">
                <a:ln>
                  <a:noFill/>
                </a:ln>
                <a:solidFill>
                  <a:srgbClr val="FFFFFF"/>
                </a:solidFill>
                <a:effectLst/>
                <a:uLnTx/>
                <a:uFillTx/>
                <a:latin typeface="Calibri Light" panose="020F0302020204030204"/>
                <a:ea typeface="+mn-ea"/>
                <a:cs typeface="+mn-cs"/>
                <a:sym typeface="Cabin Regular"/>
              </a:endParaRPr>
            </a:p>
          </p:txBody>
        </p:sp>
        <p:pic>
          <p:nvPicPr>
            <p:cNvPr id="15" name="Picture 14">
              <a:extLst>
                <a:ext uri="{FF2B5EF4-FFF2-40B4-BE49-F238E27FC236}">
                  <a16:creationId xmlns:a16="http://schemas.microsoft.com/office/drawing/2014/main" id="{1AF9292D-9029-9D55-1DA9-214C031F2145}"/>
                </a:ext>
              </a:extLst>
            </p:cNvPr>
            <p:cNvPicPr>
              <a:picLocks/>
            </p:cNvPicPr>
            <p:nvPr/>
          </p:nvPicPr>
          <p:blipFill rotWithShape="1">
            <a:blip r:embed="rId10"/>
            <a:srcRect l="5543" t="16028" r="51278" b="13751"/>
            <a:stretch/>
          </p:blipFill>
          <p:spPr>
            <a:xfrm>
              <a:off x="343116" y="1201269"/>
              <a:ext cx="2104987" cy="1797545"/>
            </a:xfrm>
            <a:prstGeom prst="roundRect">
              <a:avLst>
                <a:gd name="adj" fmla="val 4541"/>
              </a:avLst>
            </a:prstGeom>
          </p:spPr>
        </p:pic>
      </p:grpSp>
      <p:pic>
        <p:nvPicPr>
          <p:cNvPr id="16" name="Picture 15">
            <a:extLst>
              <a:ext uri="{FF2B5EF4-FFF2-40B4-BE49-F238E27FC236}">
                <a16:creationId xmlns:a16="http://schemas.microsoft.com/office/drawing/2014/main" id="{EE19B662-3CFA-D232-CADC-DDFD2A7739A8}"/>
              </a:ext>
            </a:extLst>
          </p:cNvPr>
          <p:cNvPicPr>
            <a:picLocks noChangeAspect="1"/>
          </p:cNvPicPr>
          <p:nvPr/>
        </p:nvPicPr>
        <p:blipFill rotWithShape="1">
          <a:blip r:embed="rId10"/>
          <a:srcRect l="51190" t="17887" r="8261" b="12439"/>
          <a:stretch/>
        </p:blipFill>
        <p:spPr>
          <a:xfrm>
            <a:off x="9387267" y="1209859"/>
            <a:ext cx="2135493" cy="1801489"/>
          </a:xfrm>
          <a:prstGeom prst="roundRect">
            <a:avLst>
              <a:gd name="adj" fmla="val 5245"/>
            </a:avLst>
          </a:prstGeom>
        </p:spPr>
      </p:pic>
      <p:pic>
        <p:nvPicPr>
          <p:cNvPr id="19" name="Picture 18">
            <a:extLst>
              <a:ext uri="{FF2B5EF4-FFF2-40B4-BE49-F238E27FC236}">
                <a16:creationId xmlns:a16="http://schemas.microsoft.com/office/drawing/2014/main" id="{9A041962-28D2-34CB-A639-D30099107A08}"/>
              </a:ext>
            </a:extLst>
          </p:cNvPr>
          <p:cNvPicPr>
            <a:picLocks noChangeAspect="1"/>
          </p:cNvPicPr>
          <p:nvPr/>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353899" y="4788060"/>
            <a:ext cx="542458" cy="641704"/>
          </a:xfrm>
          <a:prstGeom prst="rect">
            <a:avLst/>
          </a:prstGeom>
        </p:spPr>
      </p:pic>
      <p:sp>
        <p:nvSpPr>
          <p:cNvPr id="20" name="Freeform: Shape 19">
            <a:extLst>
              <a:ext uri="{FF2B5EF4-FFF2-40B4-BE49-F238E27FC236}">
                <a16:creationId xmlns:a16="http://schemas.microsoft.com/office/drawing/2014/main" id="{FBA80751-E1EF-7079-29BF-2A171CCA892A}"/>
              </a:ext>
            </a:extLst>
          </p:cNvPr>
          <p:cNvSpPr/>
          <p:nvPr/>
        </p:nvSpPr>
        <p:spPr>
          <a:xfrm>
            <a:off x="346257" y="4503893"/>
            <a:ext cx="557742" cy="266227"/>
          </a:xfrm>
          <a:custGeom>
            <a:avLst/>
            <a:gdLst>
              <a:gd name="connsiteX0" fmla="*/ 0 w 1157345"/>
              <a:gd name="connsiteY0" fmla="*/ 0 h 694407"/>
              <a:gd name="connsiteX1" fmla="*/ 1157345 w 1157345"/>
              <a:gd name="connsiteY1" fmla="*/ 0 h 694407"/>
              <a:gd name="connsiteX2" fmla="*/ 1157345 w 1157345"/>
              <a:gd name="connsiteY2" fmla="*/ 694407 h 694407"/>
              <a:gd name="connsiteX3" fmla="*/ 0 w 1157345"/>
              <a:gd name="connsiteY3" fmla="*/ 694407 h 694407"/>
              <a:gd name="connsiteX4" fmla="*/ 0 w 1157345"/>
              <a:gd name="connsiteY4" fmla="*/ 0 h 694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345" h="694407">
                <a:moveTo>
                  <a:pt x="0" y="0"/>
                </a:moveTo>
                <a:lnTo>
                  <a:pt x="1157345" y="0"/>
                </a:lnTo>
                <a:lnTo>
                  <a:pt x="1157345" y="694407"/>
                </a:lnTo>
                <a:lnTo>
                  <a:pt x="0" y="694407"/>
                </a:lnTo>
                <a:lnTo>
                  <a:pt x="0" y="0"/>
                </a:ln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49530" rIns="0" bIns="49530" numCol="1" spcCol="1270" anchor="ctr" anchorCtr="0">
            <a:spAutoFit/>
          </a:bodyPr>
          <a:lstStyle/>
          <a:p>
            <a:pPr marL="0" marR="0" lvl="0" indent="0" algn="ctr" defTabSz="577850" rtl="0" eaLnBrk="1" fontAlgn="auto" latinLnBrk="0" hangingPunct="0">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rgbClr val="44536A"/>
                </a:solidFill>
                <a:effectLst/>
                <a:uLnTx/>
                <a:uFillTx/>
                <a:latin typeface="Calibri Light" panose="020F0302020204030204"/>
                <a:ea typeface="+mn-ea"/>
                <a:cs typeface="+mn-cs"/>
                <a:sym typeface="Cabin Regular"/>
              </a:rPr>
              <a:t>Textiles</a:t>
            </a:r>
            <a:endParaRPr kumimoji="0" lang="en-FI" sz="1200" b="0" i="0" u="none" strike="noStrike" kern="1200" cap="none" spc="0" normalizeH="0" baseline="0" noProof="0" dirty="0">
              <a:ln>
                <a:noFill/>
              </a:ln>
              <a:solidFill>
                <a:srgbClr val="44536A"/>
              </a:solidFill>
              <a:effectLst/>
              <a:uLnTx/>
              <a:uFillTx/>
              <a:latin typeface="Calibri Light" panose="020F0302020204030204"/>
              <a:ea typeface="+mn-ea"/>
              <a:cs typeface="+mn-cs"/>
              <a:sym typeface="Cabin Regular"/>
            </a:endParaRPr>
          </a:p>
        </p:txBody>
      </p:sp>
      <p:pic>
        <p:nvPicPr>
          <p:cNvPr id="22" name="Picture 21">
            <a:extLst>
              <a:ext uri="{FF2B5EF4-FFF2-40B4-BE49-F238E27FC236}">
                <a16:creationId xmlns:a16="http://schemas.microsoft.com/office/drawing/2014/main" id="{824D7E34-3208-4A65-F64B-3BB74B1CD0F5}"/>
              </a:ext>
            </a:extLst>
          </p:cNvPr>
          <p:cNvPicPr>
            <a:picLocks noChangeAspect="1"/>
          </p:cNvPicPr>
          <p:nvPr/>
        </p:nvPicPr>
        <p:blipFill rotWithShape="1">
          <a:blip r:embed="rId12">
            <a:clrChange>
              <a:clrFrom>
                <a:srgbClr val="FFFFFF"/>
              </a:clrFrom>
              <a:clrTo>
                <a:srgbClr val="FFFFFF">
                  <a:alpha val="0"/>
                </a:srgbClr>
              </a:clrTo>
            </a:clrChange>
          </a:blip>
          <a:srcRect l="34029" r="44750" b="62417"/>
          <a:stretch/>
        </p:blipFill>
        <p:spPr>
          <a:xfrm>
            <a:off x="1140334" y="4623590"/>
            <a:ext cx="560790" cy="688690"/>
          </a:xfrm>
          <a:prstGeom prst="rect">
            <a:avLst/>
          </a:prstGeom>
        </p:spPr>
      </p:pic>
      <p:sp>
        <p:nvSpPr>
          <p:cNvPr id="23" name="Freeform: Shape 22">
            <a:extLst>
              <a:ext uri="{FF2B5EF4-FFF2-40B4-BE49-F238E27FC236}">
                <a16:creationId xmlns:a16="http://schemas.microsoft.com/office/drawing/2014/main" id="{CAF5B330-7EDD-6E48-CCB7-A116773B426A}"/>
              </a:ext>
            </a:extLst>
          </p:cNvPr>
          <p:cNvSpPr/>
          <p:nvPr/>
        </p:nvSpPr>
        <p:spPr>
          <a:xfrm>
            <a:off x="960388" y="4531764"/>
            <a:ext cx="1058480" cy="266227"/>
          </a:xfrm>
          <a:custGeom>
            <a:avLst/>
            <a:gdLst>
              <a:gd name="connsiteX0" fmla="*/ 0 w 1157345"/>
              <a:gd name="connsiteY0" fmla="*/ 0 h 694407"/>
              <a:gd name="connsiteX1" fmla="*/ 1157345 w 1157345"/>
              <a:gd name="connsiteY1" fmla="*/ 0 h 694407"/>
              <a:gd name="connsiteX2" fmla="*/ 1157345 w 1157345"/>
              <a:gd name="connsiteY2" fmla="*/ 694407 h 694407"/>
              <a:gd name="connsiteX3" fmla="*/ 0 w 1157345"/>
              <a:gd name="connsiteY3" fmla="*/ 694407 h 694407"/>
              <a:gd name="connsiteX4" fmla="*/ 0 w 1157345"/>
              <a:gd name="connsiteY4" fmla="*/ 0 h 694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345" h="694407">
                <a:moveTo>
                  <a:pt x="0" y="0"/>
                </a:moveTo>
                <a:lnTo>
                  <a:pt x="1157345" y="0"/>
                </a:lnTo>
                <a:lnTo>
                  <a:pt x="1157345" y="694407"/>
                </a:lnTo>
                <a:lnTo>
                  <a:pt x="0" y="694407"/>
                </a:lnTo>
                <a:lnTo>
                  <a:pt x="0" y="0"/>
                </a:ln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49530" rIns="0" bIns="49530" numCol="1" spcCol="1270" anchor="ctr" anchorCtr="0">
            <a:spAutoFit/>
          </a:bodyPr>
          <a:lstStyle/>
          <a:p>
            <a:pPr marL="0" marR="0" lvl="0" indent="0" algn="ctr" defTabSz="577850" rtl="0" eaLnBrk="1" fontAlgn="auto" latinLnBrk="0" hangingPunct="0">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rgbClr val="44536A"/>
                </a:solidFill>
                <a:effectLst/>
                <a:uLnTx/>
                <a:uFillTx/>
                <a:latin typeface="Calibri Light" panose="020F0302020204030204"/>
                <a:ea typeface="+mn-ea"/>
                <a:cs typeface="+mn-cs"/>
                <a:sym typeface="Cabin Regular"/>
              </a:rPr>
              <a:t>Biocomposites</a:t>
            </a:r>
            <a:endParaRPr kumimoji="0" lang="en-FI" sz="1200" b="0" i="0" u="none" strike="noStrike" kern="1200" cap="none" spc="0" normalizeH="0" baseline="0" noProof="0" dirty="0">
              <a:ln>
                <a:noFill/>
              </a:ln>
              <a:solidFill>
                <a:srgbClr val="44536A"/>
              </a:solidFill>
              <a:effectLst/>
              <a:uLnTx/>
              <a:uFillTx/>
              <a:latin typeface="Calibri Light" panose="020F0302020204030204"/>
              <a:ea typeface="+mn-ea"/>
              <a:cs typeface="+mn-cs"/>
              <a:sym typeface="Cabin Regular"/>
            </a:endParaRPr>
          </a:p>
        </p:txBody>
      </p:sp>
      <p:pic>
        <p:nvPicPr>
          <p:cNvPr id="25" name="Picture 24">
            <a:extLst>
              <a:ext uri="{FF2B5EF4-FFF2-40B4-BE49-F238E27FC236}">
                <a16:creationId xmlns:a16="http://schemas.microsoft.com/office/drawing/2014/main" id="{873901B8-9662-543C-3CCA-A5BD3E04C648}"/>
              </a:ext>
            </a:extLst>
          </p:cNvPr>
          <p:cNvPicPr>
            <a:picLocks noChangeAspect="1"/>
          </p:cNvPicPr>
          <p:nvPr/>
        </p:nvPicPr>
        <p:blipFill rotWithShape="1">
          <a:blip r:embed="rId13">
            <a:clrChange>
              <a:clrFrom>
                <a:srgbClr val="FBFBFC"/>
              </a:clrFrom>
              <a:clrTo>
                <a:srgbClr val="FBFBFC">
                  <a:alpha val="0"/>
                </a:srgbClr>
              </a:clrTo>
            </a:clrChange>
          </a:blip>
          <a:srcRect l="19697" t="15050" r="25598" b="60195"/>
          <a:stretch/>
        </p:blipFill>
        <p:spPr>
          <a:xfrm>
            <a:off x="1949237" y="4903558"/>
            <a:ext cx="711950" cy="376432"/>
          </a:xfrm>
          <a:prstGeom prst="rect">
            <a:avLst/>
          </a:prstGeom>
        </p:spPr>
      </p:pic>
      <p:sp>
        <p:nvSpPr>
          <p:cNvPr id="26" name="Freeform: Shape 25">
            <a:extLst>
              <a:ext uri="{FF2B5EF4-FFF2-40B4-BE49-F238E27FC236}">
                <a16:creationId xmlns:a16="http://schemas.microsoft.com/office/drawing/2014/main" id="{31D78330-8C79-EB80-BFED-900D956179E0}"/>
              </a:ext>
            </a:extLst>
          </p:cNvPr>
          <p:cNvSpPr/>
          <p:nvPr/>
        </p:nvSpPr>
        <p:spPr>
          <a:xfrm>
            <a:off x="2030227" y="4637546"/>
            <a:ext cx="772612" cy="266227"/>
          </a:xfrm>
          <a:custGeom>
            <a:avLst/>
            <a:gdLst>
              <a:gd name="connsiteX0" fmla="*/ 0 w 1157345"/>
              <a:gd name="connsiteY0" fmla="*/ 0 h 694407"/>
              <a:gd name="connsiteX1" fmla="*/ 1157345 w 1157345"/>
              <a:gd name="connsiteY1" fmla="*/ 0 h 694407"/>
              <a:gd name="connsiteX2" fmla="*/ 1157345 w 1157345"/>
              <a:gd name="connsiteY2" fmla="*/ 694407 h 694407"/>
              <a:gd name="connsiteX3" fmla="*/ 0 w 1157345"/>
              <a:gd name="connsiteY3" fmla="*/ 694407 h 694407"/>
              <a:gd name="connsiteX4" fmla="*/ 0 w 1157345"/>
              <a:gd name="connsiteY4" fmla="*/ 0 h 694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345" h="694407">
                <a:moveTo>
                  <a:pt x="0" y="0"/>
                </a:moveTo>
                <a:lnTo>
                  <a:pt x="1157345" y="0"/>
                </a:lnTo>
                <a:lnTo>
                  <a:pt x="1157345" y="694407"/>
                </a:lnTo>
                <a:lnTo>
                  <a:pt x="0" y="694407"/>
                </a:lnTo>
                <a:lnTo>
                  <a:pt x="0" y="0"/>
                </a:ln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49530" rIns="0" bIns="49530" numCol="1" spcCol="1270" anchor="ctr" anchorCtr="0">
            <a:spAutoFit/>
          </a:bodyPr>
          <a:lstStyle/>
          <a:p>
            <a:pPr marL="0" marR="0" lvl="0" indent="0" algn="ctr" defTabSz="577850" rtl="0" eaLnBrk="1" fontAlgn="auto" latinLnBrk="0" hangingPunct="0">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rgbClr val="44536A"/>
                </a:solidFill>
                <a:effectLst/>
                <a:uLnTx/>
                <a:uFillTx/>
                <a:latin typeface="Calibri Light" panose="020F0302020204030204"/>
                <a:ea typeface="+mn-ea"/>
                <a:cs typeface="+mn-cs"/>
                <a:sym typeface="Cabin Regular"/>
              </a:rPr>
              <a:t>Packaging</a:t>
            </a:r>
            <a:endParaRPr kumimoji="0" lang="en-FI" sz="1200" b="0" i="0" u="none" strike="noStrike" kern="1200" cap="none" spc="0" normalizeH="0" baseline="0" noProof="0" dirty="0">
              <a:ln>
                <a:noFill/>
              </a:ln>
              <a:solidFill>
                <a:srgbClr val="44536A"/>
              </a:solidFill>
              <a:effectLst/>
              <a:uLnTx/>
              <a:uFillTx/>
              <a:latin typeface="Calibri Light" panose="020F0302020204030204"/>
              <a:ea typeface="+mn-ea"/>
              <a:cs typeface="+mn-cs"/>
              <a:sym typeface="Cabin Regular"/>
            </a:endParaRPr>
          </a:p>
        </p:txBody>
      </p:sp>
      <p:pic>
        <p:nvPicPr>
          <p:cNvPr id="28" name="Picture 27">
            <a:extLst>
              <a:ext uri="{FF2B5EF4-FFF2-40B4-BE49-F238E27FC236}">
                <a16:creationId xmlns:a16="http://schemas.microsoft.com/office/drawing/2014/main" id="{D30C3A88-B438-BE20-6F3C-FE7F4F82075A}"/>
              </a:ext>
            </a:extLst>
          </p:cNvPr>
          <p:cNvPicPr>
            <a:picLocks noChangeAspect="1"/>
          </p:cNvPicPr>
          <p:nvPr/>
        </p:nvPicPr>
        <p:blipFill rotWithShape="1">
          <a:blip r:embed="rId14">
            <a:clrChange>
              <a:clrFrom>
                <a:srgbClr val="FBFBFC"/>
              </a:clrFrom>
              <a:clrTo>
                <a:srgbClr val="FBFBFC">
                  <a:alpha val="0"/>
                </a:srgbClr>
              </a:clrTo>
            </a:clrChange>
          </a:blip>
          <a:srcRect l="4937" t="5753" r="85597" b="63560"/>
          <a:stretch/>
        </p:blipFill>
        <p:spPr>
          <a:xfrm>
            <a:off x="3759597" y="5437422"/>
            <a:ext cx="533268" cy="624338"/>
          </a:xfrm>
          <a:prstGeom prst="rect">
            <a:avLst/>
          </a:prstGeom>
        </p:spPr>
      </p:pic>
      <p:sp>
        <p:nvSpPr>
          <p:cNvPr id="29" name="Freeform: Shape 28">
            <a:extLst>
              <a:ext uri="{FF2B5EF4-FFF2-40B4-BE49-F238E27FC236}">
                <a16:creationId xmlns:a16="http://schemas.microsoft.com/office/drawing/2014/main" id="{A2871418-CA85-06C5-F140-EE8564EAB8E3}"/>
              </a:ext>
            </a:extLst>
          </p:cNvPr>
          <p:cNvSpPr/>
          <p:nvPr/>
        </p:nvSpPr>
        <p:spPr>
          <a:xfrm>
            <a:off x="3564347" y="5036797"/>
            <a:ext cx="923768" cy="432426"/>
          </a:xfrm>
          <a:custGeom>
            <a:avLst/>
            <a:gdLst>
              <a:gd name="connsiteX0" fmla="*/ 0 w 1157345"/>
              <a:gd name="connsiteY0" fmla="*/ 0 h 694407"/>
              <a:gd name="connsiteX1" fmla="*/ 1157345 w 1157345"/>
              <a:gd name="connsiteY1" fmla="*/ 0 h 694407"/>
              <a:gd name="connsiteX2" fmla="*/ 1157345 w 1157345"/>
              <a:gd name="connsiteY2" fmla="*/ 694407 h 694407"/>
              <a:gd name="connsiteX3" fmla="*/ 0 w 1157345"/>
              <a:gd name="connsiteY3" fmla="*/ 694407 h 694407"/>
              <a:gd name="connsiteX4" fmla="*/ 0 w 1157345"/>
              <a:gd name="connsiteY4" fmla="*/ 0 h 694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345" h="694407">
                <a:moveTo>
                  <a:pt x="0" y="0"/>
                </a:moveTo>
                <a:lnTo>
                  <a:pt x="1157345" y="0"/>
                </a:lnTo>
                <a:lnTo>
                  <a:pt x="1157345" y="694407"/>
                </a:lnTo>
                <a:lnTo>
                  <a:pt x="0" y="694407"/>
                </a:lnTo>
                <a:lnTo>
                  <a:pt x="0" y="0"/>
                </a:ln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49530" rIns="0" bIns="49530" numCol="1" spcCol="1270" anchor="ctr" anchorCtr="0">
            <a:spAutoFit/>
          </a:bodyPr>
          <a:lstStyle/>
          <a:p>
            <a:pPr marL="0" marR="0" lvl="0" indent="0" algn="ctr" defTabSz="577850" rtl="0" eaLnBrk="1" fontAlgn="auto" latinLnBrk="0" hangingPunct="0">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rgbClr val="44536A"/>
                </a:solidFill>
                <a:effectLst/>
                <a:uLnTx/>
                <a:uFillTx/>
                <a:latin typeface="Calibri Light" panose="020F0302020204030204"/>
                <a:ea typeface="+mn-ea"/>
                <a:cs typeface="+mn-cs"/>
                <a:sym typeface="Cabin Regular"/>
              </a:rPr>
              <a:t>Other </a:t>
            </a:r>
            <a:r>
              <a:rPr kumimoji="0" lang="en-US" sz="1200" b="0" i="0" u="none" strike="noStrike" kern="1200" cap="none" spc="0" normalizeH="0" baseline="0" noProof="0" dirty="0" err="1">
                <a:ln>
                  <a:noFill/>
                </a:ln>
                <a:solidFill>
                  <a:srgbClr val="44536A"/>
                </a:solidFill>
                <a:effectLst/>
                <a:uLnTx/>
                <a:uFillTx/>
                <a:latin typeface="Calibri Light" panose="020F0302020204030204"/>
                <a:ea typeface="+mn-ea"/>
                <a:cs typeface="+mn-cs"/>
                <a:sym typeface="Cabin Regular"/>
              </a:rPr>
              <a:t>fibre</a:t>
            </a:r>
            <a:r>
              <a:rPr kumimoji="0" lang="en-US" sz="1200" b="0" i="0" u="none" strike="noStrike" kern="1200" cap="none" spc="0" normalizeH="0" baseline="0" noProof="0" dirty="0">
                <a:ln>
                  <a:noFill/>
                </a:ln>
                <a:solidFill>
                  <a:srgbClr val="44536A"/>
                </a:solidFill>
                <a:effectLst/>
                <a:uLnTx/>
                <a:uFillTx/>
                <a:latin typeface="Calibri Light" panose="020F0302020204030204"/>
                <a:ea typeface="+mn-ea"/>
                <a:cs typeface="+mn-cs"/>
                <a:sym typeface="Cabin Regular"/>
              </a:rPr>
              <a:t> &amp; wood products</a:t>
            </a:r>
            <a:endParaRPr kumimoji="0" lang="en-FI" sz="1200" b="0" i="0" u="none" strike="noStrike" kern="1200" cap="none" spc="0" normalizeH="0" baseline="0" noProof="0" dirty="0">
              <a:ln>
                <a:noFill/>
              </a:ln>
              <a:solidFill>
                <a:srgbClr val="44536A"/>
              </a:solidFill>
              <a:effectLst/>
              <a:uLnTx/>
              <a:uFillTx/>
              <a:latin typeface="Calibri Light" panose="020F0302020204030204"/>
              <a:ea typeface="+mn-ea"/>
              <a:cs typeface="+mn-cs"/>
              <a:sym typeface="Cabin Regular"/>
            </a:endParaRPr>
          </a:p>
        </p:txBody>
      </p:sp>
      <p:pic>
        <p:nvPicPr>
          <p:cNvPr id="30" name="Picture 29">
            <a:extLst>
              <a:ext uri="{FF2B5EF4-FFF2-40B4-BE49-F238E27FC236}">
                <a16:creationId xmlns:a16="http://schemas.microsoft.com/office/drawing/2014/main" id="{6D03ED50-A5F3-5D45-D2CA-F89B5AF575FC}"/>
              </a:ext>
            </a:extLst>
          </p:cNvPr>
          <p:cNvPicPr>
            <a:picLocks noChangeAspect="1"/>
          </p:cNvPicPr>
          <p:nvPr/>
        </p:nvPicPr>
        <p:blipFill rotWithShape="1">
          <a:blip r:embed="rId15">
            <a:clrChange>
              <a:clrFrom>
                <a:srgbClr val="FFFFFF"/>
              </a:clrFrom>
              <a:clrTo>
                <a:srgbClr val="FFFFFF">
                  <a:alpha val="0"/>
                </a:srgbClr>
              </a:clrTo>
            </a:clrChange>
          </a:blip>
          <a:srcRect l="6267" t="18410" r="79232" b="30895"/>
          <a:stretch/>
        </p:blipFill>
        <p:spPr>
          <a:xfrm>
            <a:off x="1264175" y="5385558"/>
            <a:ext cx="553708" cy="657316"/>
          </a:xfrm>
          <a:prstGeom prst="rect">
            <a:avLst/>
          </a:prstGeom>
        </p:spPr>
      </p:pic>
      <p:sp>
        <p:nvSpPr>
          <p:cNvPr id="31" name="Freeform: Shape 30">
            <a:extLst>
              <a:ext uri="{FF2B5EF4-FFF2-40B4-BE49-F238E27FC236}">
                <a16:creationId xmlns:a16="http://schemas.microsoft.com/office/drawing/2014/main" id="{59C92A36-5941-910B-906B-ED35ADDDC845}"/>
              </a:ext>
            </a:extLst>
          </p:cNvPr>
          <p:cNvSpPr/>
          <p:nvPr/>
        </p:nvSpPr>
        <p:spPr>
          <a:xfrm>
            <a:off x="3396779" y="4553907"/>
            <a:ext cx="872386" cy="432426"/>
          </a:xfrm>
          <a:custGeom>
            <a:avLst/>
            <a:gdLst>
              <a:gd name="connsiteX0" fmla="*/ 0 w 1157345"/>
              <a:gd name="connsiteY0" fmla="*/ 0 h 694407"/>
              <a:gd name="connsiteX1" fmla="*/ 1157345 w 1157345"/>
              <a:gd name="connsiteY1" fmla="*/ 0 h 694407"/>
              <a:gd name="connsiteX2" fmla="*/ 1157345 w 1157345"/>
              <a:gd name="connsiteY2" fmla="*/ 694407 h 694407"/>
              <a:gd name="connsiteX3" fmla="*/ 0 w 1157345"/>
              <a:gd name="connsiteY3" fmla="*/ 694407 h 694407"/>
              <a:gd name="connsiteX4" fmla="*/ 0 w 1157345"/>
              <a:gd name="connsiteY4" fmla="*/ 0 h 694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345" h="694407">
                <a:moveTo>
                  <a:pt x="0" y="0"/>
                </a:moveTo>
                <a:lnTo>
                  <a:pt x="1157345" y="0"/>
                </a:lnTo>
                <a:lnTo>
                  <a:pt x="1157345" y="694407"/>
                </a:lnTo>
                <a:lnTo>
                  <a:pt x="0" y="694407"/>
                </a:lnTo>
                <a:lnTo>
                  <a:pt x="0" y="0"/>
                </a:ln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49530" rIns="0" bIns="49530" numCol="1" spcCol="1270" anchor="ctr" anchorCtr="0">
            <a:spAutoFit/>
          </a:bodyPr>
          <a:lstStyle/>
          <a:p>
            <a:pPr marL="0" marR="0" lvl="0" indent="0" algn="ctr" defTabSz="577850" rtl="0" eaLnBrk="1" fontAlgn="auto" latinLnBrk="0" hangingPunct="0">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rgbClr val="44536A"/>
                </a:solidFill>
                <a:effectLst/>
                <a:uLnTx/>
                <a:uFillTx/>
                <a:latin typeface="Calibri Light" panose="020F0302020204030204"/>
                <a:ea typeface="+mn-ea"/>
                <a:cs typeface="+mn-cs"/>
                <a:sym typeface="Cabin Regular"/>
              </a:rPr>
              <a:t>Lignin products</a:t>
            </a:r>
            <a:endParaRPr kumimoji="0" lang="en-FI" sz="1200" b="0" i="0" u="none" strike="noStrike" kern="1200" cap="none" spc="0" normalizeH="0" baseline="0" noProof="0" dirty="0">
              <a:ln>
                <a:noFill/>
              </a:ln>
              <a:solidFill>
                <a:srgbClr val="44536A"/>
              </a:solidFill>
              <a:effectLst/>
              <a:uLnTx/>
              <a:uFillTx/>
              <a:latin typeface="Calibri Light" panose="020F0302020204030204"/>
              <a:ea typeface="+mn-ea"/>
              <a:cs typeface="+mn-cs"/>
              <a:sym typeface="Cabin Regular"/>
            </a:endParaRPr>
          </a:p>
        </p:txBody>
      </p:sp>
      <p:sp>
        <p:nvSpPr>
          <p:cNvPr id="33" name="Freeform: Shape 32">
            <a:extLst>
              <a:ext uri="{FF2B5EF4-FFF2-40B4-BE49-F238E27FC236}">
                <a16:creationId xmlns:a16="http://schemas.microsoft.com/office/drawing/2014/main" id="{C0910F29-D75D-8A06-A7C3-5689DA282348}"/>
              </a:ext>
            </a:extLst>
          </p:cNvPr>
          <p:cNvSpPr/>
          <p:nvPr/>
        </p:nvSpPr>
        <p:spPr>
          <a:xfrm>
            <a:off x="221536" y="5505877"/>
            <a:ext cx="1096660" cy="432426"/>
          </a:xfrm>
          <a:custGeom>
            <a:avLst/>
            <a:gdLst>
              <a:gd name="connsiteX0" fmla="*/ 0 w 1157345"/>
              <a:gd name="connsiteY0" fmla="*/ 0 h 694407"/>
              <a:gd name="connsiteX1" fmla="*/ 1157345 w 1157345"/>
              <a:gd name="connsiteY1" fmla="*/ 0 h 694407"/>
              <a:gd name="connsiteX2" fmla="*/ 1157345 w 1157345"/>
              <a:gd name="connsiteY2" fmla="*/ 694407 h 694407"/>
              <a:gd name="connsiteX3" fmla="*/ 0 w 1157345"/>
              <a:gd name="connsiteY3" fmla="*/ 694407 h 694407"/>
              <a:gd name="connsiteX4" fmla="*/ 0 w 1157345"/>
              <a:gd name="connsiteY4" fmla="*/ 0 h 694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345" h="694407">
                <a:moveTo>
                  <a:pt x="0" y="0"/>
                </a:moveTo>
                <a:lnTo>
                  <a:pt x="1157345" y="0"/>
                </a:lnTo>
                <a:lnTo>
                  <a:pt x="1157345" y="694407"/>
                </a:lnTo>
                <a:lnTo>
                  <a:pt x="0" y="694407"/>
                </a:lnTo>
                <a:lnTo>
                  <a:pt x="0" y="0"/>
                </a:ln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49530" rIns="0" bIns="49530" numCol="1" spcCol="1270" anchor="ctr" anchorCtr="0">
            <a:spAutoFit/>
          </a:bodyPr>
          <a:lstStyle/>
          <a:p>
            <a:pPr marL="0" marR="0" lvl="0" indent="0" algn="ctr" defTabSz="577850" rtl="0" eaLnBrk="1" fontAlgn="auto" latinLnBrk="0" hangingPunct="0">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rgbClr val="44536A"/>
                </a:solidFill>
                <a:effectLst/>
                <a:uLnTx/>
                <a:uFillTx/>
                <a:latin typeface="Calibri Light" panose="020F0302020204030204"/>
                <a:ea typeface="+mn-ea"/>
                <a:cs typeface="+mn-cs"/>
                <a:sym typeface="Cabin Regular"/>
              </a:rPr>
              <a:t>Hemicellulose products</a:t>
            </a:r>
            <a:endParaRPr kumimoji="0" lang="en-FI" sz="1200" b="0" i="0" u="none" strike="noStrike" kern="1200" cap="none" spc="0" normalizeH="0" baseline="0" noProof="0" dirty="0">
              <a:ln>
                <a:noFill/>
              </a:ln>
              <a:solidFill>
                <a:srgbClr val="44536A"/>
              </a:solidFill>
              <a:effectLst/>
              <a:uLnTx/>
              <a:uFillTx/>
              <a:latin typeface="Calibri Light" panose="020F0302020204030204"/>
              <a:ea typeface="+mn-ea"/>
              <a:cs typeface="+mn-cs"/>
              <a:sym typeface="Cabin Regular"/>
            </a:endParaRPr>
          </a:p>
        </p:txBody>
      </p:sp>
      <p:pic>
        <p:nvPicPr>
          <p:cNvPr id="34" name="Picture 33">
            <a:extLst>
              <a:ext uri="{FF2B5EF4-FFF2-40B4-BE49-F238E27FC236}">
                <a16:creationId xmlns:a16="http://schemas.microsoft.com/office/drawing/2014/main" id="{157E2010-63DF-D875-A87C-5165F9E07465}"/>
              </a:ext>
            </a:extLst>
          </p:cNvPr>
          <p:cNvPicPr>
            <a:picLocks noChangeAspect="1"/>
          </p:cNvPicPr>
          <p:nvPr/>
        </p:nvPicPr>
        <p:blipFill rotWithShape="1">
          <a:blip r:embed="rId15">
            <a:clrChange>
              <a:clrFrom>
                <a:srgbClr val="FFFFFF"/>
              </a:clrFrom>
              <a:clrTo>
                <a:srgbClr val="FFFFFF">
                  <a:alpha val="0"/>
                </a:srgbClr>
              </a:clrTo>
            </a:clrChange>
          </a:blip>
          <a:srcRect l="61829" t="26296" r="21555" b="35484"/>
          <a:stretch/>
        </p:blipFill>
        <p:spPr>
          <a:xfrm>
            <a:off x="2853469" y="5419600"/>
            <a:ext cx="634422" cy="495560"/>
          </a:xfrm>
          <a:prstGeom prst="rect">
            <a:avLst/>
          </a:prstGeom>
        </p:spPr>
      </p:pic>
      <p:sp>
        <p:nvSpPr>
          <p:cNvPr id="35" name="Freeform: Shape 34">
            <a:extLst>
              <a:ext uri="{FF2B5EF4-FFF2-40B4-BE49-F238E27FC236}">
                <a16:creationId xmlns:a16="http://schemas.microsoft.com/office/drawing/2014/main" id="{DB9F62D9-658F-CC7D-8F0C-24249BB2F035}"/>
              </a:ext>
            </a:extLst>
          </p:cNvPr>
          <p:cNvSpPr/>
          <p:nvPr/>
        </p:nvSpPr>
        <p:spPr>
          <a:xfrm>
            <a:off x="1766853" y="5469223"/>
            <a:ext cx="1198833" cy="432426"/>
          </a:xfrm>
          <a:custGeom>
            <a:avLst/>
            <a:gdLst>
              <a:gd name="connsiteX0" fmla="*/ 0 w 1157345"/>
              <a:gd name="connsiteY0" fmla="*/ 0 h 694407"/>
              <a:gd name="connsiteX1" fmla="*/ 1157345 w 1157345"/>
              <a:gd name="connsiteY1" fmla="*/ 0 h 694407"/>
              <a:gd name="connsiteX2" fmla="*/ 1157345 w 1157345"/>
              <a:gd name="connsiteY2" fmla="*/ 694407 h 694407"/>
              <a:gd name="connsiteX3" fmla="*/ 0 w 1157345"/>
              <a:gd name="connsiteY3" fmla="*/ 694407 h 694407"/>
              <a:gd name="connsiteX4" fmla="*/ 0 w 1157345"/>
              <a:gd name="connsiteY4" fmla="*/ 0 h 694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345" h="694407">
                <a:moveTo>
                  <a:pt x="0" y="0"/>
                </a:moveTo>
                <a:lnTo>
                  <a:pt x="1157345" y="0"/>
                </a:lnTo>
                <a:lnTo>
                  <a:pt x="1157345" y="694407"/>
                </a:lnTo>
                <a:lnTo>
                  <a:pt x="0" y="694407"/>
                </a:lnTo>
                <a:lnTo>
                  <a:pt x="0" y="0"/>
                </a:ln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49530" rIns="0" bIns="49530" numCol="1" spcCol="1270" anchor="ctr" anchorCtr="0">
            <a:spAutoFit/>
          </a:bodyPr>
          <a:lstStyle/>
          <a:p>
            <a:pPr marL="0" marR="0" lvl="0" indent="0" algn="ctr" defTabSz="577850" rtl="0" eaLnBrk="1" fontAlgn="auto" latinLnBrk="0" hangingPunct="0">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rgbClr val="44536A"/>
                </a:solidFill>
                <a:effectLst/>
                <a:uLnTx/>
                <a:uFillTx/>
                <a:latin typeface="Calibri Light" panose="020F0302020204030204"/>
                <a:ea typeface="+mn-ea"/>
                <a:cs typeface="+mn-cs"/>
                <a:sym typeface="Cabin Regular"/>
              </a:rPr>
              <a:t>Sourcing &amp; fractionation</a:t>
            </a:r>
            <a:endParaRPr kumimoji="0" lang="en-FI" sz="1200" b="0" i="0" u="none" strike="noStrike" kern="1200" cap="none" spc="0" normalizeH="0" baseline="0" noProof="0" dirty="0">
              <a:ln>
                <a:noFill/>
              </a:ln>
              <a:solidFill>
                <a:srgbClr val="44536A"/>
              </a:solidFill>
              <a:effectLst/>
              <a:uLnTx/>
              <a:uFillTx/>
              <a:latin typeface="Calibri Light" panose="020F0302020204030204"/>
              <a:ea typeface="+mn-ea"/>
              <a:cs typeface="+mn-cs"/>
              <a:sym typeface="Cabin Regular"/>
            </a:endParaRPr>
          </a:p>
        </p:txBody>
      </p:sp>
      <p:sp>
        <p:nvSpPr>
          <p:cNvPr id="36" name="Title 35">
            <a:extLst>
              <a:ext uri="{FF2B5EF4-FFF2-40B4-BE49-F238E27FC236}">
                <a16:creationId xmlns:a16="http://schemas.microsoft.com/office/drawing/2014/main" id="{03CE84C9-AB89-B26A-2C9D-29ECA32D7058}"/>
              </a:ext>
            </a:extLst>
          </p:cNvPr>
          <p:cNvSpPr>
            <a:spLocks noGrp="1"/>
          </p:cNvSpPr>
          <p:nvPr>
            <p:ph type="title"/>
          </p:nvPr>
        </p:nvSpPr>
        <p:spPr>
          <a:xfrm>
            <a:off x="586885" y="330642"/>
            <a:ext cx="10739681" cy="761286"/>
          </a:xfrm>
        </p:spPr>
        <p:txBody>
          <a:bodyPr/>
          <a:lstStyle/>
          <a:p>
            <a:pPr algn="ctr"/>
            <a:r>
              <a:rPr lang="fi-FI" dirty="0"/>
              <a:t>ExpandFibre Veturi </a:t>
            </a:r>
            <a:r>
              <a:rPr lang="fi-FI" dirty="0" err="1"/>
              <a:t>programme</a:t>
            </a:r>
            <a:endParaRPr lang="en-US" dirty="0"/>
          </a:p>
        </p:txBody>
      </p:sp>
      <p:pic>
        <p:nvPicPr>
          <p:cNvPr id="5" name="LinkedIn">
            <a:extLst>
              <a:ext uri="{FF2B5EF4-FFF2-40B4-BE49-F238E27FC236}">
                <a16:creationId xmlns:a16="http://schemas.microsoft.com/office/drawing/2014/main" id="{F95EEAA2-AA2D-FF94-F1C1-63D688AEEBFB}"/>
              </a:ext>
            </a:extLst>
          </p:cNvPr>
          <p:cNvPicPr>
            <a:picLocks noChangeAspect="1"/>
          </p:cNvPicPr>
          <p:nvPr>
            <p:custDataLst>
              <p:tags r:id="rId3"/>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039885" y="6327259"/>
            <a:ext cx="344423" cy="344423"/>
          </a:xfrm>
          <a:prstGeom prst="rect">
            <a:avLst/>
          </a:prstGeom>
        </p:spPr>
      </p:pic>
      <p:sp>
        <p:nvSpPr>
          <p:cNvPr id="38" name="TextBox 37">
            <a:hlinkClick r:id="rId18"/>
            <a:extLst>
              <a:ext uri="{FF2B5EF4-FFF2-40B4-BE49-F238E27FC236}">
                <a16:creationId xmlns:a16="http://schemas.microsoft.com/office/drawing/2014/main" id="{E14B015A-D247-4FB2-1A59-03A8617F6754}"/>
              </a:ext>
            </a:extLst>
          </p:cNvPr>
          <p:cNvSpPr txBox="1"/>
          <p:nvPr/>
        </p:nvSpPr>
        <p:spPr>
          <a:xfrm>
            <a:off x="10313906" y="6328468"/>
            <a:ext cx="1383723" cy="338554"/>
          </a:xfrm>
          <a:prstGeom prst="rect">
            <a:avLst/>
          </a:prstGeom>
          <a:noFill/>
        </p:spPr>
        <p:txBody>
          <a:bodyPr wrap="square">
            <a:spAutoFit/>
          </a:bodyPr>
          <a:lstStyle/>
          <a:p>
            <a:pPr marL="0" marR="0" lvl="0" indent="0" algn="ctr" defTabSz="914537" rtl="0" eaLnBrk="1" fontAlgn="auto" latinLnBrk="0" hangingPunct="0">
              <a:lnSpc>
                <a:spcPct val="100000"/>
              </a:lnSpc>
              <a:spcBef>
                <a:spcPts val="0"/>
              </a:spcBef>
              <a:spcAft>
                <a:spcPts val="0"/>
              </a:spcAft>
              <a:buClrTx/>
              <a:buSzTx/>
              <a:buFontTx/>
              <a:buNone/>
              <a:tabLst/>
              <a:defRPr/>
            </a:pPr>
            <a:r>
              <a:rPr kumimoji="0" lang="fi-FI" sz="1600" b="1" i="0" u="none" strike="noStrike" kern="0" cap="none" spc="0" normalizeH="0" baseline="0" noProof="0">
                <a:ln>
                  <a:noFill/>
                </a:ln>
                <a:solidFill>
                  <a:srgbClr val="4D8179"/>
                </a:solidFill>
                <a:effectLst/>
                <a:uLnTx/>
                <a:uFillTx/>
                <a:latin typeface="Cabin Regular"/>
                <a:ea typeface="+mn-ea"/>
                <a:cs typeface="+mn-cs"/>
                <a:sym typeface="Cabin Regular"/>
              </a:rPr>
              <a:t>ExpandFibre</a:t>
            </a:r>
            <a:endParaRPr kumimoji="0" lang="en-FI" sz="1600" b="1" i="0" u="none" strike="noStrike" kern="0" cap="none" spc="0" normalizeH="0" baseline="0" noProof="0">
              <a:ln>
                <a:noFill/>
              </a:ln>
              <a:solidFill>
                <a:srgbClr val="4D8179"/>
              </a:solidFill>
              <a:effectLst/>
              <a:uLnTx/>
              <a:uFillTx/>
              <a:latin typeface="Cabin Regular"/>
              <a:ea typeface="+mn-ea"/>
              <a:cs typeface="+mn-cs"/>
              <a:sym typeface="Cabin Regular"/>
            </a:endParaRPr>
          </a:p>
        </p:txBody>
      </p:sp>
      <p:sp>
        <p:nvSpPr>
          <p:cNvPr id="37" name="TextBox 36">
            <a:hlinkClick r:id="rId19"/>
            <a:extLst>
              <a:ext uri="{FF2B5EF4-FFF2-40B4-BE49-F238E27FC236}">
                <a16:creationId xmlns:a16="http://schemas.microsoft.com/office/drawing/2014/main" id="{5F07A6D2-F687-9CB9-1CD4-3B401EA5EF55}"/>
              </a:ext>
            </a:extLst>
          </p:cNvPr>
          <p:cNvSpPr txBox="1"/>
          <p:nvPr/>
        </p:nvSpPr>
        <p:spPr>
          <a:xfrm>
            <a:off x="8070752" y="6328468"/>
            <a:ext cx="1718708" cy="338554"/>
          </a:xfrm>
          <a:prstGeom prst="rect">
            <a:avLst/>
          </a:prstGeom>
          <a:noFill/>
        </p:spPr>
        <p:txBody>
          <a:bodyPr wrap="square">
            <a:spAutoFit/>
          </a:bodyPr>
          <a:lstStyle/>
          <a:p>
            <a:pPr marL="0" marR="0" lvl="0" indent="0" algn="ctr" defTabSz="914537" rtl="0" eaLnBrk="1" fontAlgn="auto" latinLnBrk="0" hangingPunct="0">
              <a:lnSpc>
                <a:spcPct val="100000"/>
              </a:lnSpc>
              <a:spcBef>
                <a:spcPts val="0"/>
              </a:spcBef>
              <a:spcAft>
                <a:spcPts val="0"/>
              </a:spcAft>
              <a:buClrTx/>
              <a:buSzTx/>
              <a:buFontTx/>
              <a:buNone/>
              <a:tabLst/>
              <a:defRPr/>
            </a:pPr>
            <a:r>
              <a:rPr kumimoji="0" lang="fi-FI" sz="1600" b="1" i="0" u="none" strike="noStrike" kern="0" cap="none" spc="0" normalizeH="0" baseline="0" noProof="0">
                <a:ln>
                  <a:noFill/>
                </a:ln>
                <a:solidFill>
                  <a:srgbClr val="417069"/>
                </a:solidFill>
                <a:effectLst/>
                <a:uLnTx/>
                <a:uFillTx/>
                <a:latin typeface="Cabin Regular"/>
                <a:ea typeface="+mn-ea"/>
                <a:cs typeface="+mn-cs"/>
                <a:sym typeface="Cabin Regular"/>
              </a:rPr>
              <a:t>expandfibre.com</a:t>
            </a:r>
            <a:endParaRPr kumimoji="0" lang="en-FI" sz="1600" b="1" i="0" u="none" strike="noStrike" kern="0" cap="none" spc="0" normalizeH="0" baseline="0" noProof="0">
              <a:ln>
                <a:noFill/>
              </a:ln>
              <a:solidFill>
                <a:srgbClr val="417069"/>
              </a:solidFill>
              <a:effectLst/>
              <a:uLnTx/>
              <a:uFillTx/>
              <a:latin typeface="Cabin Regular"/>
              <a:ea typeface="+mn-ea"/>
              <a:cs typeface="+mn-cs"/>
              <a:sym typeface="Cabin Regular"/>
            </a:endParaRPr>
          </a:p>
        </p:txBody>
      </p:sp>
      <p:pic>
        <p:nvPicPr>
          <p:cNvPr id="8" name="Website">
            <a:extLst>
              <a:ext uri="{FF2B5EF4-FFF2-40B4-BE49-F238E27FC236}">
                <a16:creationId xmlns:a16="http://schemas.microsoft.com/office/drawing/2014/main" id="{BC29778C-45A1-CC69-7669-61BE6F5FACAD}"/>
              </a:ext>
            </a:extLst>
          </p:cNvPr>
          <p:cNvPicPr>
            <a:picLocks noChangeAspect="1"/>
          </p:cNvPicPr>
          <p:nvPr>
            <p:custDataLst>
              <p:tags r:id="rId4"/>
            </p:custDataLst>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707564" y="6286026"/>
            <a:ext cx="423435" cy="423435"/>
          </a:xfrm>
          <a:prstGeom prst="rect">
            <a:avLst/>
          </a:prstGeom>
        </p:spPr>
      </p:pic>
      <p:pic>
        <p:nvPicPr>
          <p:cNvPr id="32" name="Picture 31">
            <a:extLst>
              <a:ext uri="{FF2B5EF4-FFF2-40B4-BE49-F238E27FC236}">
                <a16:creationId xmlns:a16="http://schemas.microsoft.com/office/drawing/2014/main" id="{1873027F-A11F-F59A-360D-3BA1FAC1201C}"/>
              </a:ext>
            </a:extLst>
          </p:cNvPr>
          <p:cNvPicPr>
            <a:picLocks noChangeAspect="1"/>
          </p:cNvPicPr>
          <p:nvPr/>
        </p:nvPicPr>
        <p:blipFill rotWithShape="1">
          <a:blip r:embed="rId15">
            <a:clrChange>
              <a:clrFrom>
                <a:srgbClr val="FFFFFF"/>
              </a:clrFrom>
              <a:clrTo>
                <a:srgbClr val="FFFFFF">
                  <a:alpha val="0"/>
                </a:srgbClr>
              </a:clrTo>
            </a:clrChange>
          </a:blip>
          <a:srcRect l="32310" t="17054" r="52385" b="33061"/>
          <a:stretch/>
        </p:blipFill>
        <p:spPr>
          <a:xfrm>
            <a:off x="2916432" y="4600941"/>
            <a:ext cx="584362" cy="646812"/>
          </a:xfrm>
          <a:prstGeom prst="rect">
            <a:avLst/>
          </a:prstGeom>
        </p:spPr>
      </p:pic>
      <p:sp>
        <p:nvSpPr>
          <p:cNvPr id="2" name="Rectangle: Rounded Corners 1">
            <a:extLst>
              <a:ext uri="{FF2B5EF4-FFF2-40B4-BE49-F238E27FC236}">
                <a16:creationId xmlns:a16="http://schemas.microsoft.com/office/drawing/2014/main" id="{4D526EE7-193B-ACBF-40BD-A681935C6BFF}"/>
              </a:ext>
            </a:extLst>
          </p:cNvPr>
          <p:cNvSpPr/>
          <p:nvPr/>
        </p:nvSpPr>
        <p:spPr>
          <a:xfrm>
            <a:off x="5417450" y="3587437"/>
            <a:ext cx="1566583" cy="739588"/>
          </a:xfrm>
          <a:prstGeom prst="roundRect">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537" rtl="0" eaLnBrk="1" fontAlgn="auto" latinLnBrk="0" hangingPunct="0">
              <a:lnSpc>
                <a:spcPct val="100000"/>
              </a:lnSpc>
              <a:spcBef>
                <a:spcPts val="0"/>
              </a:spcBef>
              <a:spcAft>
                <a:spcPts val="0"/>
              </a:spcAft>
              <a:buClrTx/>
              <a:buSzTx/>
              <a:buFontTx/>
              <a:buNone/>
              <a:tabLst/>
              <a:defRPr/>
            </a:pPr>
            <a:endParaRPr kumimoji="0" lang="fi-FI" sz="1100" b="0" i="0" u="none" strike="noStrike" kern="0" cap="none" spc="0" normalizeH="0" baseline="0" noProof="0">
              <a:ln>
                <a:noFill/>
              </a:ln>
              <a:solidFill>
                <a:srgbClr val="FFFFFF"/>
              </a:solidFill>
              <a:effectLst/>
              <a:uLnTx/>
              <a:uFillTx/>
              <a:latin typeface="Calibri" panose="020F0502020204030204"/>
              <a:ea typeface="+mn-ea"/>
              <a:cs typeface="+mn-cs"/>
              <a:sym typeface="Cabin Regular"/>
            </a:endParaRPr>
          </a:p>
        </p:txBody>
      </p:sp>
      <p:sp>
        <p:nvSpPr>
          <p:cNvPr id="3" name="TextBox 2">
            <a:extLst>
              <a:ext uri="{FF2B5EF4-FFF2-40B4-BE49-F238E27FC236}">
                <a16:creationId xmlns:a16="http://schemas.microsoft.com/office/drawing/2014/main" id="{E6AD803E-B284-2040-6999-41903C4A9A1A}"/>
              </a:ext>
            </a:extLst>
          </p:cNvPr>
          <p:cNvSpPr txBox="1"/>
          <p:nvPr/>
        </p:nvSpPr>
        <p:spPr>
          <a:xfrm>
            <a:off x="5438625" y="3686054"/>
            <a:ext cx="1484896" cy="523220"/>
          </a:xfrm>
          <a:prstGeom prst="rect">
            <a:avLst/>
          </a:prstGeom>
          <a:noFill/>
        </p:spPr>
        <p:txBody>
          <a:bodyPr wrap="square" rtlCol="0">
            <a:spAutoFit/>
          </a:bodyPr>
          <a:lstStyle/>
          <a:p>
            <a:pPr marL="0" marR="0" lvl="0" indent="0" algn="ctr" defTabSz="914537" rtl="0" eaLnBrk="1" fontAlgn="auto" latinLnBrk="0" hangingPunct="0">
              <a:lnSpc>
                <a:spcPct val="100000"/>
              </a:lnSpc>
              <a:spcBef>
                <a:spcPts val="0"/>
              </a:spcBef>
              <a:spcAft>
                <a:spcPts val="0"/>
              </a:spcAft>
              <a:buClrTx/>
              <a:buSzTx/>
              <a:buFontTx/>
              <a:buNone/>
              <a:tabLst/>
              <a:defRPr/>
            </a:pP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107 </a:t>
            </a: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organisations</a:t>
            </a: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 as </a:t>
            </a: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members</a:t>
            </a:r>
            <a:endPar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endParaRPr>
          </a:p>
        </p:txBody>
      </p:sp>
      <p:sp>
        <p:nvSpPr>
          <p:cNvPr id="4" name="Rectangle: Rounded Corners 3">
            <a:extLst>
              <a:ext uri="{FF2B5EF4-FFF2-40B4-BE49-F238E27FC236}">
                <a16:creationId xmlns:a16="http://schemas.microsoft.com/office/drawing/2014/main" id="{30C3E8DF-2FC8-478B-C3E4-9F8B2D1E91C7}"/>
              </a:ext>
            </a:extLst>
          </p:cNvPr>
          <p:cNvSpPr/>
          <p:nvPr/>
        </p:nvSpPr>
        <p:spPr>
          <a:xfrm>
            <a:off x="7650046" y="3493220"/>
            <a:ext cx="1146480" cy="73958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537" rtl="0" eaLnBrk="1" fontAlgn="auto" latinLnBrk="0" hangingPunct="0">
              <a:lnSpc>
                <a:spcPct val="100000"/>
              </a:lnSpc>
              <a:spcBef>
                <a:spcPts val="0"/>
              </a:spcBef>
              <a:spcAft>
                <a:spcPts val="0"/>
              </a:spcAft>
              <a:buClrTx/>
              <a:buSzTx/>
              <a:buFontTx/>
              <a:buNone/>
              <a:tabLst/>
              <a:defRPr/>
            </a:pPr>
            <a:endParaRPr kumimoji="0" lang="fi-FI" sz="1100" b="0" i="0" u="none" strike="noStrike" kern="0" cap="none" spc="0" normalizeH="0" baseline="0" noProof="0">
              <a:ln>
                <a:noFill/>
              </a:ln>
              <a:solidFill>
                <a:srgbClr val="FFFFFF"/>
              </a:solidFill>
              <a:effectLst/>
              <a:uLnTx/>
              <a:uFillTx/>
              <a:latin typeface="Calibri" panose="020F0502020204030204"/>
              <a:ea typeface="+mn-ea"/>
              <a:cs typeface="+mn-cs"/>
              <a:sym typeface="Cabin Regular"/>
            </a:endParaRPr>
          </a:p>
        </p:txBody>
      </p:sp>
      <p:sp>
        <p:nvSpPr>
          <p:cNvPr id="6" name="TextBox 5">
            <a:extLst>
              <a:ext uri="{FF2B5EF4-FFF2-40B4-BE49-F238E27FC236}">
                <a16:creationId xmlns:a16="http://schemas.microsoft.com/office/drawing/2014/main" id="{24E5D8F6-8D60-324B-B6B6-13B65B1CBD2F}"/>
              </a:ext>
            </a:extLst>
          </p:cNvPr>
          <p:cNvSpPr txBox="1"/>
          <p:nvPr/>
        </p:nvSpPr>
        <p:spPr>
          <a:xfrm>
            <a:off x="7710556" y="3591837"/>
            <a:ext cx="982599" cy="523220"/>
          </a:xfrm>
          <a:prstGeom prst="rect">
            <a:avLst/>
          </a:prstGeom>
          <a:noFill/>
        </p:spPr>
        <p:txBody>
          <a:bodyPr wrap="square" rtlCol="0">
            <a:spAutoFit/>
          </a:bodyPr>
          <a:lstStyle/>
          <a:p>
            <a:pPr marL="0" marR="0" lvl="0" indent="0" algn="ctr" defTabSz="914537" rtl="0" eaLnBrk="1" fontAlgn="auto" latinLnBrk="0" hangingPunct="0">
              <a:lnSpc>
                <a:spcPct val="100000"/>
              </a:lnSpc>
              <a:spcBef>
                <a:spcPts val="0"/>
              </a:spcBef>
              <a:spcAft>
                <a:spcPts val="0"/>
              </a:spcAft>
              <a:buClrTx/>
              <a:buSzTx/>
              <a:buFontTx/>
              <a:buNone/>
              <a:tabLst/>
              <a:defRPr/>
            </a:pP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35 </a:t>
            </a: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project</a:t>
            </a: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 </a:t>
            </a: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members</a:t>
            </a:r>
            <a:endPar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endParaRPr>
          </a:p>
        </p:txBody>
      </p:sp>
      <p:sp>
        <p:nvSpPr>
          <p:cNvPr id="18" name="Rectangle: Rounded Corners 17">
            <a:extLst>
              <a:ext uri="{FF2B5EF4-FFF2-40B4-BE49-F238E27FC236}">
                <a16:creationId xmlns:a16="http://schemas.microsoft.com/office/drawing/2014/main" id="{ABA11CE8-47D6-A24B-2C7B-6639C4246E5F}"/>
              </a:ext>
            </a:extLst>
          </p:cNvPr>
          <p:cNvSpPr/>
          <p:nvPr/>
        </p:nvSpPr>
        <p:spPr>
          <a:xfrm>
            <a:off x="9426206" y="3447203"/>
            <a:ext cx="2096554" cy="1268168"/>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537" rtl="0" eaLnBrk="1" fontAlgn="auto" latinLnBrk="0" hangingPunct="0">
              <a:lnSpc>
                <a:spcPct val="100000"/>
              </a:lnSpc>
              <a:spcBef>
                <a:spcPts val="0"/>
              </a:spcBef>
              <a:spcAft>
                <a:spcPts val="0"/>
              </a:spcAft>
              <a:buClrTx/>
              <a:buSzTx/>
              <a:buFontTx/>
              <a:buNone/>
              <a:tabLst/>
              <a:defRPr/>
            </a:pPr>
            <a:endParaRPr kumimoji="0" lang="fi-FI" sz="1100" b="0" i="0" u="none" strike="noStrike" kern="0" cap="none" spc="0" normalizeH="0" baseline="0" noProof="0">
              <a:ln>
                <a:noFill/>
              </a:ln>
              <a:solidFill>
                <a:srgbClr val="FFFFFF"/>
              </a:solidFill>
              <a:effectLst/>
              <a:uLnTx/>
              <a:uFillTx/>
              <a:latin typeface="Calibri" panose="020F0502020204030204"/>
              <a:ea typeface="+mn-ea"/>
              <a:cs typeface="+mn-cs"/>
              <a:sym typeface="Cabin Regular"/>
            </a:endParaRPr>
          </a:p>
        </p:txBody>
      </p:sp>
      <p:sp>
        <p:nvSpPr>
          <p:cNvPr id="21" name="TextBox 20">
            <a:extLst>
              <a:ext uri="{FF2B5EF4-FFF2-40B4-BE49-F238E27FC236}">
                <a16:creationId xmlns:a16="http://schemas.microsoft.com/office/drawing/2014/main" id="{237ECFAA-7C63-3B3B-E97A-EF6A4CD8F952}"/>
              </a:ext>
            </a:extLst>
          </p:cNvPr>
          <p:cNvSpPr txBox="1"/>
          <p:nvPr/>
        </p:nvSpPr>
        <p:spPr>
          <a:xfrm>
            <a:off x="9486717" y="3545820"/>
            <a:ext cx="1855695" cy="1169551"/>
          </a:xfrm>
          <a:prstGeom prst="rect">
            <a:avLst/>
          </a:prstGeom>
          <a:noFill/>
        </p:spPr>
        <p:txBody>
          <a:bodyPr wrap="square" rtlCol="0">
            <a:spAutoFit/>
          </a:bodyPr>
          <a:lstStyle/>
          <a:p>
            <a:pPr marL="0" marR="0" lvl="0" indent="0" algn="ctr" defTabSz="914537" rtl="0" eaLnBrk="1" fontAlgn="auto" latinLnBrk="0" hangingPunct="0">
              <a:lnSpc>
                <a:spcPct val="100000"/>
              </a:lnSpc>
              <a:spcBef>
                <a:spcPts val="0"/>
              </a:spcBef>
              <a:spcAft>
                <a:spcPts val="0"/>
              </a:spcAft>
              <a:buClrTx/>
              <a:buSzTx/>
              <a:buFontTx/>
              <a:buNone/>
              <a:tabLst/>
              <a:defRPr/>
            </a:pP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Over</a:t>
            </a: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 140 M€ R&amp;D </a:t>
            </a: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investment</a:t>
            </a: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 </a:t>
            </a: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steered</a:t>
            </a: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 </a:t>
            </a: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towards</a:t>
            </a: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 </a:t>
            </a: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developing</a:t>
            </a: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 </a:t>
            </a: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sustainable</a:t>
            </a: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 bioproducts</a:t>
            </a:r>
          </a:p>
        </p:txBody>
      </p:sp>
      <p:sp>
        <p:nvSpPr>
          <p:cNvPr id="24" name="Rectangle: Rounded Corners 23">
            <a:extLst>
              <a:ext uri="{FF2B5EF4-FFF2-40B4-BE49-F238E27FC236}">
                <a16:creationId xmlns:a16="http://schemas.microsoft.com/office/drawing/2014/main" id="{57CF366E-5334-5E5B-8070-51EA74567735}"/>
              </a:ext>
            </a:extLst>
          </p:cNvPr>
          <p:cNvSpPr/>
          <p:nvPr/>
        </p:nvSpPr>
        <p:spPr>
          <a:xfrm>
            <a:off x="5364017" y="4708121"/>
            <a:ext cx="1566583" cy="1193527"/>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537" rtl="0" eaLnBrk="1" fontAlgn="auto" latinLnBrk="0" hangingPunct="0">
              <a:lnSpc>
                <a:spcPct val="100000"/>
              </a:lnSpc>
              <a:spcBef>
                <a:spcPts val="0"/>
              </a:spcBef>
              <a:spcAft>
                <a:spcPts val="0"/>
              </a:spcAft>
              <a:buClrTx/>
              <a:buSzTx/>
              <a:buFontTx/>
              <a:buNone/>
              <a:tabLst/>
              <a:defRPr/>
            </a:pPr>
            <a:endParaRPr kumimoji="0" lang="fi-FI" sz="1100" b="0" i="0" u="none" strike="noStrike" kern="0" cap="none" spc="0" normalizeH="0" baseline="0" noProof="0">
              <a:ln>
                <a:noFill/>
              </a:ln>
              <a:solidFill>
                <a:srgbClr val="FFFFFF"/>
              </a:solidFill>
              <a:effectLst/>
              <a:uLnTx/>
              <a:uFillTx/>
              <a:latin typeface="Calibri" panose="020F0502020204030204"/>
              <a:ea typeface="+mn-ea"/>
              <a:cs typeface="+mn-cs"/>
              <a:sym typeface="Cabin Regular"/>
            </a:endParaRPr>
          </a:p>
        </p:txBody>
      </p:sp>
      <p:sp>
        <p:nvSpPr>
          <p:cNvPr id="27" name="TextBox 26">
            <a:extLst>
              <a:ext uri="{FF2B5EF4-FFF2-40B4-BE49-F238E27FC236}">
                <a16:creationId xmlns:a16="http://schemas.microsoft.com/office/drawing/2014/main" id="{92231979-F5D0-1083-29B9-97269D99AEBF}"/>
              </a:ext>
            </a:extLst>
          </p:cNvPr>
          <p:cNvSpPr txBox="1"/>
          <p:nvPr/>
        </p:nvSpPr>
        <p:spPr>
          <a:xfrm>
            <a:off x="5385192" y="4806739"/>
            <a:ext cx="1484896" cy="954107"/>
          </a:xfrm>
          <a:prstGeom prst="rect">
            <a:avLst/>
          </a:prstGeom>
          <a:noFill/>
        </p:spPr>
        <p:txBody>
          <a:bodyPr wrap="square" rtlCol="0">
            <a:spAutoFit/>
          </a:bodyPr>
          <a:lstStyle/>
          <a:p>
            <a:pPr marL="0" marR="0" lvl="0" indent="0" algn="ctr" defTabSz="914537" rtl="0" eaLnBrk="1" fontAlgn="auto" latinLnBrk="0" hangingPunct="0">
              <a:lnSpc>
                <a:spcPct val="100000"/>
              </a:lnSpc>
              <a:spcBef>
                <a:spcPts val="0"/>
              </a:spcBef>
              <a:spcAft>
                <a:spcPts val="0"/>
              </a:spcAft>
              <a:buClrTx/>
              <a:buSzTx/>
              <a:buFontTx/>
              <a:buNone/>
              <a:tabLst/>
              <a:defRPr/>
            </a:pP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Around</a:t>
            </a: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 30 </a:t>
            </a: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original</a:t>
            </a: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 </a:t>
            </a: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patent</a:t>
            </a: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 </a:t>
            </a: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applications</a:t>
            </a: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 </a:t>
            </a: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submitted</a:t>
            </a:r>
            <a:endPar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endParaRPr>
          </a:p>
        </p:txBody>
      </p:sp>
      <p:sp>
        <p:nvSpPr>
          <p:cNvPr id="40" name="Rectangle: Rounded Corners 39">
            <a:extLst>
              <a:ext uri="{FF2B5EF4-FFF2-40B4-BE49-F238E27FC236}">
                <a16:creationId xmlns:a16="http://schemas.microsoft.com/office/drawing/2014/main" id="{6C912399-1D39-9210-305C-44776BDA9EDB}"/>
              </a:ext>
            </a:extLst>
          </p:cNvPr>
          <p:cNvSpPr/>
          <p:nvPr/>
        </p:nvSpPr>
        <p:spPr>
          <a:xfrm>
            <a:off x="7517984" y="4512084"/>
            <a:ext cx="1690180" cy="1202802"/>
          </a:xfrm>
          <a:prstGeom prst="roundRect">
            <a:avLst/>
          </a:prstGeom>
          <a:solidFill>
            <a:schemeClr val="accent5">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537" rtl="0" eaLnBrk="1" fontAlgn="auto" latinLnBrk="0" hangingPunct="0">
              <a:lnSpc>
                <a:spcPct val="100000"/>
              </a:lnSpc>
              <a:spcBef>
                <a:spcPts val="0"/>
              </a:spcBef>
              <a:spcAft>
                <a:spcPts val="0"/>
              </a:spcAft>
              <a:buClrTx/>
              <a:buSzTx/>
              <a:buFontTx/>
              <a:buNone/>
              <a:tabLst/>
              <a:defRPr/>
            </a:pPr>
            <a:endParaRPr kumimoji="0" lang="fi-FI" sz="1100" b="0" i="0" u="none" strike="noStrike" kern="0" cap="none" spc="0" normalizeH="0" baseline="0" noProof="0">
              <a:ln>
                <a:noFill/>
              </a:ln>
              <a:solidFill>
                <a:srgbClr val="FFFFFF"/>
              </a:solidFill>
              <a:effectLst/>
              <a:uLnTx/>
              <a:uFillTx/>
              <a:latin typeface="Calibri" panose="020F0502020204030204"/>
              <a:ea typeface="+mn-ea"/>
              <a:cs typeface="+mn-cs"/>
              <a:sym typeface="Cabin Regular"/>
            </a:endParaRPr>
          </a:p>
        </p:txBody>
      </p:sp>
      <p:sp>
        <p:nvSpPr>
          <p:cNvPr id="41" name="TextBox 40">
            <a:extLst>
              <a:ext uri="{FF2B5EF4-FFF2-40B4-BE49-F238E27FC236}">
                <a16:creationId xmlns:a16="http://schemas.microsoft.com/office/drawing/2014/main" id="{0AA1EE4A-CD00-6FA5-70E3-6BA851D77F73}"/>
              </a:ext>
            </a:extLst>
          </p:cNvPr>
          <p:cNvSpPr txBox="1"/>
          <p:nvPr/>
        </p:nvSpPr>
        <p:spPr>
          <a:xfrm>
            <a:off x="7539158" y="4610701"/>
            <a:ext cx="1608493" cy="954107"/>
          </a:xfrm>
          <a:prstGeom prst="rect">
            <a:avLst/>
          </a:prstGeom>
          <a:noFill/>
        </p:spPr>
        <p:txBody>
          <a:bodyPr wrap="square" rtlCol="0">
            <a:spAutoFit/>
          </a:bodyPr>
          <a:lstStyle/>
          <a:p>
            <a:pPr marL="0" marR="0" lvl="0" indent="0" algn="ctr" defTabSz="914537" rtl="0" eaLnBrk="1" fontAlgn="auto" latinLnBrk="0" hangingPunct="0">
              <a:lnSpc>
                <a:spcPct val="100000"/>
              </a:lnSpc>
              <a:spcBef>
                <a:spcPts val="0"/>
              </a:spcBef>
              <a:spcAft>
                <a:spcPts val="0"/>
              </a:spcAft>
              <a:buClrTx/>
              <a:buSzTx/>
              <a:buFontTx/>
              <a:buNone/>
              <a:tabLst/>
              <a:defRPr/>
            </a:pP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Over</a:t>
            </a: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 70 </a:t>
            </a: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scientific</a:t>
            </a: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 </a:t>
            </a: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articles</a:t>
            </a: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 </a:t>
            </a: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submitted</a:t>
            </a: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 and 60 </a:t>
            </a: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thesis</a:t>
            </a: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 </a:t>
            </a: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works</a:t>
            </a: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 </a:t>
            </a: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done</a:t>
            </a:r>
            <a:endPar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endParaRPr>
          </a:p>
        </p:txBody>
      </p:sp>
      <p:sp>
        <p:nvSpPr>
          <p:cNvPr id="43" name="Rectangle: Rounded Corners 42">
            <a:extLst>
              <a:ext uri="{FF2B5EF4-FFF2-40B4-BE49-F238E27FC236}">
                <a16:creationId xmlns:a16="http://schemas.microsoft.com/office/drawing/2014/main" id="{8D8213D3-6CE4-D486-0102-69C0C83DF8AE}"/>
              </a:ext>
            </a:extLst>
          </p:cNvPr>
          <p:cNvSpPr/>
          <p:nvPr/>
        </p:nvSpPr>
        <p:spPr>
          <a:xfrm>
            <a:off x="9623544" y="5000654"/>
            <a:ext cx="1566583" cy="739588"/>
          </a:xfrm>
          <a:prstGeom prst="round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537" rtl="0" eaLnBrk="1" fontAlgn="auto" latinLnBrk="0" hangingPunct="0">
              <a:lnSpc>
                <a:spcPct val="100000"/>
              </a:lnSpc>
              <a:spcBef>
                <a:spcPts val="0"/>
              </a:spcBef>
              <a:spcAft>
                <a:spcPts val="0"/>
              </a:spcAft>
              <a:buClrTx/>
              <a:buSzTx/>
              <a:buFontTx/>
              <a:buNone/>
              <a:tabLst/>
              <a:defRPr/>
            </a:pPr>
            <a:endParaRPr kumimoji="0" lang="fi-FI" sz="1100" b="0" i="0" u="none" strike="noStrike" kern="0" cap="none" spc="0" normalizeH="0" baseline="0" noProof="0">
              <a:ln>
                <a:noFill/>
              </a:ln>
              <a:solidFill>
                <a:srgbClr val="FFFFFF"/>
              </a:solidFill>
              <a:effectLst/>
              <a:uLnTx/>
              <a:uFillTx/>
              <a:latin typeface="Calibri" panose="020F0502020204030204"/>
              <a:ea typeface="+mn-ea"/>
              <a:cs typeface="+mn-cs"/>
              <a:sym typeface="Cabin Regular"/>
            </a:endParaRPr>
          </a:p>
        </p:txBody>
      </p:sp>
      <p:sp>
        <p:nvSpPr>
          <p:cNvPr id="44" name="TextBox 43">
            <a:extLst>
              <a:ext uri="{FF2B5EF4-FFF2-40B4-BE49-F238E27FC236}">
                <a16:creationId xmlns:a16="http://schemas.microsoft.com/office/drawing/2014/main" id="{FD8E2991-E3EA-20FD-F309-377EEFC40273}"/>
              </a:ext>
            </a:extLst>
          </p:cNvPr>
          <p:cNvSpPr txBox="1"/>
          <p:nvPr/>
        </p:nvSpPr>
        <p:spPr>
          <a:xfrm>
            <a:off x="9644719" y="5099271"/>
            <a:ext cx="1484896" cy="523220"/>
          </a:xfrm>
          <a:prstGeom prst="rect">
            <a:avLst/>
          </a:prstGeom>
          <a:noFill/>
        </p:spPr>
        <p:txBody>
          <a:bodyPr wrap="square" rtlCol="0">
            <a:spAutoFit/>
          </a:bodyPr>
          <a:lstStyle/>
          <a:p>
            <a:pPr marL="0" marR="0" lvl="0" indent="0" algn="ctr" defTabSz="914537" rtl="0" eaLnBrk="1" fontAlgn="auto" latinLnBrk="0" hangingPunct="0">
              <a:lnSpc>
                <a:spcPct val="100000"/>
              </a:lnSpc>
              <a:spcBef>
                <a:spcPts val="0"/>
              </a:spcBef>
              <a:spcAft>
                <a:spcPts val="0"/>
              </a:spcAft>
              <a:buClrTx/>
              <a:buSzTx/>
              <a:buFontTx/>
              <a:buNone/>
              <a:tabLst/>
              <a:defRPr/>
            </a:pP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21 </a:t>
            </a: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ecosystem</a:t>
            </a: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 </a:t>
            </a: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events</a:t>
            </a:r>
            <a:r>
              <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rPr>
              <a:t> </a:t>
            </a:r>
            <a:r>
              <a:rPr kumimoji="0" lang="fi-FI" sz="1400" b="0" i="0" u="none" strike="noStrike" kern="0" cap="none" spc="0" normalizeH="0" baseline="0" noProof="0" dirty="0" err="1">
                <a:ln>
                  <a:noFill/>
                </a:ln>
                <a:solidFill>
                  <a:srgbClr val="424B5A"/>
                </a:solidFill>
                <a:effectLst/>
                <a:uLnTx/>
                <a:uFillTx/>
                <a:latin typeface="Calibri" panose="020F0502020204030204"/>
                <a:ea typeface="+mn-ea"/>
                <a:cs typeface="+mn-cs"/>
                <a:sym typeface="Cabin Regular"/>
              </a:rPr>
              <a:t>held</a:t>
            </a:r>
            <a:endParaRPr kumimoji="0" lang="fi-FI" sz="1400" b="0" i="0" u="none" strike="noStrike" kern="0" cap="none" spc="0" normalizeH="0" baseline="0" noProof="0" dirty="0">
              <a:ln>
                <a:noFill/>
              </a:ln>
              <a:solidFill>
                <a:srgbClr val="424B5A"/>
              </a:solidFill>
              <a:effectLst/>
              <a:uLnTx/>
              <a:uFillTx/>
              <a:latin typeface="Calibri" panose="020F0502020204030204"/>
              <a:ea typeface="+mn-ea"/>
              <a:cs typeface="+mn-cs"/>
              <a:sym typeface="Cabin Regular"/>
            </a:endParaRPr>
          </a:p>
        </p:txBody>
      </p:sp>
    </p:spTree>
    <p:extLst>
      <p:ext uri="{BB962C8B-B14F-4D97-AF65-F5344CB8AC3E}">
        <p14:creationId xmlns:p14="http://schemas.microsoft.com/office/powerpoint/2010/main" val="833653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4" grpId="0" animBg="1"/>
      <p:bldP spid="6" grpId="0"/>
      <p:bldP spid="18" grpId="0" animBg="1"/>
      <p:bldP spid="21" grpId="0"/>
      <p:bldP spid="24" grpId="0" animBg="1"/>
      <p:bldP spid="27" grpId="0"/>
      <p:bldP spid="40" grpId="0" animBg="1"/>
      <p:bldP spid="41" grpId="0"/>
      <p:bldP spid="43" grpId="0" animBg="1"/>
      <p:bldP spid="4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BF39FF5-0DB6-51DE-42DE-CC145B45321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49A25110-65A2-4B67-BF3F-8D6D3162EF46}" type="slidenum">
              <a:rPr kumimoji="0" lang="fi-FI" sz="900" b="0" i="0" u="none" strike="noStrike" kern="0" cap="none" spc="0" normalizeH="0" baseline="0" noProof="0" smtClean="0">
                <a:ln>
                  <a:noFill/>
                </a:ln>
                <a:solidFill>
                  <a:srgbClr val="363534"/>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fi-FI" sz="900" b="0" i="0" u="none" strike="noStrike" kern="0" cap="none" spc="0" normalizeH="0" baseline="0" noProof="0">
              <a:ln>
                <a:noFill/>
              </a:ln>
              <a:solidFill>
                <a:srgbClr val="363534"/>
              </a:solidFill>
              <a:effectLst/>
              <a:uLnTx/>
              <a:uFillTx/>
              <a:latin typeface="Arial"/>
              <a:cs typeface="Arial"/>
              <a:sym typeface="Arial"/>
            </a:endParaRPr>
          </a:p>
        </p:txBody>
      </p:sp>
      <p:sp>
        <p:nvSpPr>
          <p:cNvPr id="6" name="Title 5">
            <a:extLst>
              <a:ext uri="{FF2B5EF4-FFF2-40B4-BE49-F238E27FC236}">
                <a16:creationId xmlns:a16="http://schemas.microsoft.com/office/drawing/2014/main" id="{3FECF7C5-45C2-C6D6-8B13-0839444F5EAE}"/>
              </a:ext>
            </a:extLst>
          </p:cNvPr>
          <p:cNvSpPr>
            <a:spLocks noGrp="1"/>
          </p:cNvSpPr>
          <p:nvPr>
            <p:ph type="title"/>
          </p:nvPr>
        </p:nvSpPr>
        <p:spPr/>
        <p:txBody>
          <a:bodyPr/>
          <a:lstStyle/>
          <a:p>
            <a:r>
              <a:rPr lang="fi-FI" sz="2800" dirty="0"/>
              <a:t>Hankkeen hyödyt ja vaikutukset Metsä Groupin toimintaan</a:t>
            </a:r>
            <a:endParaRPr lang="en-GB" sz="2800" dirty="0"/>
          </a:p>
        </p:txBody>
      </p:sp>
      <p:sp>
        <p:nvSpPr>
          <p:cNvPr id="7" name="Text Placeholder 6">
            <a:extLst>
              <a:ext uri="{FF2B5EF4-FFF2-40B4-BE49-F238E27FC236}">
                <a16:creationId xmlns:a16="http://schemas.microsoft.com/office/drawing/2014/main" id="{F637FB60-C0C9-D2FE-D536-D7834133AC2F}"/>
              </a:ext>
            </a:extLst>
          </p:cNvPr>
          <p:cNvSpPr>
            <a:spLocks noGrp="1"/>
          </p:cNvSpPr>
          <p:nvPr>
            <p:ph type="body" sz="quarter" idx="13"/>
          </p:nvPr>
        </p:nvSpPr>
        <p:spPr/>
        <p:txBody>
          <a:bodyPr/>
          <a:lstStyle/>
          <a:p>
            <a:endParaRPr lang="en-GB"/>
          </a:p>
        </p:txBody>
      </p:sp>
      <p:sp>
        <p:nvSpPr>
          <p:cNvPr id="26" name="TextBox 25">
            <a:extLst>
              <a:ext uri="{FF2B5EF4-FFF2-40B4-BE49-F238E27FC236}">
                <a16:creationId xmlns:a16="http://schemas.microsoft.com/office/drawing/2014/main" id="{66FAC33B-16AE-5FE0-0791-B9335485D784}"/>
              </a:ext>
            </a:extLst>
          </p:cNvPr>
          <p:cNvSpPr txBox="1"/>
          <p:nvPr/>
        </p:nvSpPr>
        <p:spPr>
          <a:xfrm>
            <a:off x="551384" y="1628800"/>
            <a:ext cx="5904656" cy="5381849"/>
          </a:xfrm>
          <a:prstGeom prst="rect">
            <a:avLst/>
          </a:prstGeom>
          <a:noFill/>
        </p:spPr>
        <p:txBody>
          <a:bodyPr wrap="square" lIns="36000" tIns="36000" rIns="36000" bIns="36000" rtlCol="0">
            <a:spAutoFit/>
          </a:bodyPr>
          <a:lstStyle/>
          <a:p>
            <a:pPr marL="179388" indent="-179388">
              <a:spcBef>
                <a:spcPts val="600"/>
              </a:spcBef>
              <a:buClr>
                <a:schemeClr val="tx1"/>
              </a:buClr>
              <a:buFont typeface="Arial" panose="020B0604020202020204" pitchFamily="34" charset="0"/>
              <a:buChar char="•"/>
            </a:pPr>
            <a:r>
              <a:rPr lang="en-GB" sz="1500" b="1" dirty="0">
                <a:solidFill>
                  <a:schemeClr val="tx1"/>
                </a:solidFill>
              </a:rPr>
              <a:t>7.2 M€ </a:t>
            </a:r>
            <a:r>
              <a:rPr lang="en-GB" sz="1500" b="1" dirty="0" err="1">
                <a:solidFill>
                  <a:schemeClr val="tx1"/>
                </a:solidFill>
              </a:rPr>
              <a:t>julkista</a:t>
            </a:r>
            <a:r>
              <a:rPr lang="en-GB" sz="1500" b="1" dirty="0">
                <a:solidFill>
                  <a:schemeClr val="tx1"/>
                </a:solidFill>
              </a:rPr>
              <a:t> </a:t>
            </a:r>
            <a:r>
              <a:rPr lang="en-GB" sz="1500" b="1" dirty="0" err="1">
                <a:solidFill>
                  <a:schemeClr val="tx1"/>
                </a:solidFill>
              </a:rPr>
              <a:t>rahoitusta</a:t>
            </a:r>
            <a:r>
              <a:rPr lang="en-GB" sz="1500" b="1" dirty="0">
                <a:solidFill>
                  <a:schemeClr val="tx1"/>
                </a:solidFill>
              </a:rPr>
              <a:t> </a:t>
            </a:r>
            <a:r>
              <a:rPr lang="en-GB" sz="1500" dirty="0" err="1">
                <a:solidFill>
                  <a:schemeClr val="tx1"/>
                </a:solidFill>
              </a:rPr>
              <a:t>missiopohjaiseen</a:t>
            </a:r>
            <a:r>
              <a:rPr lang="en-GB" sz="1500" b="1" dirty="0">
                <a:solidFill>
                  <a:schemeClr val="tx1"/>
                </a:solidFill>
              </a:rPr>
              <a:t> </a:t>
            </a:r>
            <a:r>
              <a:rPr lang="en-GB" sz="1500" dirty="0" err="1">
                <a:solidFill>
                  <a:schemeClr val="tx1"/>
                </a:solidFill>
              </a:rPr>
              <a:t>korkean</a:t>
            </a:r>
            <a:r>
              <a:rPr lang="en-GB" sz="1500" dirty="0">
                <a:solidFill>
                  <a:schemeClr val="tx1"/>
                </a:solidFill>
              </a:rPr>
              <a:t> </a:t>
            </a:r>
            <a:r>
              <a:rPr lang="en-GB" sz="1500" dirty="0" err="1">
                <a:solidFill>
                  <a:schemeClr val="tx1"/>
                </a:solidFill>
              </a:rPr>
              <a:t>riskin</a:t>
            </a:r>
            <a:r>
              <a:rPr lang="en-GB" sz="1500" dirty="0">
                <a:solidFill>
                  <a:schemeClr val="tx1"/>
                </a:solidFill>
              </a:rPr>
              <a:t> </a:t>
            </a:r>
            <a:r>
              <a:rPr lang="en-GB" sz="1500" dirty="0" err="1">
                <a:solidFill>
                  <a:schemeClr val="tx1"/>
                </a:solidFill>
              </a:rPr>
              <a:t>tutkimukseen</a:t>
            </a:r>
            <a:r>
              <a:rPr lang="en-GB" sz="1500" dirty="0">
                <a:solidFill>
                  <a:schemeClr val="tx1"/>
                </a:solidFill>
              </a:rPr>
              <a:t> ja </a:t>
            </a:r>
            <a:r>
              <a:rPr lang="en-GB" sz="1500" dirty="0" err="1">
                <a:solidFill>
                  <a:schemeClr val="tx1"/>
                </a:solidFill>
              </a:rPr>
              <a:t>kehitykseen</a:t>
            </a:r>
            <a:r>
              <a:rPr lang="en-GB" sz="1500" dirty="0">
                <a:solidFill>
                  <a:schemeClr val="tx1"/>
                </a:solidFill>
              </a:rPr>
              <a:t> </a:t>
            </a:r>
            <a:r>
              <a:rPr lang="en-GB" sz="1500" dirty="0"/>
              <a:t>(mm. Kuura-</a:t>
            </a:r>
            <a:r>
              <a:rPr lang="en-GB" sz="1500" dirty="0" err="1"/>
              <a:t>tekstilikuitu</a:t>
            </a:r>
            <a:r>
              <a:rPr lang="en-GB" sz="1500" dirty="0"/>
              <a:t>- ja Muoto-</a:t>
            </a:r>
            <a:r>
              <a:rPr lang="en-GB" sz="1500" dirty="0" err="1"/>
              <a:t>kuitupakkaushankkeet</a:t>
            </a:r>
            <a:r>
              <a:rPr lang="en-GB" sz="1500" dirty="0"/>
              <a:t>) </a:t>
            </a:r>
            <a:r>
              <a:rPr lang="en-GB" sz="1500" dirty="0" err="1"/>
              <a:t>riittävillä</a:t>
            </a:r>
            <a:r>
              <a:rPr lang="en-GB" sz="1500" dirty="0"/>
              <a:t> </a:t>
            </a:r>
            <a:r>
              <a:rPr lang="en-GB" sz="1500" dirty="0" err="1"/>
              <a:t>vapausasteilla</a:t>
            </a:r>
            <a:r>
              <a:rPr lang="en-GB" sz="1500" dirty="0"/>
              <a:t>.</a:t>
            </a:r>
          </a:p>
          <a:p>
            <a:pPr marL="179388" indent="-179388">
              <a:spcBef>
                <a:spcPts val="600"/>
              </a:spcBef>
              <a:buClr>
                <a:schemeClr val="tx1"/>
              </a:buClr>
              <a:buFont typeface="Arial" panose="020B0604020202020204" pitchFamily="34" charset="0"/>
              <a:buChar char="•"/>
            </a:pPr>
            <a:r>
              <a:rPr lang="en-GB" sz="1500" b="1" dirty="0" err="1"/>
              <a:t>Mahdollisuus</a:t>
            </a:r>
            <a:r>
              <a:rPr lang="en-GB" sz="1500" b="1" dirty="0"/>
              <a:t> </a:t>
            </a:r>
            <a:r>
              <a:rPr lang="en-GB" sz="1500" b="1" dirty="0" err="1"/>
              <a:t>määritellä</a:t>
            </a:r>
            <a:r>
              <a:rPr lang="en-GB" sz="1500" b="1" dirty="0"/>
              <a:t> </a:t>
            </a:r>
            <a:r>
              <a:rPr lang="en-GB" sz="1500" b="1" dirty="0" err="1"/>
              <a:t>tiekartta</a:t>
            </a:r>
            <a:r>
              <a:rPr lang="en-GB" sz="1500" b="1" dirty="0"/>
              <a:t> 50 M€ </a:t>
            </a:r>
            <a:r>
              <a:rPr lang="en-GB" sz="1500" b="1" dirty="0" err="1"/>
              <a:t>ekosysteemi-rahoitukselle</a:t>
            </a:r>
            <a:r>
              <a:rPr lang="en-GB" sz="1500" dirty="0"/>
              <a:t>, </a:t>
            </a:r>
            <a:r>
              <a:rPr lang="en-GB" sz="1500" dirty="0" err="1"/>
              <a:t>joka</a:t>
            </a:r>
            <a:r>
              <a:rPr lang="en-GB" sz="1500" dirty="0"/>
              <a:t> </a:t>
            </a:r>
            <a:r>
              <a:rPr lang="en-GB" sz="1500" dirty="0" err="1"/>
              <a:t>kasvattaa</a:t>
            </a:r>
            <a:r>
              <a:rPr lang="en-GB" sz="1500" dirty="0"/>
              <a:t> </a:t>
            </a:r>
            <a:r>
              <a:rPr lang="en-GB" sz="1500" dirty="0" err="1"/>
              <a:t>kansallista</a:t>
            </a:r>
            <a:r>
              <a:rPr lang="en-GB" sz="1500" dirty="0"/>
              <a:t> </a:t>
            </a:r>
            <a:r>
              <a:rPr lang="en-GB" sz="1500" dirty="0" err="1"/>
              <a:t>osaamista</a:t>
            </a:r>
            <a:r>
              <a:rPr lang="en-GB" sz="1500" dirty="0"/>
              <a:t> ja </a:t>
            </a:r>
            <a:r>
              <a:rPr lang="en-GB" sz="1500" dirty="0" err="1"/>
              <a:t>luo</a:t>
            </a:r>
            <a:r>
              <a:rPr lang="en-GB" sz="1500" dirty="0"/>
              <a:t> </a:t>
            </a:r>
            <a:r>
              <a:rPr lang="en-GB" sz="1500" dirty="0" err="1"/>
              <a:t>pohjaa</a:t>
            </a:r>
            <a:r>
              <a:rPr lang="en-GB" sz="1500" dirty="0"/>
              <a:t> </a:t>
            </a:r>
            <a:r>
              <a:rPr lang="en-GB" sz="1500" dirty="0" err="1"/>
              <a:t>tulevaisuuden</a:t>
            </a:r>
            <a:r>
              <a:rPr lang="en-GB" sz="1500" dirty="0"/>
              <a:t> </a:t>
            </a:r>
            <a:r>
              <a:rPr lang="en-GB" sz="1500" dirty="0" err="1"/>
              <a:t>innovaatioille</a:t>
            </a:r>
            <a:r>
              <a:rPr lang="en-GB" sz="1500" dirty="0"/>
              <a:t> Metsä </a:t>
            </a:r>
            <a:r>
              <a:rPr lang="en-GB" sz="1500" dirty="0" err="1"/>
              <a:t>Groupin</a:t>
            </a:r>
            <a:r>
              <a:rPr lang="en-GB" sz="1500" dirty="0"/>
              <a:t> </a:t>
            </a:r>
            <a:r>
              <a:rPr lang="en-GB" sz="1500" dirty="0" err="1"/>
              <a:t>toimintakentässä</a:t>
            </a:r>
            <a:r>
              <a:rPr lang="en-GB" sz="1500" dirty="0"/>
              <a:t>.</a:t>
            </a:r>
          </a:p>
          <a:p>
            <a:pPr marL="179388" indent="-179388">
              <a:spcBef>
                <a:spcPts val="600"/>
              </a:spcBef>
              <a:buClr>
                <a:schemeClr val="tx1"/>
              </a:buClr>
              <a:buFont typeface="Arial" panose="020B0604020202020204" pitchFamily="34" charset="0"/>
              <a:buChar char="•"/>
            </a:pPr>
            <a:r>
              <a:rPr lang="en-GB" sz="1500" b="1" dirty="0" err="1"/>
              <a:t>Viestinnällinen</a:t>
            </a:r>
            <a:r>
              <a:rPr lang="en-GB" sz="1500" b="1" dirty="0"/>
              <a:t> </a:t>
            </a:r>
            <a:r>
              <a:rPr lang="en-GB" sz="1500" b="1" dirty="0" err="1"/>
              <a:t>alusta</a:t>
            </a:r>
            <a:r>
              <a:rPr lang="en-GB" sz="1500" b="1" dirty="0"/>
              <a:t> </a:t>
            </a:r>
            <a:r>
              <a:rPr lang="en-GB" sz="1500" dirty="0" err="1"/>
              <a:t>kertoa</a:t>
            </a:r>
            <a:r>
              <a:rPr lang="en-GB" sz="1500" dirty="0"/>
              <a:t> TKI-</a:t>
            </a:r>
            <a:r>
              <a:rPr lang="en-GB" sz="1500" dirty="0" err="1"/>
              <a:t>yhteisölle</a:t>
            </a:r>
            <a:r>
              <a:rPr lang="en-GB" sz="1500" dirty="0"/>
              <a:t> </a:t>
            </a:r>
            <a:r>
              <a:rPr lang="en-GB" sz="1500" dirty="0" err="1"/>
              <a:t>omista</a:t>
            </a:r>
            <a:r>
              <a:rPr lang="en-GB" sz="1500" dirty="0"/>
              <a:t> </a:t>
            </a:r>
            <a:r>
              <a:rPr lang="en-GB" sz="1500" dirty="0" err="1"/>
              <a:t>kiinnostuksen</a:t>
            </a:r>
            <a:r>
              <a:rPr lang="en-GB" sz="1500" dirty="0"/>
              <a:t> </a:t>
            </a:r>
            <a:r>
              <a:rPr lang="en-GB" sz="1500" dirty="0" err="1"/>
              <a:t>kohteista</a:t>
            </a:r>
            <a:r>
              <a:rPr lang="en-GB" sz="1500" dirty="0"/>
              <a:t> ja </a:t>
            </a:r>
            <a:r>
              <a:rPr lang="en-GB" sz="1500" dirty="0" err="1"/>
              <a:t>parantaa</a:t>
            </a:r>
            <a:r>
              <a:rPr lang="en-GB" sz="1500" dirty="0"/>
              <a:t> </a:t>
            </a:r>
            <a:r>
              <a:rPr lang="en-GB" sz="1500" dirty="0" err="1"/>
              <a:t>kumppanien</a:t>
            </a:r>
            <a:r>
              <a:rPr lang="en-GB" sz="1500" dirty="0"/>
              <a:t> </a:t>
            </a:r>
            <a:r>
              <a:rPr lang="en-GB" sz="1500" dirty="0" err="1"/>
              <a:t>tutkimustyön</a:t>
            </a:r>
            <a:r>
              <a:rPr lang="en-GB" sz="1500" dirty="0"/>
              <a:t> </a:t>
            </a:r>
            <a:r>
              <a:rPr lang="en-GB" sz="1500" dirty="0" err="1"/>
              <a:t>teollista</a:t>
            </a:r>
            <a:r>
              <a:rPr lang="en-GB" sz="1500" dirty="0"/>
              <a:t> </a:t>
            </a:r>
            <a:r>
              <a:rPr lang="en-GB" sz="1500" dirty="0" err="1"/>
              <a:t>relevanssia</a:t>
            </a:r>
            <a:r>
              <a:rPr lang="en-GB" sz="1500" dirty="0"/>
              <a:t>.</a:t>
            </a:r>
          </a:p>
          <a:p>
            <a:pPr marL="788973" lvl="1" indent="-179388">
              <a:spcBef>
                <a:spcPts val="600"/>
              </a:spcBef>
              <a:buClr>
                <a:schemeClr val="tx1"/>
              </a:buClr>
              <a:buFont typeface="Arial" panose="020B0604020202020204" pitchFamily="34" charset="0"/>
              <a:buChar char="•"/>
            </a:pPr>
            <a:r>
              <a:rPr lang="en-GB" sz="1500" dirty="0" err="1"/>
              <a:t>Uusia</a:t>
            </a:r>
            <a:r>
              <a:rPr lang="en-GB" sz="1500" dirty="0"/>
              <a:t> </a:t>
            </a:r>
            <a:r>
              <a:rPr lang="en-GB" sz="1500" dirty="0" err="1"/>
              <a:t>kumppaneita</a:t>
            </a:r>
            <a:r>
              <a:rPr lang="en-GB" sz="1500" dirty="0"/>
              <a:t>, </a:t>
            </a:r>
            <a:r>
              <a:rPr lang="en-GB" sz="1500" dirty="0" err="1"/>
              <a:t>parempia</a:t>
            </a:r>
            <a:r>
              <a:rPr lang="en-GB" sz="1500" dirty="0"/>
              <a:t> </a:t>
            </a:r>
            <a:r>
              <a:rPr lang="en-GB" sz="1500" dirty="0" err="1"/>
              <a:t>projektiehdotuksia</a:t>
            </a:r>
            <a:r>
              <a:rPr lang="en-GB" sz="1500" dirty="0"/>
              <a:t>, </a:t>
            </a:r>
            <a:r>
              <a:rPr lang="en-GB" sz="1500" dirty="0" err="1"/>
              <a:t>yhteydenottoja</a:t>
            </a:r>
            <a:r>
              <a:rPr lang="en-GB" sz="1500" dirty="0"/>
              <a:t> </a:t>
            </a:r>
            <a:r>
              <a:rPr lang="en-GB" sz="1500" dirty="0" err="1"/>
              <a:t>aikaisessa</a:t>
            </a:r>
            <a:r>
              <a:rPr lang="en-GB" sz="1500" dirty="0"/>
              <a:t> </a:t>
            </a:r>
            <a:r>
              <a:rPr lang="en-GB" sz="1500" dirty="0" err="1"/>
              <a:t>vaiheessa</a:t>
            </a:r>
            <a:r>
              <a:rPr lang="en-GB" sz="1500" dirty="0"/>
              <a:t>, </a:t>
            </a:r>
            <a:r>
              <a:rPr lang="en-GB" sz="1500" dirty="0" err="1"/>
              <a:t>mahdollisuus</a:t>
            </a:r>
            <a:r>
              <a:rPr lang="en-GB" sz="1500" dirty="0"/>
              <a:t> </a:t>
            </a:r>
            <a:r>
              <a:rPr lang="en-GB" sz="1500" dirty="0" err="1"/>
              <a:t>ohjata</a:t>
            </a:r>
            <a:r>
              <a:rPr lang="en-GB" sz="1500" dirty="0"/>
              <a:t> </a:t>
            </a:r>
            <a:r>
              <a:rPr lang="en-GB" sz="1500" dirty="0" err="1"/>
              <a:t>yhteistutkimusta</a:t>
            </a:r>
            <a:r>
              <a:rPr lang="en-GB" sz="1500" dirty="0"/>
              <a:t> </a:t>
            </a:r>
            <a:r>
              <a:rPr lang="en-GB" sz="1500" dirty="0" err="1"/>
              <a:t>monella</a:t>
            </a:r>
            <a:r>
              <a:rPr lang="en-GB" sz="1500" dirty="0"/>
              <a:t> </a:t>
            </a:r>
            <a:r>
              <a:rPr lang="en-GB" sz="1500" dirty="0" err="1"/>
              <a:t>eri</a:t>
            </a:r>
            <a:r>
              <a:rPr lang="en-GB" sz="1500" dirty="0"/>
              <a:t> </a:t>
            </a:r>
            <a:r>
              <a:rPr lang="en-GB" sz="1500" dirty="0" err="1"/>
              <a:t>tasolla</a:t>
            </a:r>
            <a:r>
              <a:rPr lang="en-GB" sz="1500" dirty="0"/>
              <a:t> ja </a:t>
            </a:r>
            <a:r>
              <a:rPr lang="en-GB" sz="1500" dirty="0" err="1"/>
              <a:t>intensiteetillä</a:t>
            </a:r>
            <a:r>
              <a:rPr lang="en-GB" sz="1500" dirty="0"/>
              <a:t>.</a:t>
            </a:r>
          </a:p>
          <a:p>
            <a:pPr marL="179388" indent="-179388">
              <a:spcBef>
                <a:spcPts val="600"/>
              </a:spcBef>
              <a:buClr>
                <a:schemeClr val="tx1"/>
              </a:buClr>
              <a:buFont typeface="Arial" panose="020B0604020202020204" pitchFamily="34" charset="0"/>
              <a:buChar char="•"/>
            </a:pPr>
            <a:r>
              <a:rPr lang="en-GB" sz="1500" b="1" dirty="0" err="1"/>
              <a:t>Yrityksen</a:t>
            </a:r>
            <a:r>
              <a:rPr lang="en-GB" sz="1500" b="1" dirty="0"/>
              <a:t> </a:t>
            </a:r>
            <a:r>
              <a:rPr lang="en-GB" sz="1500" b="1" dirty="0" err="1"/>
              <a:t>oman</a:t>
            </a:r>
            <a:r>
              <a:rPr lang="en-GB" sz="1500" b="1" dirty="0"/>
              <a:t> </a:t>
            </a:r>
            <a:r>
              <a:rPr lang="en-GB" sz="1500" b="1" dirty="0" err="1"/>
              <a:t>kyvykkyyden</a:t>
            </a:r>
            <a:r>
              <a:rPr lang="en-GB" sz="1500" b="1" dirty="0"/>
              <a:t> </a:t>
            </a:r>
            <a:r>
              <a:rPr lang="en-GB" sz="1500" b="1" dirty="0" err="1"/>
              <a:t>nosto</a:t>
            </a:r>
            <a:r>
              <a:rPr lang="en-GB" sz="1500" b="1" dirty="0"/>
              <a:t> </a:t>
            </a:r>
            <a:r>
              <a:rPr lang="en-GB" sz="1500" dirty="0" err="1"/>
              <a:t>innovaatioekosysteemeissä</a:t>
            </a:r>
            <a:r>
              <a:rPr lang="en-GB" sz="1500" dirty="0"/>
              <a:t> </a:t>
            </a:r>
            <a:r>
              <a:rPr lang="en-GB" sz="1500" dirty="0" err="1"/>
              <a:t>toimimiseen</a:t>
            </a:r>
            <a:r>
              <a:rPr lang="en-GB" sz="1500" dirty="0"/>
              <a:t>.</a:t>
            </a:r>
          </a:p>
          <a:p>
            <a:pPr marL="179388" indent="-179388">
              <a:spcBef>
                <a:spcPts val="600"/>
              </a:spcBef>
              <a:buClr>
                <a:schemeClr val="tx1"/>
              </a:buClr>
              <a:buFont typeface="Arial" panose="020B0604020202020204" pitchFamily="34" charset="0"/>
              <a:buChar char="•"/>
            </a:pPr>
            <a:r>
              <a:rPr lang="en-GB" sz="1500" dirty="0"/>
              <a:t>Metsä Group </a:t>
            </a:r>
            <a:r>
              <a:rPr lang="en-GB" sz="1500" dirty="0" err="1"/>
              <a:t>saavutti</a:t>
            </a:r>
            <a:r>
              <a:rPr lang="en-GB" sz="1500" dirty="0"/>
              <a:t> </a:t>
            </a:r>
            <a:r>
              <a:rPr lang="en-GB" sz="1500" dirty="0" err="1"/>
              <a:t>maksatusmittaritavoitteensa</a:t>
            </a:r>
            <a:r>
              <a:rPr lang="en-GB" sz="1500" dirty="0"/>
              <a:t> </a:t>
            </a:r>
            <a:r>
              <a:rPr lang="en-GB" sz="1500" dirty="0" err="1"/>
              <a:t>eli</a:t>
            </a:r>
            <a:r>
              <a:rPr lang="en-GB" sz="1500" dirty="0"/>
              <a:t> </a:t>
            </a:r>
            <a:r>
              <a:rPr lang="en-GB" sz="1500" b="1" dirty="0" err="1"/>
              <a:t>kasvatti</a:t>
            </a:r>
            <a:r>
              <a:rPr lang="en-GB" sz="1500" b="1" dirty="0"/>
              <a:t> </a:t>
            </a:r>
            <a:r>
              <a:rPr lang="en-GB" sz="1500" b="1" dirty="0" err="1"/>
              <a:t>merkittävästi</a:t>
            </a:r>
            <a:r>
              <a:rPr lang="en-GB" sz="1500" b="1" dirty="0"/>
              <a:t> TKI-</a:t>
            </a:r>
            <a:r>
              <a:rPr lang="en-GB" sz="1500" b="1" dirty="0" err="1"/>
              <a:t>panostuksiaan</a:t>
            </a:r>
            <a:r>
              <a:rPr lang="en-GB" sz="1500" b="1" dirty="0"/>
              <a:t> </a:t>
            </a:r>
            <a:r>
              <a:rPr lang="en-GB" sz="1500" dirty="0" err="1"/>
              <a:t>veturihankkeen</a:t>
            </a:r>
            <a:r>
              <a:rPr lang="en-GB" sz="1500" dirty="0"/>
              <a:t> </a:t>
            </a:r>
            <a:r>
              <a:rPr lang="en-GB" sz="1500" dirty="0" err="1"/>
              <a:t>aikana</a:t>
            </a:r>
            <a:r>
              <a:rPr lang="en-GB" sz="1500" dirty="0"/>
              <a:t>.</a:t>
            </a:r>
          </a:p>
          <a:p>
            <a:pPr marL="179388" indent="-179388">
              <a:spcBef>
                <a:spcPts val="600"/>
              </a:spcBef>
              <a:buClr>
                <a:schemeClr val="tx1"/>
              </a:buClr>
              <a:buFont typeface="Arial" panose="020B0604020202020204" pitchFamily="34" charset="0"/>
              <a:buChar char="•"/>
            </a:pPr>
            <a:endParaRPr lang="en-GB" sz="1500" dirty="0"/>
          </a:p>
          <a:p>
            <a:pPr marL="179388" indent="-179388">
              <a:spcBef>
                <a:spcPts val="600"/>
              </a:spcBef>
              <a:buClr>
                <a:schemeClr val="tx1"/>
              </a:buClr>
              <a:buFont typeface="Arial" panose="020B0604020202020204" pitchFamily="34" charset="0"/>
              <a:buChar char="•"/>
            </a:pPr>
            <a:endParaRPr lang="en-GB" sz="1500" dirty="0"/>
          </a:p>
          <a:p>
            <a:pPr marL="179388" indent="-179388">
              <a:spcBef>
                <a:spcPts val="600"/>
              </a:spcBef>
              <a:buClr>
                <a:schemeClr val="tx1"/>
              </a:buClr>
              <a:buFont typeface="Arial" panose="020B0604020202020204" pitchFamily="34" charset="0"/>
              <a:buChar char="•"/>
            </a:pPr>
            <a:endParaRPr lang="en-GB" sz="1500" dirty="0">
              <a:solidFill>
                <a:schemeClr val="tx1"/>
              </a:solidFill>
            </a:endParaRPr>
          </a:p>
          <a:p>
            <a:pPr marL="179388" indent="-179388">
              <a:spcBef>
                <a:spcPts val="600"/>
              </a:spcBef>
              <a:buClr>
                <a:schemeClr val="tx1"/>
              </a:buClr>
              <a:buFont typeface="Arial" panose="020B0604020202020204" pitchFamily="34" charset="0"/>
              <a:buChar char="•"/>
            </a:pPr>
            <a:endParaRPr lang="en-GB" sz="1500" dirty="0">
              <a:solidFill>
                <a:schemeClr val="tx1"/>
              </a:solidFill>
            </a:endParaRPr>
          </a:p>
        </p:txBody>
      </p:sp>
      <p:sp>
        <p:nvSpPr>
          <p:cNvPr id="27" name="TextBox 26">
            <a:extLst>
              <a:ext uri="{FF2B5EF4-FFF2-40B4-BE49-F238E27FC236}">
                <a16:creationId xmlns:a16="http://schemas.microsoft.com/office/drawing/2014/main" id="{0CDE8771-25DF-6B2D-A48C-09E72E10CF10}"/>
              </a:ext>
            </a:extLst>
          </p:cNvPr>
          <p:cNvSpPr txBox="1"/>
          <p:nvPr/>
        </p:nvSpPr>
        <p:spPr>
          <a:xfrm>
            <a:off x="7680176" y="4374329"/>
            <a:ext cx="3600400" cy="241980"/>
          </a:xfrm>
          <a:prstGeom prst="rect">
            <a:avLst/>
          </a:prstGeom>
          <a:noFill/>
        </p:spPr>
        <p:txBody>
          <a:bodyPr wrap="square" lIns="36000" tIns="36000" rIns="36000" bIns="36000" rtlCol="0">
            <a:spAutoFit/>
          </a:bodyPr>
          <a:lstStyle/>
          <a:p>
            <a:pPr>
              <a:spcBef>
                <a:spcPts val="600"/>
              </a:spcBef>
              <a:buClr>
                <a:schemeClr val="tx1"/>
              </a:buClr>
            </a:pPr>
            <a:r>
              <a:rPr lang="en-GB" sz="1100" b="1" dirty="0">
                <a:solidFill>
                  <a:schemeClr val="tx1"/>
                </a:solidFill>
              </a:rPr>
              <a:t>Metsä </a:t>
            </a:r>
            <a:r>
              <a:rPr lang="en-GB" sz="1100" b="1" dirty="0" err="1">
                <a:solidFill>
                  <a:schemeClr val="tx1"/>
                </a:solidFill>
              </a:rPr>
              <a:t>Groupin</a:t>
            </a:r>
            <a:r>
              <a:rPr lang="en-GB" sz="1100" b="1" dirty="0">
                <a:solidFill>
                  <a:schemeClr val="tx1"/>
                </a:solidFill>
              </a:rPr>
              <a:t> T&amp;K&amp;I </a:t>
            </a:r>
            <a:r>
              <a:rPr lang="en-GB" sz="1100" b="1" dirty="0" err="1">
                <a:solidFill>
                  <a:schemeClr val="tx1"/>
                </a:solidFill>
              </a:rPr>
              <a:t>kustannukset</a:t>
            </a:r>
            <a:r>
              <a:rPr lang="en-GB" sz="1100" b="1" dirty="0">
                <a:solidFill>
                  <a:schemeClr val="tx1"/>
                </a:solidFill>
              </a:rPr>
              <a:t> </a:t>
            </a:r>
          </a:p>
        </p:txBody>
      </p:sp>
      <p:sp>
        <p:nvSpPr>
          <p:cNvPr id="28" name="TextBox 27">
            <a:extLst>
              <a:ext uri="{FF2B5EF4-FFF2-40B4-BE49-F238E27FC236}">
                <a16:creationId xmlns:a16="http://schemas.microsoft.com/office/drawing/2014/main" id="{0D4621AE-12CC-2363-54A7-2A4105E9021E}"/>
              </a:ext>
            </a:extLst>
          </p:cNvPr>
          <p:cNvSpPr txBox="1"/>
          <p:nvPr/>
        </p:nvSpPr>
        <p:spPr>
          <a:xfrm>
            <a:off x="7051267" y="1412776"/>
            <a:ext cx="4509539" cy="241980"/>
          </a:xfrm>
          <a:prstGeom prst="rect">
            <a:avLst/>
          </a:prstGeom>
          <a:noFill/>
        </p:spPr>
        <p:txBody>
          <a:bodyPr wrap="square" lIns="36000" tIns="36000" rIns="36000" bIns="36000" rtlCol="0">
            <a:spAutoFit/>
          </a:bodyPr>
          <a:lstStyle/>
          <a:p>
            <a:pPr>
              <a:spcBef>
                <a:spcPts val="600"/>
              </a:spcBef>
              <a:buClr>
                <a:schemeClr val="tx1"/>
              </a:buClr>
            </a:pPr>
            <a:r>
              <a:rPr lang="en-GB" sz="1100" b="1" dirty="0">
                <a:solidFill>
                  <a:schemeClr val="tx1"/>
                </a:solidFill>
              </a:rPr>
              <a:t>Metsä </a:t>
            </a:r>
            <a:r>
              <a:rPr lang="en-GB" sz="1100" b="1" dirty="0" err="1">
                <a:solidFill>
                  <a:schemeClr val="tx1"/>
                </a:solidFill>
              </a:rPr>
              <a:t>Groupin</a:t>
            </a:r>
            <a:r>
              <a:rPr lang="en-GB" sz="1100" b="1" dirty="0">
                <a:solidFill>
                  <a:schemeClr val="tx1"/>
                </a:solidFill>
              </a:rPr>
              <a:t> </a:t>
            </a:r>
            <a:r>
              <a:rPr lang="en-GB" sz="1100" b="1" dirty="0" err="1">
                <a:solidFill>
                  <a:schemeClr val="tx1"/>
                </a:solidFill>
              </a:rPr>
              <a:t>uutta</a:t>
            </a:r>
            <a:r>
              <a:rPr lang="en-GB" sz="1100" b="1" dirty="0">
                <a:solidFill>
                  <a:schemeClr val="tx1"/>
                </a:solidFill>
              </a:rPr>
              <a:t> </a:t>
            </a:r>
            <a:r>
              <a:rPr lang="en-GB" sz="1100" b="1" dirty="0" err="1">
                <a:solidFill>
                  <a:schemeClr val="tx1"/>
                </a:solidFill>
              </a:rPr>
              <a:t>liiketoimintaa</a:t>
            </a:r>
            <a:r>
              <a:rPr lang="en-GB" sz="1100" b="1" dirty="0">
                <a:solidFill>
                  <a:schemeClr val="tx1"/>
                </a:solidFill>
              </a:rPr>
              <a:t> </a:t>
            </a:r>
            <a:r>
              <a:rPr lang="en-GB" sz="1100" b="1" dirty="0" err="1">
                <a:solidFill>
                  <a:schemeClr val="tx1"/>
                </a:solidFill>
              </a:rPr>
              <a:t>kehittävät</a:t>
            </a:r>
            <a:r>
              <a:rPr lang="en-GB" sz="1100" b="1" dirty="0">
                <a:solidFill>
                  <a:schemeClr val="tx1"/>
                </a:solidFill>
              </a:rPr>
              <a:t> </a:t>
            </a:r>
            <a:r>
              <a:rPr lang="en-GB" sz="1100" b="1" dirty="0" err="1">
                <a:solidFill>
                  <a:schemeClr val="tx1"/>
                </a:solidFill>
              </a:rPr>
              <a:t>hankkeet</a:t>
            </a:r>
            <a:endParaRPr lang="en-GB" sz="1100" b="1" dirty="0">
              <a:solidFill>
                <a:schemeClr val="tx1"/>
              </a:solidFill>
            </a:endParaRPr>
          </a:p>
        </p:txBody>
      </p:sp>
      <p:pic>
        <p:nvPicPr>
          <p:cNvPr id="8" name="Picture 7">
            <a:extLst>
              <a:ext uri="{FF2B5EF4-FFF2-40B4-BE49-F238E27FC236}">
                <a16:creationId xmlns:a16="http://schemas.microsoft.com/office/drawing/2014/main" id="{8F16B384-DA0C-3437-BAE8-FF267FD3B807}"/>
              </a:ext>
            </a:extLst>
          </p:cNvPr>
          <p:cNvPicPr>
            <a:picLocks noChangeAspect="1"/>
          </p:cNvPicPr>
          <p:nvPr/>
        </p:nvPicPr>
        <p:blipFill>
          <a:blip r:embed="rId2"/>
          <a:stretch>
            <a:fillRect/>
          </a:stretch>
        </p:blipFill>
        <p:spPr>
          <a:xfrm>
            <a:off x="6630946" y="1720816"/>
            <a:ext cx="5081678" cy="2771823"/>
          </a:xfrm>
          <a:prstGeom prst="rect">
            <a:avLst/>
          </a:prstGeom>
        </p:spPr>
      </p:pic>
      <p:graphicFrame>
        <p:nvGraphicFramePr>
          <p:cNvPr id="9" name="Chart 8">
            <a:extLst>
              <a:ext uri="{FF2B5EF4-FFF2-40B4-BE49-F238E27FC236}">
                <a16:creationId xmlns:a16="http://schemas.microsoft.com/office/drawing/2014/main" id="{417DA028-B096-4DCA-A3B9-E0EDE96E816E}"/>
              </a:ext>
            </a:extLst>
          </p:cNvPr>
          <p:cNvGraphicFramePr>
            <a:graphicFrameLocks/>
          </p:cNvGraphicFramePr>
          <p:nvPr>
            <p:extLst>
              <p:ext uri="{D42A27DB-BD31-4B8C-83A1-F6EECF244321}">
                <p14:modId xmlns:p14="http://schemas.microsoft.com/office/powerpoint/2010/main" val="1223197266"/>
              </p:ext>
            </p:extLst>
          </p:nvPr>
        </p:nvGraphicFramePr>
        <p:xfrm>
          <a:off x="6669815" y="4616309"/>
          <a:ext cx="4826785" cy="210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98026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CAE789-5720-6D79-1E39-5A6D55F807E6}"/>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2841B475-592D-C5D3-C5CA-3AE1627A6C62}"/>
              </a:ext>
            </a:extLst>
          </p:cNvPr>
          <p:cNvSpPr/>
          <p:nvPr/>
        </p:nvSpPr>
        <p:spPr>
          <a:xfrm>
            <a:off x="3647727" y="4311946"/>
            <a:ext cx="4004113" cy="232654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Rectangle 12">
            <a:extLst>
              <a:ext uri="{FF2B5EF4-FFF2-40B4-BE49-F238E27FC236}">
                <a16:creationId xmlns:a16="http://schemas.microsoft.com/office/drawing/2014/main" id="{716F8ADD-1CEF-ACFF-340E-881447F0E3D4}"/>
              </a:ext>
            </a:extLst>
          </p:cNvPr>
          <p:cNvSpPr/>
          <p:nvPr/>
        </p:nvSpPr>
        <p:spPr>
          <a:xfrm>
            <a:off x="7896200" y="4311946"/>
            <a:ext cx="4104456" cy="232654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itle 5">
            <a:extLst>
              <a:ext uri="{FF2B5EF4-FFF2-40B4-BE49-F238E27FC236}">
                <a16:creationId xmlns:a16="http://schemas.microsoft.com/office/drawing/2014/main" id="{F63E1FE6-EB79-6B37-40A3-E38C2D0C21E5}"/>
              </a:ext>
            </a:extLst>
          </p:cNvPr>
          <p:cNvSpPr>
            <a:spLocks noGrp="1"/>
          </p:cNvSpPr>
          <p:nvPr>
            <p:ph type="title"/>
          </p:nvPr>
        </p:nvSpPr>
        <p:spPr/>
        <p:txBody>
          <a:bodyPr/>
          <a:lstStyle/>
          <a:p>
            <a:r>
              <a:rPr lang="fi-FI" sz="2800" dirty="0"/>
              <a:t>Hankkeen hyödyt ja vaikutukset ekosysteemissä</a:t>
            </a:r>
            <a:endParaRPr lang="en-GB" sz="2800" dirty="0"/>
          </a:p>
        </p:txBody>
      </p:sp>
      <p:sp>
        <p:nvSpPr>
          <p:cNvPr id="7" name="Text Placeholder 6">
            <a:extLst>
              <a:ext uri="{FF2B5EF4-FFF2-40B4-BE49-F238E27FC236}">
                <a16:creationId xmlns:a16="http://schemas.microsoft.com/office/drawing/2014/main" id="{039AAF87-8581-AC39-EBA1-7517577A130A}"/>
              </a:ext>
            </a:extLst>
          </p:cNvPr>
          <p:cNvSpPr>
            <a:spLocks noGrp="1"/>
          </p:cNvSpPr>
          <p:nvPr>
            <p:ph type="body" sz="quarter" idx="13"/>
          </p:nvPr>
        </p:nvSpPr>
        <p:spPr/>
        <p:txBody>
          <a:bodyPr/>
          <a:lstStyle/>
          <a:p>
            <a:endParaRPr lang="en-GB"/>
          </a:p>
        </p:txBody>
      </p:sp>
      <p:sp>
        <p:nvSpPr>
          <p:cNvPr id="26" name="TextBox 25">
            <a:extLst>
              <a:ext uri="{FF2B5EF4-FFF2-40B4-BE49-F238E27FC236}">
                <a16:creationId xmlns:a16="http://schemas.microsoft.com/office/drawing/2014/main" id="{C45FAABB-76E0-910F-BB93-0E466FA40C82}"/>
              </a:ext>
            </a:extLst>
          </p:cNvPr>
          <p:cNvSpPr txBox="1"/>
          <p:nvPr/>
        </p:nvSpPr>
        <p:spPr>
          <a:xfrm>
            <a:off x="551383" y="1628800"/>
            <a:ext cx="7201199" cy="2750359"/>
          </a:xfrm>
          <a:prstGeom prst="rect">
            <a:avLst/>
          </a:prstGeom>
          <a:noFill/>
        </p:spPr>
        <p:txBody>
          <a:bodyPr wrap="square" lIns="36000" tIns="36000" rIns="36000" bIns="36000" rtlCol="0">
            <a:spAutoFit/>
          </a:bodyPr>
          <a:lstStyle/>
          <a:p>
            <a:pPr marL="179388" indent="-179388">
              <a:spcBef>
                <a:spcPts val="600"/>
              </a:spcBef>
              <a:buClr>
                <a:schemeClr val="tx1"/>
              </a:buClr>
              <a:buFont typeface="Arial" panose="020B0604020202020204" pitchFamily="34" charset="0"/>
              <a:buChar char="•"/>
            </a:pPr>
            <a:r>
              <a:rPr lang="en-GB" sz="1400" dirty="0" err="1"/>
              <a:t>Yliopistoille</a:t>
            </a:r>
            <a:r>
              <a:rPr lang="en-GB" sz="1400" dirty="0"/>
              <a:t> ja </a:t>
            </a:r>
            <a:r>
              <a:rPr lang="en-GB" sz="1400" dirty="0" err="1"/>
              <a:t>tutkimuslaitoksille</a:t>
            </a:r>
            <a:r>
              <a:rPr lang="en-GB" sz="1400" dirty="0"/>
              <a:t> </a:t>
            </a:r>
            <a:r>
              <a:rPr lang="en-GB" sz="1400" b="1" dirty="0" err="1"/>
              <a:t>selkeä</a:t>
            </a:r>
            <a:r>
              <a:rPr lang="en-GB" sz="1400" b="1" dirty="0"/>
              <a:t> </a:t>
            </a:r>
            <a:r>
              <a:rPr lang="en-GB" sz="1400" b="1" dirty="0" err="1"/>
              <a:t>kanava</a:t>
            </a:r>
            <a:r>
              <a:rPr lang="en-GB" sz="1400" b="1" dirty="0"/>
              <a:t> </a:t>
            </a:r>
            <a:r>
              <a:rPr lang="en-GB" sz="1400" b="1" dirty="0" err="1"/>
              <a:t>yrityksen</a:t>
            </a:r>
            <a:r>
              <a:rPr lang="en-GB" sz="1400" b="1" dirty="0"/>
              <a:t> TKI-</a:t>
            </a:r>
            <a:r>
              <a:rPr lang="en-GB" sz="1400" b="1" dirty="0" err="1"/>
              <a:t>johtoon</a:t>
            </a:r>
            <a:r>
              <a:rPr lang="en-GB" sz="1400" dirty="0"/>
              <a:t>, </a:t>
            </a:r>
            <a:r>
              <a:rPr lang="en-GB" sz="1400" dirty="0" err="1"/>
              <a:t>mahdollisuus</a:t>
            </a:r>
            <a:r>
              <a:rPr lang="en-GB" sz="1400" dirty="0"/>
              <a:t> </a:t>
            </a:r>
            <a:r>
              <a:rPr lang="en-GB" sz="1400" dirty="0" err="1"/>
              <a:t>saada</a:t>
            </a:r>
            <a:r>
              <a:rPr lang="en-GB" sz="1400" dirty="0"/>
              <a:t> </a:t>
            </a:r>
            <a:r>
              <a:rPr lang="en-GB" sz="1400" dirty="0" err="1"/>
              <a:t>palautetta</a:t>
            </a:r>
            <a:r>
              <a:rPr lang="en-GB" sz="1400" dirty="0"/>
              <a:t> </a:t>
            </a:r>
            <a:r>
              <a:rPr lang="en-GB" sz="1400" dirty="0" err="1"/>
              <a:t>tutkimusideoista</a:t>
            </a:r>
            <a:r>
              <a:rPr lang="en-GB" sz="1400" dirty="0"/>
              <a:t> ja </a:t>
            </a:r>
            <a:r>
              <a:rPr lang="en-GB" sz="1400" dirty="0" err="1"/>
              <a:t>projektiehdotuksista</a:t>
            </a:r>
            <a:r>
              <a:rPr lang="en-GB" sz="1400" dirty="0"/>
              <a:t>. </a:t>
            </a:r>
          </a:p>
          <a:p>
            <a:pPr marL="179388" indent="-179388">
              <a:spcBef>
                <a:spcPts val="600"/>
              </a:spcBef>
              <a:buClr>
                <a:schemeClr val="tx1"/>
              </a:buClr>
              <a:buFont typeface="Arial" panose="020B0604020202020204" pitchFamily="34" charset="0"/>
              <a:buChar char="•"/>
            </a:pPr>
            <a:r>
              <a:rPr lang="en-GB" sz="1400" b="1" dirty="0" err="1"/>
              <a:t>Alusta</a:t>
            </a:r>
            <a:r>
              <a:rPr lang="en-GB" sz="1400" b="1" dirty="0"/>
              <a:t> </a:t>
            </a:r>
            <a:r>
              <a:rPr lang="en-GB" sz="1400" b="1" dirty="0" err="1"/>
              <a:t>tutkimustulosten</a:t>
            </a:r>
            <a:r>
              <a:rPr lang="en-GB" sz="1400" b="1" dirty="0"/>
              <a:t> </a:t>
            </a:r>
            <a:r>
              <a:rPr lang="en-GB" sz="1400" b="1" dirty="0" err="1"/>
              <a:t>disseminoinnille</a:t>
            </a:r>
            <a:r>
              <a:rPr lang="en-GB" sz="1400" b="1" dirty="0"/>
              <a:t> ja </a:t>
            </a:r>
            <a:r>
              <a:rPr lang="en-GB" sz="1400" b="1" dirty="0" err="1"/>
              <a:t>tiiviimmän</a:t>
            </a:r>
            <a:r>
              <a:rPr lang="en-GB" sz="1400" b="1" dirty="0"/>
              <a:t> </a:t>
            </a:r>
            <a:r>
              <a:rPr lang="en-GB" sz="1400" b="1" dirty="0" err="1"/>
              <a:t>yhteistyön</a:t>
            </a:r>
            <a:r>
              <a:rPr lang="en-GB" sz="1400" b="1" dirty="0"/>
              <a:t> </a:t>
            </a:r>
            <a:r>
              <a:rPr lang="en-GB" sz="1400" b="1" dirty="0" err="1"/>
              <a:t>rakentamiselle</a:t>
            </a:r>
            <a:r>
              <a:rPr lang="en-GB" sz="1400" b="1" dirty="0"/>
              <a:t> </a:t>
            </a:r>
            <a:r>
              <a:rPr lang="en-GB" sz="1400" dirty="0" err="1"/>
              <a:t>relevantissa</a:t>
            </a:r>
            <a:r>
              <a:rPr lang="en-GB" sz="1400" dirty="0"/>
              <a:t> </a:t>
            </a:r>
            <a:r>
              <a:rPr lang="en-GB" sz="1400" dirty="0" err="1"/>
              <a:t>seurassa</a:t>
            </a:r>
            <a:r>
              <a:rPr lang="en-GB" sz="1400" dirty="0"/>
              <a:t> (</a:t>
            </a:r>
            <a:r>
              <a:rPr lang="en-GB" sz="1400" dirty="0" err="1"/>
              <a:t>tapahtumat</a:t>
            </a:r>
            <a:r>
              <a:rPr lang="en-GB" sz="1400" dirty="0"/>
              <a:t> ja </a:t>
            </a:r>
            <a:r>
              <a:rPr lang="en-GB" sz="1400" dirty="0" err="1"/>
              <a:t>viestintä</a:t>
            </a:r>
            <a:r>
              <a:rPr lang="en-GB" sz="1400" dirty="0"/>
              <a:t>).</a:t>
            </a:r>
          </a:p>
          <a:p>
            <a:pPr marL="179388" indent="-179388">
              <a:spcBef>
                <a:spcPts val="600"/>
              </a:spcBef>
              <a:buClr>
                <a:schemeClr val="tx1"/>
              </a:buClr>
              <a:buFont typeface="Arial" panose="020B0604020202020204" pitchFamily="34" charset="0"/>
              <a:buChar char="•"/>
            </a:pPr>
            <a:r>
              <a:rPr lang="en-GB" sz="1400" b="1" dirty="0"/>
              <a:t>Pk-</a:t>
            </a:r>
            <a:r>
              <a:rPr lang="en-GB" sz="1400" b="1" dirty="0" err="1"/>
              <a:t>yrityksille</a:t>
            </a:r>
            <a:r>
              <a:rPr lang="en-GB" sz="1400" b="1" dirty="0"/>
              <a:t> </a:t>
            </a:r>
            <a:r>
              <a:rPr lang="en-GB" sz="1400" b="1" dirty="0" err="1"/>
              <a:t>kanava</a:t>
            </a:r>
            <a:r>
              <a:rPr lang="en-GB" sz="1400" b="1" dirty="0"/>
              <a:t> </a:t>
            </a:r>
            <a:r>
              <a:rPr lang="en-GB" sz="1400" b="1" dirty="0" err="1"/>
              <a:t>julkisen</a:t>
            </a:r>
            <a:r>
              <a:rPr lang="en-GB" sz="1400" b="1" dirty="0"/>
              <a:t> TKI-</a:t>
            </a:r>
            <a:r>
              <a:rPr lang="en-GB" sz="1400" b="1" dirty="0" err="1"/>
              <a:t>rahoituksen</a:t>
            </a:r>
            <a:r>
              <a:rPr lang="en-GB" sz="1400" b="1" dirty="0"/>
              <a:t> </a:t>
            </a:r>
            <a:r>
              <a:rPr lang="en-GB" sz="1400" b="1" dirty="0" err="1"/>
              <a:t>piiriin</a:t>
            </a:r>
            <a:r>
              <a:rPr lang="en-GB" sz="1400" b="1" dirty="0"/>
              <a:t> ja </a:t>
            </a:r>
            <a:r>
              <a:rPr lang="en-GB" sz="1400" b="1" dirty="0" err="1"/>
              <a:t>innovaatioekosysteemitoimintaan</a:t>
            </a:r>
            <a:r>
              <a:rPr lang="en-GB" sz="1400" dirty="0"/>
              <a:t>, </a:t>
            </a:r>
            <a:r>
              <a:rPr lang="en-GB" sz="1400" dirty="0" err="1"/>
              <a:t>mahdollisuus</a:t>
            </a:r>
            <a:r>
              <a:rPr lang="en-GB" sz="1400" dirty="0"/>
              <a:t> </a:t>
            </a:r>
            <a:r>
              <a:rPr lang="en-GB" sz="1400" dirty="0" err="1"/>
              <a:t>löytää</a:t>
            </a:r>
            <a:r>
              <a:rPr lang="en-GB" sz="1400" dirty="0"/>
              <a:t> </a:t>
            </a:r>
            <a:r>
              <a:rPr lang="en-GB" sz="1400" dirty="0" err="1"/>
              <a:t>asiakkaita</a:t>
            </a:r>
            <a:r>
              <a:rPr lang="en-GB" sz="1400" dirty="0"/>
              <a:t> ja </a:t>
            </a:r>
            <a:r>
              <a:rPr lang="en-GB" sz="1400" dirty="0" err="1"/>
              <a:t>potentiaalisia</a:t>
            </a:r>
            <a:r>
              <a:rPr lang="en-GB" sz="1400" dirty="0"/>
              <a:t> </a:t>
            </a:r>
            <a:r>
              <a:rPr lang="en-GB" sz="1400" dirty="0" err="1"/>
              <a:t>asiakkaita</a:t>
            </a:r>
            <a:r>
              <a:rPr lang="en-GB" sz="1400" dirty="0"/>
              <a:t>.</a:t>
            </a:r>
          </a:p>
          <a:p>
            <a:pPr marL="179388" indent="-179388">
              <a:spcBef>
                <a:spcPts val="600"/>
              </a:spcBef>
              <a:buClr>
                <a:schemeClr val="tx1"/>
              </a:buClr>
              <a:buFont typeface="Arial" panose="020B0604020202020204" pitchFamily="34" charset="0"/>
              <a:buChar char="•"/>
            </a:pPr>
            <a:r>
              <a:rPr lang="en-GB" sz="1400" dirty="0" err="1">
                <a:solidFill>
                  <a:schemeClr val="tx1"/>
                </a:solidFill>
              </a:rPr>
              <a:t>Kansainvälisille</a:t>
            </a:r>
            <a:r>
              <a:rPr lang="en-GB" sz="1400" dirty="0">
                <a:solidFill>
                  <a:schemeClr val="tx1"/>
                </a:solidFill>
              </a:rPr>
              <a:t> </a:t>
            </a:r>
            <a:r>
              <a:rPr lang="en-GB" sz="1400" dirty="0" err="1">
                <a:solidFill>
                  <a:schemeClr val="tx1"/>
                </a:solidFill>
              </a:rPr>
              <a:t>toimijoille</a:t>
            </a:r>
            <a:r>
              <a:rPr lang="en-GB" sz="1400" dirty="0">
                <a:solidFill>
                  <a:schemeClr val="tx1"/>
                </a:solidFill>
              </a:rPr>
              <a:t> </a:t>
            </a:r>
            <a:r>
              <a:rPr lang="en-GB" sz="1400" dirty="0" err="1">
                <a:solidFill>
                  <a:schemeClr val="tx1"/>
                </a:solidFill>
              </a:rPr>
              <a:t>mahdollisuus</a:t>
            </a:r>
            <a:r>
              <a:rPr lang="en-GB" sz="1400" dirty="0">
                <a:solidFill>
                  <a:schemeClr val="tx1"/>
                </a:solidFill>
              </a:rPr>
              <a:t> </a:t>
            </a:r>
            <a:r>
              <a:rPr lang="en-GB" sz="1400" dirty="0" err="1">
                <a:solidFill>
                  <a:schemeClr val="tx1"/>
                </a:solidFill>
              </a:rPr>
              <a:t>saada</a:t>
            </a:r>
            <a:r>
              <a:rPr lang="en-GB" sz="1400" dirty="0">
                <a:solidFill>
                  <a:schemeClr val="tx1"/>
                </a:solidFill>
              </a:rPr>
              <a:t> </a:t>
            </a:r>
            <a:r>
              <a:rPr lang="en-GB" sz="1400" b="1" dirty="0" err="1">
                <a:solidFill>
                  <a:schemeClr val="tx1"/>
                </a:solidFill>
              </a:rPr>
              <a:t>näkymä</a:t>
            </a:r>
            <a:r>
              <a:rPr lang="en-GB" sz="1400" b="1" dirty="0">
                <a:solidFill>
                  <a:schemeClr val="tx1"/>
                </a:solidFill>
              </a:rPr>
              <a:t> </a:t>
            </a:r>
            <a:r>
              <a:rPr lang="en-GB" sz="1400" b="1" dirty="0" err="1">
                <a:solidFill>
                  <a:schemeClr val="tx1"/>
                </a:solidFill>
              </a:rPr>
              <a:t>suomalaiseen</a:t>
            </a:r>
            <a:r>
              <a:rPr lang="en-GB" sz="1400" b="1" dirty="0">
                <a:solidFill>
                  <a:schemeClr val="tx1"/>
                </a:solidFill>
              </a:rPr>
              <a:t> </a:t>
            </a:r>
            <a:r>
              <a:rPr lang="en-GB" sz="1400" b="1" dirty="0" err="1">
                <a:solidFill>
                  <a:schemeClr val="tx1"/>
                </a:solidFill>
              </a:rPr>
              <a:t>innovaatiotoimintaan</a:t>
            </a:r>
            <a:r>
              <a:rPr lang="en-GB" sz="1400" b="1" dirty="0">
                <a:solidFill>
                  <a:schemeClr val="tx1"/>
                </a:solidFill>
              </a:rPr>
              <a:t> </a:t>
            </a:r>
            <a:r>
              <a:rPr lang="en-GB" sz="1400" dirty="0">
                <a:solidFill>
                  <a:schemeClr val="tx1"/>
                </a:solidFill>
              </a:rPr>
              <a:t>ja </a:t>
            </a:r>
            <a:r>
              <a:rPr lang="en-GB" sz="1400" dirty="0" err="1">
                <a:solidFill>
                  <a:schemeClr val="tx1"/>
                </a:solidFill>
              </a:rPr>
              <a:t>löytää</a:t>
            </a:r>
            <a:r>
              <a:rPr lang="en-GB" sz="1400" dirty="0">
                <a:solidFill>
                  <a:schemeClr val="tx1"/>
                </a:solidFill>
              </a:rPr>
              <a:t> TKI-</a:t>
            </a:r>
            <a:r>
              <a:rPr lang="en-GB" sz="1400" dirty="0" err="1">
                <a:solidFill>
                  <a:schemeClr val="tx1"/>
                </a:solidFill>
              </a:rPr>
              <a:t>kumppaneita</a:t>
            </a:r>
            <a:r>
              <a:rPr lang="en-GB" sz="1400" dirty="0">
                <a:solidFill>
                  <a:schemeClr val="tx1"/>
                </a:solidFill>
              </a:rPr>
              <a:t>. </a:t>
            </a:r>
          </a:p>
          <a:p>
            <a:pPr marL="179388" indent="-179388">
              <a:spcBef>
                <a:spcPts val="600"/>
              </a:spcBef>
              <a:buClr>
                <a:schemeClr val="tx1"/>
              </a:buClr>
              <a:buFont typeface="Arial" panose="020B0604020202020204" pitchFamily="34" charset="0"/>
              <a:buChar char="•"/>
            </a:pPr>
            <a:r>
              <a:rPr lang="en-GB" sz="1400" dirty="0" err="1">
                <a:solidFill>
                  <a:schemeClr val="tx1"/>
                </a:solidFill>
              </a:rPr>
              <a:t>Pitkän</a:t>
            </a:r>
            <a:r>
              <a:rPr lang="en-GB" sz="1400" dirty="0">
                <a:solidFill>
                  <a:schemeClr val="tx1"/>
                </a:solidFill>
              </a:rPr>
              <a:t> </a:t>
            </a:r>
            <a:r>
              <a:rPr lang="en-GB" sz="1400" dirty="0" err="1">
                <a:solidFill>
                  <a:schemeClr val="tx1"/>
                </a:solidFill>
              </a:rPr>
              <a:t>tähtäimen</a:t>
            </a:r>
            <a:r>
              <a:rPr lang="en-GB" sz="1400" dirty="0">
                <a:solidFill>
                  <a:schemeClr val="tx1"/>
                </a:solidFill>
              </a:rPr>
              <a:t> </a:t>
            </a:r>
            <a:r>
              <a:rPr lang="en-GB" sz="1400" dirty="0" err="1"/>
              <a:t>vaikutuksina</a:t>
            </a:r>
            <a:r>
              <a:rPr lang="en-GB" sz="1400" dirty="0">
                <a:solidFill>
                  <a:schemeClr val="tx1"/>
                </a:solidFill>
              </a:rPr>
              <a:t> </a:t>
            </a:r>
            <a:r>
              <a:rPr lang="en-GB" sz="1400" b="1" dirty="0" err="1">
                <a:solidFill>
                  <a:schemeClr val="tx1"/>
                </a:solidFill>
              </a:rPr>
              <a:t>vientiliiketoiminnan</a:t>
            </a:r>
            <a:r>
              <a:rPr lang="en-GB" sz="1400" b="1" dirty="0">
                <a:solidFill>
                  <a:schemeClr val="tx1"/>
                </a:solidFill>
              </a:rPr>
              <a:t> </a:t>
            </a:r>
            <a:r>
              <a:rPr lang="en-GB" sz="1400" b="1" dirty="0" err="1">
                <a:solidFill>
                  <a:schemeClr val="tx1"/>
                </a:solidFill>
              </a:rPr>
              <a:t>kasvu</a:t>
            </a:r>
            <a:r>
              <a:rPr lang="en-GB" sz="1400" b="1" dirty="0">
                <a:solidFill>
                  <a:schemeClr val="tx1"/>
                </a:solidFill>
              </a:rPr>
              <a:t> </a:t>
            </a:r>
            <a:r>
              <a:rPr lang="en-GB" sz="1400" dirty="0">
                <a:solidFill>
                  <a:schemeClr val="tx1"/>
                </a:solidFill>
              </a:rPr>
              <a:t>ja </a:t>
            </a:r>
            <a:r>
              <a:rPr lang="en-GB" sz="1400" dirty="0" err="1">
                <a:solidFill>
                  <a:schemeClr val="tx1"/>
                </a:solidFill>
              </a:rPr>
              <a:t>päivittäin</a:t>
            </a:r>
            <a:r>
              <a:rPr lang="en-GB" sz="1400" dirty="0">
                <a:solidFill>
                  <a:schemeClr val="tx1"/>
                </a:solidFill>
              </a:rPr>
              <a:t> </a:t>
            </a:r>
            <a:r>
              <a:rPr lang="en-GB" sz="1400" dirty="0" err="1">
                <a:solidFill>
                  <a:schemeClr val="tx1"/>
                </a:solidFill>
              </a:rPr>
              <a:t>käyttämiemme</a:t>
            </a:r>
            <a:r>
              <a:rPr lang="en-GB" sz="1400" dirty="0">
                <a:solidFill>
                  <a:schemeClr val="tx1"/>
                </a:solidFill>
              </a:rPr>
              <a:t> </a:t>
            </a:r>
            <a:r>
              <a:rPr lang="en-GB" sz="1400" b="1" dirty="0" err="1">
                <a:solidFill>
                  <a:schemeClr val="tx1"/>
                </a:solidFill>
              </a:rPr>
              <a:t>tuotteiden</a:t>
            </a:r>
            <a:r>
              <a:rPr lang="en-GB" sz="1400" b="1" dirty="0">
                <a:solidFill>
                  <a:schemeClr val="tx1"/>
                </a:solidFill>
              </a:rPr>
              <a:t> </a:t>
            </a:r>
            <a:r>
              <a:rPr lang="en-GB" sz="1400" b="1" dirty="0" err="1">
                <a:solidFill>
                  <a:schemeClr val="tx1"/>
                </a:solidFill>
              </a:rPr>
              <a:t>hiilijalanjäljen</a:t>
            </a:r>
            <a:r>
              <a:rPr lang="en-GB" sz="1400" b="1" dirty="0">
                <a:solidFill>
                  <a:schemeClr val="tx1"/>
                </a:solidFill>
              </a:rPr>
              <a:t> </a:t>
            </a:r>
            <a:r>
              <a:rPr lang="en-GB" sz="1400" b="1" dirty="0" err="1">
                <a:solidFill>
                  <a:schemeClr val="tx1"/>
                </a:solidFill>
              </a:rPr>
              <a:t>pienentäminen</a:t>
            </a:r>
            <a:r>
              <a:rPr lang="en-GB" sz="1400" dirty="0">
                <a:solidFill>
                  <a:schemeClr val="tx1"/>
                </a:solidFill>
              </a:rPr>
              <a:t>.</a:t>
            </a:r>
          </a:p>
        </p:txBody>
      </p:sp>
      <p:graphicFrame>
        <p:nvGraphicFramePr>
          <p:cNvPr id="8" name="Chart 7">
            <a:extLst>
              <a:ext uri="{FF2B5EF4-FFF2-40B4-BE49-F238E27FC236}">
                <a16:creationId xmlns:a16="http://schemas.microsoft.com/office/drawing/2014/main" id="{6DD8882D-6C4F-6FB2-DF8E-6F1AC894C139}"/>
              </a:ext>
            </a:extLst>
          </p:cNvPr>
          <p:cNvGraphicFramePr>
            <a:graphicFrameLocks/>
          </p:cNvGraphicFramePr>
          <p:nvPr>
            <p:extLst>
              <p:ext uri="{D42A27DB-BD31-4B8C-83A1-F6EECF244321}">
                <p14:modId xmlns:p14="http://schemas.microsoft.com/office/powerpoint/2010/main" val="987305359"/>
              </p:ext>
            </p:extLst>
          </p:nvPr>
        </p:nvGraphicFramePr>
        <p:xfrm>
          <a:off x="7896200" y="1412776"/>
          <a:ext cx="4104456" cy="2664296"/>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1">
            <a:extLst>
              <a:ext uri="{FF2B5EF4-FFF2-40B4-BE49-F238E27FC236}">
                <a16:creationId xmlns:a16="http://schemas.microsoft.com/office/drawing/2014/main" id="{776ADAFA-9013-574F-92ED-0B5D9BEE7075}"/>
              </a:ext>
            </a:extLst>
          </p:cNvPr>
          <p:cNvSpPr txBox="1"/>
          <p:nvPr/>
        </p:nvSpPr>
        <p:spPr>
          <a:xfrm>
            <a:off x="8011880" y="3276475"/>
            <a:ext cx="2335735" cy="58477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GB" sz="800" kern="1200" dirty="0" err="1"/>
              <a:t>Yritykset</a:t>
            </a:r>
            <a:r>
              <a:rPr lang="en-GB" sz="800" kern="1200" dirty="0"/>
              <a:t>: 77% </a:t>
            </a:r>
            <a:r>
              <a:rPr lang="en-GB" sz="800" dirty="0"/>
              <a:t>pk-</a:t>
            </a:r>
            <a:r>
              <a:rPr lang="en-GB" sz="800" dirty="0" err="1"/>
              <a:t>sektori</a:t>
            </a:r>
            <a:r>
              <a:rPr lang="en-GB" sz="800" kern="1200" dirty="0"/>
              <a:t>, 23% </a:t>
            </a:r>
            <a:r>
              <a:rPr lang="en-GB" sz="800" kern="1200" dirty="0" err="1"/>
              <a:t>suuret</a:t>
            </a:r>
            <a:endParaRPr lang="en-GB" sz="800" kern="1200" dirty="0"/>
          </a:p>
          <a:p>
            <a:pPr algn="l"/>
            <a:endParaRPr lang="en-GB" sz="800" dirty="0">
              <a:latin typeface="+mn-lt"/>
            </a:endParaRPr>
          </a:p>
          <a:p>
            <a:pPr algn="l"/>
            <a:r>
              <a:rPr lang="en-GB" sz="800" dirty="0" err="1">
                <a:latin typeface="+mn-lt"/>
              </a:rPr>
              <a:t>Kaikista</a:t>
            </a:r>
            <a:r>
              <a:rPr lang="en-GB" sz="800" dirty="0">
                <a:latin typeface="+mn-lt"/>
              </a:rPr>
              <a:t> </a:t>
            </a:r>
            <a:r>
              <a:rPr lang="en-GB" sz="800" dirty="0" err="1">
                <a:latin typeface="+mn-lt"/>
              </a:rPr>
              <a:t>jäsenistä</a:t>
            </a:r>
            <a:r>
              <a:rPr lang="en-GB" sz="800" dirty="0">
                <a:latin typeface="+mn-lt"/>
              </a:rPr>
              <a:t> 82% </a:t>
            </a:r>
            <a:r>
              <a:rPr lang="en-GB" sz="800" dirty="0" err="1">
                <a:latin typeface="+mn-lt"/>
              </a:rPr>
              <a:t>Suomesta</a:t>
            </a:r>
            <a:r>
              <a:rPr lang="en-GB" sz="800" dirty="0">
                <a:latin typeface="+mn-lt"/>
              </a:rPr>
              <a:t>, 18% </a:t>
            </a:r>
            <a:r>
              <a:rPr lang="en-GB" sz="800" dirty="0" err="1">
                <a:latin typeface="+mn-lt"/>
              </a:rPr>
              <a:t>ulkomailta</a:t>
            </a:r>
            <a:endParaRPr lang="en-GB" sz="800" kern="1200" dirty="0">
              <a:latin typeface="+mn-lt"/>
            </a:endParaRPr>
          </a:p>
        </p:txBody>
      </p:sp>
      <p:pic>
        <p:nvPicPr>
          <p:cNvPr id="11" name="Picture 10">
            <a:extLst>
              <a:ext uri="{FF2B5EF4-FFF2-40B4-BE49-F238E27FC236}">
                <a16:creationId xmlns:a16="http://schemas.microsoft.com/office/drawing/2014/main" id="{2411336E-FA1C-E442-3604-DFB5E9CF8FE6}"/>
              </a:ext>
            </a:extLst>
          </p:cNvPr>
          <p:cNvPicPr>
            <a:picLocks noChangeAspect="1"/>
          </p:cNvPicPr>
          <p:nvPr/>
        </p:nvPicPr>
        <p:blipFill>
          <a:blip r:embed="rId3"/>
          <a:stretch>
            <a:fillRect/>
          </a:stretch>
        </p:blipFill>
        <p:spPr>
          <a:xfrm>
            <a:off x="7924854" y="4383196"/>
            <a:ext cx="3932184" cy="2124055"/>
          </a:xfrm>
          <a:prstGeom prst="rect">
            <a:avLst/>
          </a:prstGeom>
        </p:spPr>
      </p:pic>
      <p:pic>
        <p:nvPicPr>
          <p:cNvPr id="12" name="Picture 11">
            <a:extLst>
              <a:ext uri="{FF2B5EF4-FFF2-40B4-BE49-F238E27FC236}">
                <a16:creationId xmlns:a16="http://schemas.microsoft.com/office/drawing/2014/main" id="{6FDA558B-5D59-C607-A6F2-1ADF354B33BA}"/>
              </a:ext>
            </a:extLst>
          </p:cNvPr>
          <p:cNvPicPr>
            <a:picLocks noChangeAspect="1"/>
          </p:cNvPicPr>
          <p:nvPr/>
        </p:nvPicPr>
        <p:blipFill>
          <a:blip r:embed="rId4"/>
          <a:stretch>
            <a:fillRect/>
          </a:stretch>
        </p:blipFill>
        <p:spPr>
          <a:xfrm>
            <a:off x="3704698" y="4438373"/>
            <a:ext cx="3905634" cy="2159277"/>
          </a:xfrm>
          <a:prstGeom prst="rect">
            <a:avLst/>
          </a:prstGeom>
        </p:spPr>
      </p:pic>
      <p:pic>
        <p:nvPicPr>
          <p:cNvPr id="15" name="Picture 14">
            <a:extLst>
              <a:ext uri="{FF2B5EF4-FFF2-40B4-BE49-F238E27FC236}">
                <a16:creationId xmlns:a16="http://schemas.microsoft.com/office/drawing/2014/main" id="{446DF6BF-453F-2E86-0C66-6D2A6FDDB4DF}"/>
              </a:ext>
            </a:extLst>
          </p:cNvPr>
          <p:cNvPicPr>
            <a:picLocks noChangeAspect="1"/>
          </p:cNvPicPr>
          <p:nvPr/>
        </p:nvPicPr>
        <p:blipFill>
          <a:blip r:embed="rId5"/>
          <a:stretch>
            <a:fillRect/>
          </a:stretch>
        </p:blipFill>
        <p:spPr>
          <a:xfrm>
            <a:off x="789560" y="4653136"/>
            <a:ext cx="2308033" cy="130891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60955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1">
            <a:extLst>
              <a:ext uri="{FF2B5EF4-FFF2-40B4-BE49-F238E27FC236}">
                <a16:creationId xmlns:a16="http://schemas.microsoft.com/office/drawing/2014/main" id="{1EED9F70-DF74-EADE-F8B8-10225760958B}"/>
              </a:ext>
            </a:extLst>
          </p:cNvPr>
          <p:cNvSpPr>
            <a:spLocks noGrp="1"/>
          </p:cNvSpPr>
          <p:nvPr>
            <p:ph idx="1"/>
          </p:nvPr>
        </p:nvSpPr>
        <p:spPr>
          <a:xfrm>
            <a:off x="766764" y="1773238"/>
            <a:ext cx="6913412" cy="4176712"/>
          </a:xfrm>
        </p:spPr>
        <p:txBody>
          <a:bodyPr anchor="t">
            <a:normAutofit/>
          </a:bodyPr>
          <a:lstStyle/>
          <a:p>
            <a:pPr>
              <a:lnSpc>
                <a:spcPct val="90000"/>
              </a:lnSpc>
            </a:pPr>
            <a:r>
              <a:rPr lang="en-GB" sz="1600" dirty="0" err="1"/>
              <a:t>Yritysvetoinen</a:t>
            </a:r>
            <a:r>
              <a:rPr lang="en-GB" sz="1600" dirty="0"/>
              <a:t> TKI-</a:t>
            </a:r>
            <a:r>
              <a:rPr lang="en-GB" sz="1600" dirty="0" err="1"/>
              <a:t>rahoitus</a:t>
            </a:r>
            <a:r>
              <a:rPr lang="en-GB" sz="1600" dirty="0"/>
              <a:t>, </a:t>
            </a:r>
            <a:r>
              <a:rPr lang="en-GB" sz="1600" dirty="0" err="1"/>
              <a:t>esimerkiksi</a:t>
            </a:r>
            <a:r>
              <a:rPr lang="en-GB" sz="1600" dirty="0"/>
              <a:t> </a:t>
            </a:r>
            <a:r>
              <a:rPr lang="en-GB" sz="1600" dirty="0" err="1"/>
              <a:t>veturi-instrumentti</a:t>
            </a:r>
            <a:r>
              <a:rPr lang="en-GB" sz="1600" dirty="0"/>
              <a:t>, on </a:t>
            </a:r>
            <a:r>
              <a:rPr lang="en-GB" sz="1600" dirty="0" err="1"/>
              <a:t>hyvä</a:t>
            </a:r>
            <a:r>
              <a:rPr lang="en-GB" sz="1600" dirty="0"/>
              <a:t> </a:t>
            </a:r>
            <a:r>
              <a:rPr lang="en-GB" sz="1600" dirty="0" err="1"/>
              <a:t>lähtökohta</a:t>
            </a:r>
            <a:r>
              <a:rPr lang="en-GB" sz="1600" dirty="0"/>
              <a:t> </a:t>
            </a:r>
            <a:r>
              <a:rPr lang="en-GB" sz="1600" dirty="0" err="1"/>
              <a:t>vauhdittamaan</a:t>
            </a:r>
            <a:r>
              <a:rPr lang="en-GB" sz="1600" dirty="0"/>
              <a:t> </a:t>
            </a:r>
            <a:r>
              <a:rPr lang="en-GB" sz="1600" dirty="0" err="1"/>
              <a:t>kunnianhimoista</a:t>
            </a:r>
            <a:r>
              <a:rPr lang="en-GB" sz="1600" dirty="0"/>
              <a:t> </a:t>
            </a:r>
            <a:r>
              <a:rPr lang="en-GB" sz="1600" dirty="0" err="1"/>
              <a:t>missiopohjaista</a:t>
            </a:r>
            <a:r>
              <a:rPr lang="en-GB" sz="1600" dirty="0"/>
              <a:t> TKI-</a:t>
            </a:r>
            <a:r>
              <a:rPr lang="en-GB" sz="1600" dirty="0" err="1"/>
              <a:t>toimintaa</a:t>
            </a:r>
            <a:r>
              <a:rPr lang="en-GB" sz="1600" dirty="0"/>
              <a:t>.</a:t>
            </a:r>
          </a:p>
          <a:p>
            <a:pPr>
              <a:lnSpc>
                <a:spcPct val="90000"/>
              </a:lnSpc>
            </a:pPr>
            <a:r>
              <a:rPr lang="en-GB" sz="1600" dirty="0" err="1"/>
              <a:t>Kuitenkin</a:t>
            </a:r>
            <a:r>
              <a:rPr lang="en-GB" sz="1600" dirty="0"/>
              <a:t> </a:t>
            </a:r>
            <a:r>
              <a:rPr lang="en-GB" sz="1600" dirty="0" err="1"/>
              <a:t>koko</a:t>
            </a:r>
            <a:r>
              <a:rPr lang="en-GB" sz="1600" dirty="0"/>
              <a:t> </a:t>
            </a:r>
            <a:r>
              <a:rPr lang="en-GB" sz="1600" dirty="0" err="1"/>
              <a:t>teknologian</a:t>
            </a:r>
            <a:r>
              <a:rPr lang="en-GB" sz="1600" dirty="0"/>
              <a:t> </a:t>
            </a:r>
            <a:r>
              <a:rPr lang="en-GB" sz="1600" dirty="0" err="1"/>
              <a:t>valmiusasteen</a:t>
            </a:r>
            <a:r>
              <a:rPr lang="en-GB" sz="1600" dirty="0"/>
              <a:t> </a:t>
            </a:r>
            <a:r>
              <a:rPr lang="en-GB" sz="1600" dirty="0" err="1"/>
              <a:t>polku</a:t>
            </a:r>
            <a:r>
              <a:rPr lang="en-GB" sz="1600" dirty="0"/>
              <a:t> </a:t>
            </a:r>
            <a:r>
              <a:rPr lang="en-GB" sz="1600" dirty="0" err="1"/>
              <a:t>tulisi</a:t>
            </a:r>
            <a:r>
              <a:rPr lang="en-GB" sz="1600" dirty="0"/>
              <a:t> olla </a:t>
            </a:r>
            <a:r>
              <a:rPr lang="en-GB" sz="1600" dirty="0" err="1"/>
              <a:t>katettuna</a:t>
            </a:r>
            <a:r>
              <a:rPr lang="en-GB" sz="1600" dirty="0"/>
              <a:t> </a:t>
            </a:r>
            <a:r>
              <a:rPr lang="en-GB" sz="1600" dirty="0" err="1"/>
              <a:t>riskiä</a:t>
            </a:r>
            <a:r>
              <a:rPr lang="en-GB" sz="1600" dirty="0"/>
              <a:t> </a:t>
            </a:r>
            <a:r>
              <a:rPr lang="en-GB" sz="1600" dirty="0" err="1"/>
              <a:t>jakavilla</a:t>
            </a:r>
            <a:r>
              <a:rPr lang="en-GB" sz="1600" dirty="0"/>
              <a:t> </a:t>
            </a:r>
            <a:r>
              <a:rPr lang="en-GB" sz="1600" dirty="0" err="1"/>
              <a:t>rahoitusinstrumenteilla</a:t>
            </a:r>
            <a:r>
              <a:rPr lang="en-GB" sz="1600" dirty="0"/>
              <a:t>, </a:t>
            </a:r>
            <a:r>
              <a:rPr lang="en-GB" sz="1600" dirty="0" err="1"/>
              <a:t>mukaanlukien</a:t>
            </a:r>
            <a:r>
              <a:rPr lang="en-GB" sz="1600" dirty="0"/>
              <a:t> </a:t>
            </a:r>
            <a:r>
              <a:rPr lang="en-GB" sz="1600" dirty="0" err="1"/>
              <a:t>perustutkimus</a:t>
            </a:r>
            <a:r>
              <a:rPr lang="en-GB" sz="1600" dirty="0"/>
              <a:t> ja first-of-a-kind </a:t>
            </a:r>
            <a:r>
              <a:rPr lang="en-GB" sz="1600" dirty="0" err="1"/>
              <a:t>tehtaan</a:t>
            </a:r>
            <a:r>
              <a:rPr lang="en-GB" sz="1600" dirty="0"/>
              <a:t> </a:t>
            </a:r>
            <a:r>
              <a:rPr lang="en-GB" sz="1600" dirty="0" err="1"/>
              <a:t>investointi</a:t>
            </a:r>
            <a:r>
              <a:rPr lang="en-GB" sz="1600" dirty="0"/>
              <a:t>. </a:t>
            </a:r>
          </a:p>
          <a:p>
            <a:pPr>
              <a:lnSpc>
                <a:spcPct val="90000"/>
              </a:lnSpc>
            </a:pPr>
            <a:r>
              <a:rPr lang="en-GB" sz="1600" dirty="0" err="1"/>
              <a:t>Rahoituskentässä</a:t>
            </a:r>
            <a:r>
              <a:rPr lang="en-GB" sz="1600" dirty="0"/>
              <a:t> </a:t>
            </a:r>
            <a:r>
              <a:rPr lang="en-GB" sz="1600" dirty="0" err="1"/>
              <a:t>tulisi</a:t>
            </a:r>
            <a:r>
              <a:rPr lang="en-GB" sz="1600" dirty="0"/>
              <a:t> </a:t>
            </a:r>
            <a:r>
              <a:rPr lang="en-GB" sz="1600" dirty="0" err="1"/>
              <a:t>huomioida</a:t>
            </a:r>
            <a:r>
              <a:rPr lang="en-GB" sz="1600" dirty="0"/>
              <a:t> </a:t>
            </a:r>
            <a:r>
              <a:rPr lang="en-GB" sz="1600" dirty="0" err="1"/>
              <a:t>niin</a:t>
            </a:r>
            <a:r>
              <a:rPr lang="en-GB" sz="1600" dirty="0"/>
              <a:t> </a:t>
            </a:r>
            <a:r>
              <a:rPr lang="en-GB" sz="1600" dirty="0" err="1"/>
              <a:t>uusien</a:t>
            </a:r>
            <a:r>
              <a:rPr lang="en-GB" sz="1600" dirty="0"/>
              <a:t> </a:t>
            </a:r>
            <a:r>
              <a:rPr lang="en-GB" sz="1600" dirty="0" err="1"/>
              <a:t>tuotteiden</a:t>
            </a:r>
            <a:r>
              <a:rPr lang="en-GB" sz="1600" dirty="0"/>
              <a:t> ja </a:t>
            </a:r>
            <a:r>
              <a:rPr lang="en-GB" sz="1600" dirty="0" err="1"/>
              <a:t>liiketoiminnan</a:t>
            </a:r>
            <a:r>
              <a:rPr lang="en-GB" sz="1600" dirty="0"/>
              <a:t> </a:t>
            </a:r>
            <a:r>
              <a:rPr lang="en-GB" sz="1600" dirty="0" err="1"/>
              <a:t>kehittäminen</a:t>
            </a:r>
            <a:r>
              <a:rPr lang="en-GB" sz="1600" dirty="0"/>
              <a:t>, </a:t>
            </a:r>
            <a:r>
              <a:rPr lang="en-GB" sz="1600" dirty="0" err="1"/>
              <a:t>kuin</a:t>
            </a:r>
            <a:r>
              <a:rPr lang="en-GB" sz="1600" dirty="0"/>
              <a:t> </a:t>
            </a:r>
            <a:r>
              <a:rPr lang="en-GB" sz="1600" dirty="0" err="1"/>
              <a:t>nykytuotteiden</a:t>
            </a:r>
            <a:r>
              <a:rPr lang="en-GB" sz="1600" dirty="0"/>
              <a:t> ja </a:t>
            </a:r>
            <a:r>
              <a:rPr lang="en-GB" sz="1600" dirty="0" err="1"/>
              <a:t>tuotantoprosessien</a:t>
            </a:r>
            <a:r>
              <a:rPr lang="en-GB" sz="1600" dirty="0"/>
              <a:t> </a:t>
            </a:r>
            <a:r>
              <a:rPr lang="en-GB" sz="1600" dirty="0" err="1"/>
              <a:t>kehittäminen</a:t>
            </a:r>
            <a:r>
              <a:rPr lang="en-GB" sz="1600" dirty="0"/>
              <a:t>. </a:t>
            </a:r>
            <a:r>
              <a:rPr lang="en-GB" sz="1600" dirty="0" err="1"/>
              <a:t>Metsäteollisuuden</a:t>
            </a:r>
            <a:r>
              <a:rPr lang="en-GB" sz="1600" dirty="0"/>
              <a:t> </a:t>
            </a:r>
            <a:r>
              <a:rPr lang="en-GB" sz="1600" dirty="0" err="1"/>
              <a:t>kilpailukyvylle</a:t>
            </a:r>
            <a:r>
              <a:rPr lang="en-GB" sz="1600" dirty="0"/>
              <a:t> on myös </a:t>
            </a:r>
            <a:r>
              <a:rPr lang="en-GB" sz="1600" dirty="0" err="1"/>
              <a:t>tärkeää</a:t>
            </a:r>
            <a:r>
              <a:rPr lang="en-GB" sz="1600" dirty="0"/>
              <a:t> </a:t>
            </a:r>
            <a:r>
              <a:rPr lang="en-GB" sz="1600" dirty="0" err="1"/>
              <a:t>tutkittu</a:t>
            </a:r>
            <a:r>
              <a:rPr lang="en-GB" sz="1600" dirty="0"/>
              <a:t> </a:t>
            </a:r>
            <a:r>
              <a:rPr lang="en-GB" sz="1600" dirty="0" err="1"/>
              <a:t>tieto</a:t>
            </a:r>
            <a:r>
              <a:rPr lang="en-GB" sz="1600" dirty="0"/>
              <a:t> </a:t>
            </a:r>
            <a:r>
              <a:rPr lang="en-GB" sz="1600" dirty="0" err="1"/>
              <a:t>uudistavan</a:t>
            </a:r>
            <a:r>
              <a:rPr lang="en-GB" sz="1600" dirty="0"/>
              <a:t> </a:t>
            </a:r>
            <a:r>
              <a:rPr lang="en-GB" sz="1600" dirty="0" err="1"/>
              <a:t>metsätalouden</a:t>
            </a:r>
            <a:r>
              <a:rPr lang="en-GB" sz="1600" dirty="0"/>
              <a:t> </a:t>
            </a:r>
            <a:r>
              <a:rPr lang="en-GB" sz="1600" dirty="0" err="1"/>
              <a:t>toimenpiteiden</a:t>
            </a:r>
            <a:r>
              <a:rPr lang="en-GB" sz="1600" dirty="0"/>
              <a:t> </a:t>
            </a:r>
            <a:r>
              <a:rPr lang="en-GB" sz="1600" dirty="0" err="1"/>
              <a:t>vaikuttavuudesta</a:t>
            </a:r>
            <a:r>
              <a:rPr lang="en-GB" sz="1600" dirty="0"/>
              <a:t>. </a:t>
            </a:r>
          </a:p>
          <a:p>
            <a:pPr>
              <a:lnSpc>
                <a:spcPct val="90000"/>
              </a:lnSpc>
            </a:pPr>
            <a:r>
              <a:rPr lang="en-GB" sz="1600" dirty="0" err="1"/>
              <a:t>Yliopistoja</a:t>
            </a:r>
            <a:r>
              <a:rPr lang="en-GB" sz="1600" dirty="0"/>
              <a:t> </a:t>
            </a:r>
            <a:r>
              <a:rPr lang="en-GB" sz="1600" dirty="0" err="1"/>
              <a:t>tulisi</a:t>
            </a:r>
            <a:r>
              <a:rPr lang="en-GB" sz="1600" dirty="0"/>
              <a:t> </a:t>
            </a:r>
            <a:r>
              <a:rPr lang="en-GB" sz="1600" dirty="0" err="1"/>
              <a:t>kannustaa</a:t>
            </a:r>
            <a:r>
              <a:rPr lang="en-GB" sz="1600" dirty="0"/>
              <a:t> </a:t>
            </a:r>
            <a:r>
              <a:rPr lang="en-GB" sz="1600" dirty="0" err="1"/>
              <a:t>yritysyhteistyöhön</a:t>
            </a:r>
            <a:r>
              <a:rPr lang="en-GB" sz="1600" dirty="0"/>
              <a:t>, </a:t>
            </a:r>
            <a:r>
              <a:rPr lang="fi-FI" sz="1600" dirty="0"/>
              <a:t>esimerkiksi kasvattamalla yritysyhteistyön merkitystä yliopistojen rahoitusmallissa</a:t>
            </a:r>
            <a:r>
              <a:rPr lang="en-GB" sz="1600"/>
              <a:t>.  </a:t>
            </a:r>
            <a:endParaRPr lang="en-GB" sz="1600" dirty="0"/>
          </a:p>
          <a:p>
            <a:pPr>
              <a:lnSpc>
                <a:spcPct val="90000"/>
              </a:lnSpc>
            </a:pPr>
            <a:r>
              <a:rPr lang="en-GB" sz="1600" dirty="0"/>
              <a:t>TKI-</a:t>
            </a:r>
            <a:r>
              <a:rPr lang="en-GB" sz="1600" dirty="0" err="1"/>
              <a:t>rahoituksen</a:t>
            </a:r>
            <a:r>
              <a:rPr lang="en-GB" sz="1600" dirty="0"/>
              <a:t> </a:t>
            </a:r>
            <a:r>
              <a:rPr lang="en-GB" sz="1600" dirty="0" err="1"/>
              <a:t>vaikuttavuus</a:t>
            </a:r>
            <a:r>
              <a:rPr lang="en-GB" sz="1600" dirty="0"/>
              <a:t> </a:t>
            </a:r>
            <a:r>
              <a:rPr lang="en-GB" sz="1600" dirty="0" err="1"/>
              <a:t>jää</a:t>
            </a:r>
            <a:r>
              <a:rPr lang="en-GB" sz="1600" dirty="0"/>
              <a:t> </a:t>
            </a:r>
            <a:r>
              <a:rPr lang="en-GB" sz="1600" dirty="0" err="1"/>
              <a:t>vajavaiseksi</a:t>
            </a:r>
            <a:r>
              <a:rPr lang="en-GB" sz="1600" dirty="0"/>
              <a:t>, </a:t>
            </a:r>
            <a:r>
              <a:rPr lang="en-GB" sz="1600" dirty="0" err="1"/>
              <a:t>jos</a:t>
            </a:r>
            <a:r>
              <a:rPr lang="en-GB" sz="1600" dirty="0"/>
              <a:t> </a:t>
            </a:r>
            <a:r>
              <a:rPr lang="en-GB" sz="1600" dirty="0" err="1"/>
              <a:t>sitä</a:t>
            </a:r>
            <a:r>
              <a:rPr lang="en-GB" sz="1600" dirty="0"/>
              <a:t> </a:t>
            </a:r>
            <a:r>
              <a:rPr lang="en-GB" sz="1600" dirty="0" err="1"/>
              <a:t>ei</a:t>
            </a:r>
            <a:r>
              <a:rPr lang="en-GB" sz="1600" dirty="0"/>
              <a:t> </a:t>
            </a:r>
            <a:r>
              <a:rPr lang="en-GB" sz="1600" dirty="0" err="1"/>
              <a:t>suunnata</a:t>
            </a:r>
            <a:r>
              <a:rPr lang="en-GB" sz="1600" dirty="0"/>
              <a:t> myös </a:t>
            </a:r>
            <a:r>
              <a:rPr lang="en-GB" sz="1600" dirty="0" err="1"/>
              <a:t>ekosysteemi</a:t>
            </a:r>
            <a:r>
              <a:rPr lang="en-GB" sz="1600" dirty="0"/>
              <a:t>- ja </a:t>
            </a:r>
            <a:r>
              <a:rPr lang="en-GB" sz="1600" dirty="0" err="1"/>
              <a:t>innovaatiotoimintaan</a:t>
            </a:r>
            <a:r>
              <a:rPr lang="en-GB" sz="1600" dirty="0"/>
              <a:t>.</a:t>
            </a:r>
          </a:p>
          <a:p>
            <a:pPr lvl="1">
              <a:lnSpc>
                <a:spcPct val="90000"/>
              </a:lnSpc>
            </a:pPr>
            <a:r>
              <a:rPr lang="en-GB" sz="1600" dirty="0" err="1"/>
              <a:t>Nykyisellään</a:t>
            </a:r>
            <a:r>
              <a:rPr lang="en-GB" sz="1600" dirty="0"/>
              <a:t> </a:t>
            </a:r>
            <a:r>
              <a:rPr lang="en-GB" sz="1600" dirty="0" err="1"/>
              <a:t>puutteita</a:t>
            </a:r>
            <a:r>
              <a:rPr lang="en-GB" sz="1600" dirty="0"/>
              <a:t> non-profit </a:t>
            </a:r>
            <a:r>
              <a:rPr lang="en-GB" sz="1600" dirty="0" err="1"/>
              <a:t>innovaatioklustereiden</a:t>
            </a:r>
            <a:r>
              <a:rPr lang="en-GB" sz="1600" dirty="0"/>
              <a:t> (</a:t>
            </a:r>
            <a:r>
              <a:rPr lang="en-GB" sz="1600" dirty="0" err="1"/>
              <a:t>esim</a:t>
            </a:r>
            <a:r>
              <a:rPr lang="en-GB" sz="1600" dirty="0"/>
              <a:t>. CLIC Innovation) ja </a:t>
            </a:r>
            <a:r>
              <a:rPr lang="en-GB" sz="1600" dirty="0" err="1"/>
              <a:t>yliopistojen</a:t>
            </a:r>
            <a:r>
              <a:rPr lang="en-GB" sz="1600" dirty="0"/>
              <a:t> </a:t>
            </a:r>
            <a:r>
              <a:rPr lang="en-GB" sz="1600" dirty="0" err="1"/>
              <a:t>yrityskiihdyttämöjen</a:t>
            </a:r>
            <a:r>
              <a:rPr lang="en-GB" sz="1600" dirty="0"/>
              <a:t> </a:t>
            </a:r>
            <a:r>
              <a:rPr lang="en-GB" sz="1600" dirty="0" err="1"/>
              <a:t>rahoituksessa</a:t>
            </a:r>
            <a:r>
              <a:rPr lang="en-GB" sz="1600" dirty="0"/>
              <a:t>.</a:t>
            </a:r>
          </a:p>
        </p:txBody>
      </p:sp>
      <p:pic>
        <p:nvPicPr>
          <p:cNvPr id="8" name="Picture Placeholder 7" descr="A forest with many trees&#10;&#10;AI-generated content may be incorrect.">
            <a:extLst>
              <a:ext uri="{FF2B5EF4-FFF2-40B4-BE49-F238E27FC236}">
                <a16:creationId xmlns:a16="http://schemas.microsoft.com/office/drawing/2014/main" id="{41F7863A-3C83-51D3-E0AD-3E030A036381}"/>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l="28082" r="28082"/>
          <a:stretch>
            <a:fillRect/>
          </a:stretch>
        </p:blipFill>
        <p:spPr>
          <a:xfrm>
            <a:off x="8183563" y="0"/>
            <a:ext cx="4008437" cy="6858000"/>
          </a:xfrm>
        </p:spPr>
      </p:pic>
      <p:sp>
        <p:nvSpPr>
          <p:cNvPr id="4" name="Title 3">
            <a:extLst>
              <a:ext uri="{FF2B5EF4-FFF2-40B4-BE49-F238E27FC236}">
                <a16:creationId xmlns:a16="http://schemas.microsoft.com/office/drawing/2014/main" id="{FD9AAACB-7D5F-B57D-F076-9A3A302881E8}"/>
              </a:ext>
            </a:extLst>
          </p:cNvPr>
          <p:cNvSpPr>
            <a:spLocks noGrp="1"/>
          </p:cNvSpPr>
          <p:nvPr>
            <p:ph type="title"/>
          </p:nvPr>
        </p:nvSpPr>
        <p:spPr>
          <a:xfrm>
            <a:off x="766764" y="692150"/>
            <a:ext cx="6913412" cy="864642"/>
          </a:xfrm>
        </p:spPr>
        <p:txBody>
          <a:bodyPr anchor="ctr">
            <a:normAutofit/>
          </a:bodyPr>
          <a:lstStyle/>
          <a:p>
            <a:r>
              <a:rPr lang="en-GB" dirty="0"/>
              <a:t>TKI-</a:t>
            </a:r>
            <a:r>
              <a:rPr lang="en-GB" dirty="0" err="1"/>
              <a:t>rahoituksesta</a:t>
            </a:r>
            <a:r>
              <a:rPr lang="en-GB" dirty="0"/>
              <a:t> </a:t>
            </a:r>
            <a:r>
              <a:rPr lang="en-GB" dirty="0" err="1"/>
              <a:t>yleisesti</a:t>
            </a:r>
            <a:endParaRPr lang="en-GB" dirty="0"/>
          </a:p>
        </p:txBody>
      </p:sp>
      <p:sp>
        <p:nvSpPr>
          <p:cNvPr id="22" name="Slide Number Placeholder 4">
            <a:extLst>
              <a:ext uri="{FF2B5EF4-FFF2-40B4-BE49-F238E27FC236}">
                <a16:creationId xmlns:a16="http://schemas.microsoft.com/office/drawing/2014/main" id="{D057E5B9-1B88-376A-8DF5-85F36B008143}"/>
              </a:ext>
            </a:extLst>
          </p:cNvPr>
          <p:cNvSpPr>
            <a:spLocks noGrp="1"/>
          </p:cNvSpPr>
          <p:nvPr>
            <p:ph type="sldNum" sz="quarter" idx="18"/>
          </p:nvPr>
        </p:nvSpPr>
        <p:spPr>
          <a:xfrm>
            <a:off x="11425239" y="6381329"/>
            <a:ext cx="431800" cy="216023"/>
          </a:xfrm>
        </p:spPr>
        <p:txBody>
          <a:bodyPr/>
          <a:lstStyle/>
          <a:p>
            <a:pPr>
              <a:spcAft>
                <a:spcPts val="600"/>
              </a:spcAft>
            </a:pPr>
            <a:fld id="{49A25110-65A2-4B67-BF3F-8D6D3162EF46}" type="slidenum">
              <a:rPr lang="fi-FI" smtClean="0"/>
              <a:pPr>
                <a:spcAft>
                  <a:spcPts val="600"/>
                </a:spcAft>
              </a:pPr>
              <a:t>7</a:t>
            </a:fld>
            <a:endParaRPr lang="fi-FI"/>
          </a:p>
        </p:txBody>
      </p:sp>
      <p:sp>
        <p:nvSpPr>
          <p:cNvPr id="14" name="Text Placeholder 5">
            <a:extLst>
              <a:ext uri="{FF2B5EF4-FFF2-40B4-BE49-F238E27FC236}">
                <a16:creationId xmlns:a16="http://schemas.microsoft.com/office/drawing/2014/main" id="{5BEC93EC-4294-6A6F-BE1D-41FA92F037D4}"/>
              </a:ext>
            </a:extLst>
          </p:cNvPr>
          <p:cNvSpPr>
            <a:spLocks noGrp="1"/>
          </p:cNvSpPr>
          <p:nvPr>
            <p:ph type="body" sz="quarter" idx="13"/>
          </p:nvPr>
        </p:nvSpPr>
        <p:spPr>
          <a:xfrm>
            <a:off x="334964" y="260350"/>
            <a:ext cx="7345362" cy="184666"/>
          </a:xfrm>
        </p:spPr>
        <p:txBody>
          <a:bodyPr/>
          <a:lstStyle/>
          <a:p>
            <a:endParaRPr lang="en-US"/>
          </a:p>
        </p:txBody>
      </p:sp>
      <p:sp>
        <p:nvSpPr>
          <p:cNvPr id="3" name="Slide Number Placeholder 2" hidden="1">
            <a:extLst>
              <a:ext uri="{FF2B5EF4-FFF2-40B4-BE49-F238E27FC236}">
                <a16:creationId xmlns:a16="http://schemas.microsoft.com/office/drawing/2014/main" id="{D47D697F-918E-14F7-7F94-E1DBFBB22FDC}"/>
              </a:ext>
            </a:extLst>
          </p:cNvPr>
          <p:cNvSpPr>
            <a:spLocks noGrp="1"/>
          </p:cNvSpPr>
          <p:nvPr>
            <p:ph type="sldNum" sz="quarter" idx="4294967295"/>
          </p:nvPr>
        </p:nvSpPr>
        <p:spPr>
          <a:xfrm>
            <a:off x="11425239" y="6381329"/>
            <a:ext cx="431800" cy="216023"/>
          </a:xfrm>
        </p:spPr>
        <p:txBody>
          <a:bodyPr/>
          <a:lstStyle/>
          <a:p>
            <a:pPr>
              <a:spcAft>
                <a:spcPts val="600"/>
              </a:spcAft>
            </a:pPr>
            <a:fld id="{49A25110-65A2-4B67-BF3F-8D6D3162EF46}" type="slidenum">
              <a:rPr lang="fi-FI" smtClean="0"/>
              <a:pPr>
                <a:spcAft>
                  <a:spcPts val="600"/>
                </a:spcAft>
              </a:pPr>
              <a:t>7</a:t>
            </a:fld>
            <a:endParaRPr lang="fi-FI"/>
          </a:p>
        </p:txBody>
      </p:sp>
    </p:spTree>
    <p:extLst>
      <p:ext uri="{BB962C8B-B14F-4D97-AF65-F5344CB8AC3E}">
        <p14:creationId xmlns:p14="http://schemas.microsoft.com/office/powerpoint/2010/main" val="1677419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78AA614-0A83-05F6-4162-CC1C3E289A6A}"/>
              </a:ext>
            </a:extLst>
          </p:cNvPr>
          <p:cNvSpPr>
            <a:spLocks noGrp="1"/>
          </p:cNvSpPr>
          <p:nvPr>
            <p:ph type="dt" sz="half" idx="10"/>
          </p:nvPr>
        </p:nvSpPr>
        <p:spPr/>
        <p:txBody>
          <a:bodyPr/>
          <a:lstStyle/>
          <a:p>
            <a:fld id="{BD3CFFDA-818F-4A73-BD76-D775C6C0AF81}" type="datetime1">
              <a:rPr lang="en-GB" smtClean="0"/>
              <a:t>22/10/2025</a:t>
            </a:fld>
            <a:endParaRPr lang="fi-FI"/>
          </a:p>
        </p:txBody>
      </p:sp>
      <p:sp>
        <p:nvSpPr>
          <p:cNvPr id="3" name="Footer Placeholder 2">
            <a:extLst>
              <a:ext uri="{FF2B5EF4-FFF2-40B4-BE49-F238E27FC236}">
                <a16:creationId xmlns:a16="http://schemas.microsoft.com/office/drawing/2014/main" id="{3ECC343D-BA72-E6DB-AB68-2B3801C1BBB2}"/>
              </a:ext>
            </a:extLst>
          </p:cNvPr>
          <p:cNvSpPr>
            <a:spLocks noGrp="1"/>
          </p:cNvSpPr>
          <p:nvPr>
            <p:ph type="ftr" sz="quarter" idx="11"/>
          </p:nvPr>
        </p:nvSpPr>
        <p:spPr/>
        <p:txBody>
          <a:bodyPr/>
          <a:lstStyle/>
          <a:p>
            <a:r>
              <a:rPr lang="fi-FI"/>
              <a:t>Presentation name / Author</a:t>
            </a:r>
          </a:p>
        </p:txBody>
      </p:sp>
      <p:sp>
        <p:nvSpPr>
          <p:cNvPr id="4" name="Slide Number Placeholder 3">
            <a:extLst>
              <a:ext uri="{FF2B5EF4-FFF2-40B4-BE49-F238E27FC236}">
                <a16:creationId xmlns:a16="http://schemas.microsoft.com/office/drawing/2014/main" id="{470C3E62-60D5-C17C-5CD2-814D1E8749F9}"/>
              </a:ext>
            </a:extLst>
          </p:cNvPr>
          <p:cNvSpPr>
            <a:spLocks noGrp="1"/>
          </p:cNvSpPr>
          <p:nvPr>
            <p:ph type="sldNum" sz="quarter" idx="12"/>
          </p:nvPr>
        </p:nvSpPr>
        <p:spPr/>
        <p:txBody>
          <a:bodyPr/>
          <a:lstStyle/>
          <a:p>
            <a:fld id="{49A25110-65A2-4B67-BF3F-8D6D3162EF46}" type="slidenum">
              <a:rPr lang="fi-FI" smtClean="0"/>
              <a:pPr/>
              <a:t>8</a:t>
            </a:fld>
            <a:endParaRPr lang="fi-FI"/>
          </a:p>
        </p:txBody>
      </p:sp>
      <p:sp>
        <p:nvSpPr>
          <p:cNvPr id="5" name="Title 11">
            <a:extLst>
              <a:ext uri="{FF2B5EF4-FFF2-40B4-BE49-F238E27FC236}">
                <a16:creationId xmlns:a16="http://schemas.microsoft.com/office/drawing/2014/main" id="{6C315D29-B146-3746-8B38-E615F13A4935}"/>
              </a:ext>
            </a:extLst>
          </p:cNvPr>
          <p:cNvSpPr txBox="1">
            <a:spLocks/>
          </p:cNvSpPr>
          <p:nvPr/>
        </p:nvSpPr>
        <p:spPr>
          <a:xfrm>
            <a:off x="6960096" y="5733256"/>
            <a:ext cx="4963292" cy="1008782"/>
          </a:xfrm>
          <a:prstGeom prst="rect">
            <a:avLst/>
          </a:prstGeom>
        </p:spPr>
        <p:txBody>
          <a:bodyPr anchor="t" anchorCtr="0"/>
          <a:lstStyle>
            <a:lvl1pPr algn="l" defTabSz="1219170" rtl="0" eaLnBrk="1" latinLnBrk="0" hangingPunct="1">
              <a:lnSpc>
                <a:spcPct val="90000"/>
              </a:lnSpc>
              <a:spcBef>
                <a:spcPct val="0"/>
              </a:spcBef>
              <a:buNone/>
              <a:defRPr sz="3200" b="1" kern="1200" spc="0" baseline="0">
                <a:solidFill>
                  <a:schemeClr val="tx1"/>
                </a:solidFill>
                <a:latin typeface="+mj-lt"/>
                <a:ea typeface="+mj-ea"/>
                <a:cs typeface="+mj-cs"/>
              </a:defRPr>
            </a:lvl1pPr>
          </a:lstStyle>
          <a:p>
            <a:pPr marL="0" marR="0" lvl="0" indent="0" defTabSz="1219170" rtl="0" eaLnBrk="1" fontAlgn="auto" latinLnBrk="0" hangingPunct="1">
              <a:lnSpc>
                <a:spcPct val="80000"/>
              </a:lnSpc>
              <a:spcBef>
                <a:spcPct val="0"/>
              </a:spcBef>
              <a:spcAft>
                <a:spcPts val="0"/>
              </a:spcAft>
              <a:buClrTx/>
              <a:buSzTx/>
              <a:buFontTx/>
              <a:buNone/>
              <a:tabLst/>
              <a:defRPr/>
            </a:pPr>
            <a:r>
              <a:rPr kumimoji="0" lang="fi-FI" sz="1600" b="0" i="0" u="none" strike="noStrike" kern="1200" cap="none" spc="0" normalizeH="0" baseline="0" noProof="0" dirty="0">
                <a:ln>
                  <a:noFill/>
                </a:ln>
                <a:effectLst/>
                <a:uLnTx/>
                <a:uFillTx/>
                <a:latin typeface="Arial"/>
                <a:ea typeface="+mj-ea"/>
                <a:cs typeface="+mj-cs"/>
                <a:sym typeface="Arial"/>
              </a:rPr>
              <a:t>Katariina Kemppainen</a:t>
            </a:r>
          </a:p>
          <a:p>
            <a:pPr marL="0" marR="0" lvl="0" indent="0" defTabSz="1219170" rtl="0" eaLnBrk="1" fontAlgn="auto" latinLnBrk="0" hangingPunct="1">
              <a:lnSpc>
                <a:spcPct val="80000"/>
              </a:lnSpc>
              <a:spcBef>
                <a:spcPct val="0"/>
              </a:spcBef>
              <a:spcAft>
                <a:spcPts val="0"/>
              </a:spcAft>
              <a:buClrTx/>
              <a:buSzTx/>
              <a:buFontTx/>
              <a:buNone/>
              <a:tabLst/>
              <a:defRPr/>
            </a:pPr>
            <a:r>
              <a:rPr lang="fi-FI" sz="1600" b="0" dirty="0">
                <a:latin typeface="Arial"/>
                <a:sym typeface="Arial"/>
              </a:rPr>
              <a:t>katariina.kemppainen@metsagroup.com</a:t>
            </a:r>
          </a:p>
          <a:p>
            <a:pPr marL="0" marR="0" lvl="0" indent="0" defTabSz="1219170" rtl="0" eaLnBrk="1" fontAlgn="auto" latinLnBrk="0" hangingPunct="1">
              <a:lnSpc>
                <a:spcPct val="80000"/>
              </a:lnSpc>
              <a:spcBef>
                <a:spcPct val="0"/>
              </a:spcBef>
              <a:spcAft>
                <a:spcPts val="0"/>
              </a:spcAft>
              <a:buClrTx/>
              <a:buSzTx/>
              <a:buFontTx/>
              <a:buNone/>
              <a:tabLst/>
              <a:defRPr/>
            </a:pPr>
            <a:r>
              <a:rPr kumimoji="0" lang="fi-FI" sz="1600" b="0" i="0" u="none" strike="noStrike" kern="1200" cap="none" spc="0" normalizeH="0" baseline="0" noProof="0" dirty="0">
                <a:ln>
                  <a:noFill/>
                </a:ln>
                <a:effectLst/>
                <a:uLnTx/>
                <a:uFillTx/>
                <a:latin typeface="Arial"/>
                <a:ea typeface="+mj-ea"/>
                <a:cs typeface="+mj-cs"/>
                <a:sym typeface="Arial"/>
              </a:rPr>
              <a:t>+358 50 375 2212</a:t>
            </a:r>
          </a:p>
        </p:txBody>
      </p:sp>
    </p:spTree>
    <p:extLst>
      <p:ext uri="{BB962C8B-B14F-4D97-AF65-F5344CB8AC3E}">
        <p14:creationId xmlns:p14="http://schemas.microsoft.com/office/powerpoint/2010/main" val="3482149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zAnkw.V0PKs.BF.1.eV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MOWVglNNObOSfRYdnrCRMw"/>
</p:tagLst>
</file>

<file path=ppt/tags/tag7.xml><?xml version="1.0" encoding="utf-8"?>
<p:tagLst xmlns:a="http://schemas.openxmlformats.org/drawingml/2006/main" xmlns:r="http://schemas.openxmlformats.org/officeDocument/2006/relationships" xmlns:p="http://schemas.openxmlformats.org/presentationml/2006/main">
  <p:tag name="MIO_GUID" val="b79888df-3c2f-41f6-ab0e-41cca48c388f"/>
  <p:tag name="MIO_UPDATE" val="True"/>
  <p:tag name="MIO_VERSION" val="01.01.0001 00:00:00"/>
  <p:tag name="MIO_DBID" val="0F45B44C-9BC7-4D85-81C4-7155EE70A7B9"/>
  <p:tag name="MIO_LASTDOWNLOADED" val="14.11.2022 14:45:44.007"/>
  <p:tag name="MIO_OBJECTNAME" val="LinkedIn"/>
</p:tagLst>
</file>

<file path=ppt/tags/tag8.xml><?xml version="1.0" encoding="utf-8"?>
<p:tagLst xmlns:a="http://schemas.openxmlformats.org/drawingml/2006/main" xmlns:r="http://schemas.openxmlformats.org/officeDocument/2006/relationships" xmlns:p="http://schemas.openxmlformats.org/presentationml/2006/main">
  <p:tag name="MIO_EKGUID" val="00000000-0000-0000-0000-000000000000"/>
  <p:tag name="MIO_GUID" val="36be88db-f4ee-4688-8b82-575b1ba5d4d3"/>
  <p:tag name="MIO_UPDATE" val="True"/>
  <p:tag name="MIO_VERSION" val="01.01.0001 00:00:00"/>
  <p:tag name="MIO_DBID" val="0F45B44C-9BC7-4D85-81C4-7155EE70A7B9"/>
  <p:tag name="MIO_LASTDOWNLOADED" val="22.09.2021 12:35:44.172"/>
  <p:tag name="MIO_OBJECTNAME" val="Website"/>
</p:tagLst>
</file>

<file path=ppt/theme/theme1.xml><?xml version="1.0" encoding="utf-8"?>
<a:theme xmlns:a="http://schemas.openxmlformats.org/drawingml/2006/main" name="Metsä">
  <a:themeElements>
    <a:clrScheme name="Metsä 2023">
      <a:dk1>
        <a:srgbClr val="363534"/>
      </a:dk1>
      <a:lt1>
        <a:sysClr val="window" lastClr="FFFFFF"/>
      </a:lt1>
      <a:dk2>
        <a:srgbClr val="ACC0C3"/>
      </a:dk2>
      <a:lt2>
        <a:srgbClr val="A78A50"/>
      </a:lt2>
      <a:accent1>
        <a:srgbClr val="588087"/>
      </a:accent1>
      <a:accent2>
        <a:srgbClr val="363534"/>
      </a:accent2>
      <a:accent3>
        <a:srgbClr val="CDCDCD"/>
      </a:accent3>
      <a:accent4>
        <a:srgbClr val="62A700"/>
      </a:accent4>
      <a:accent5>
        <a:srgbClr val="85717A"/>
      </a:accent5>
      <a:accent6>
        <a:srgbClr val="BACED2"/>
      </a:accent6>
      <a:hlink>
        <a:srgbClr val="588087"/>
      </a:hlink>
      <a:folHlink>
        <a:srgbClr val="588087"/>
      </a:folHlink>
    </a:clrScheme>
    <a:fontScheme name="Metsä 201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marL="179388" indent="-179388">
          <a:spcBef>
            <a:spcPts val="600"/>
          </a:spcBef>
          <a:buClr>
            <a:schemeClr val="tx1"/>
          </a:buClr>
          <a:buFont typeface="Arial" panose="020B0604020202020204" pitchFamily="34" charset="0"/>
          <a:buChar char="•"/>
          <a:defRPr sz="1600" dirty="0" err="1" smtClean="0">
            <a:solidFill>
              <a:schemeClr val="tx1"/>
            </a:solidFill>
          </a:defRPr>
        </a:defPPr>
      </a:lstStyle>
    </a:txDef>
  </a:objectDefaults>
  <a:extraClrSchemeLst/>
  <a:extLst>
    <a:ext uri="{05A4C25C-085E-4340-85A3-A5531E510DB2}">
      <thm15:themeFamily xmlns:thm15="http://schemas.microsoft.com/office/thememl/2012/main" name="Presentation2" id="{95F51635-3386-8D4B-B66D-2B94CD2BB348}" vid="{B341CB0D-D07F-274B-A6BD-291285E9BDEA}"/>
    </a:ext>
  </a:extLst>
</a:theme>
</file>

<file path=ppt/theme/theme2.xml><?xml version="1.0" encoding="utf-8"?>
<a:theme xmlns:a="http://schemas.openxmlformats.org/drawingml/2006/main" name="Blank slide (logos left)">
  <a:themeElements>
    <a:clrScheme name="Custom 1">
      <a:dk1>
        <a:srgbClr val="000000"/>
      </a:dk1>
      <a:lt1>
        <a:srgbClr val="FFFFFF"/>
      </a:lt1>
      <a:dk2>
        <a:srgbClr val="44546A"/>
      </a:dk2>
      <a:lt2>
        <a:srgbClr val="E7E6E6"/>
      </a:lt2>
      <a:accent1>
        <a:srgbClr val="93BC88"/>
      </a:accent1>
      <a:accent2>
        <a:srgbClr val="417069"/>
      </a:accent2>
      <a:accent3>
        <a:srgbClr val="62A600"/>
      </a:accent3>
      <a:accent4>
        <a:srgbClr val="44546A"/>
      </a:accent4>
      <a:accent5>
        <a:srgbClr val="FEFFFE"/>
      </a:accent5>
      <a:accent6>
        <a:srgbClr val="FEFFFE"/>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dirty="0" smtClean="0">
            <a:latin typeface="+mn-lt"/>
          </a:defRPr>
        </a:defPPr>
      </a:lstStyle>
    </a:txDef>
  </a:objectDefaults>
  <a:extraClrSchemeLst/>
  <a:extLst>
    <a:ext uri="{05A4C25C-085E-4340-85A3-A5531E510DB2}">
      <thm15:themeFamily xmlns:thm15="http://schemas.microsoft.com/office/thememl/2012/main" name="Presentation17" id="{EF2CE198-AADB-4BA5-B600-A490F204D14F}" vid="{6F05E774-0DBA-4363-830A-8D06B31CB30D}"/>
    </a:ext>
  </a:extLst>
</a:theme>
</file>

<file path=ppt/theme/theme3.xml><?xml version="1.0" encoding="utf-8"?>
<a:theme xmlns:a="http://schemas.openxmlformats.org/drawingml/2006/main" name="1_Metsä">
  <a:themeElements>
    <a:clrScheme name="Metsä">
      <a:dk1>
        <a:srgbClr val="363534"/>
      </a:dk1>
      <a:lt1>
        <a:sysClr val="window" lastClr="FFFFFF"/>
      </a:lt1>
      <a:dk2>
        <a:srgbClr val="ACC0C3"/>
      </a:dk2>
      <a:lt2>
        <a:srgbClr val="CDCDCD"/>
      </a:lt2>
      <a:accent1>
        <a:srgbClr val="62A700"/>
      </a:accent1>
      <a:accent2>
        <a:srgbClr val="363534"/>
      </a:accent2>
      <a:accent3>
        <a:srgbClr val="CDCDCD"/>
      </a:accent3>
      <a:accent4>
        <a:srgbClr val="588087"/>
      </a:accent4>
      <a:accent5>
        <a:srgbClr val="808176"/>
      </a:accent5>
      <a:accent6>
        <a:srgbClr val="AE6060"/>
      </a:accent6>
      <a:hlink>
        <a:srgbClr val="62A700"/>
      </a:hlink>
      <a:folHlink>
        <a:srgbClr val="004165"/>
      </a:folHlink>
    </a:clrScheme>
    <a:fontScheme name="Metsä 201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marL="179388" indent="-179388">
          <a:spcBef>
            <a:spcPts val="600"/>
          </a:spcBef>
          <a:buClr>
            <a:schemeClr val="tx1"/>
          </a:buClr>
          <a:buFont typeface="Arial" panose="020B0604020202020204" pitchFamily="34" charset="0"/>
          <a:buChar char="•"/>
          <a:defRPr sz="1600" dirty="0" err="1" smtClean="0">
            <a:solidFill>
              <a:schemeClr val="tx1"/>
            </a:solidFill>
          </a:defRPr>
        </a:defPPr>
      </a:lstStyle>
    </a:txDef>
  </a:objectDefaults>
  <a:extraClrSchemeLst/>
  <a:extLst>
    <a:ext uri="{05A4C25C-085E-4340-85A3-A5531E510DB2}">
      <thm15:themeFamily xmlns:thm15="http://schemas.microsoft.com/office/thememl/2012/main" name="Presentation1" id="{A9630D52-8EC6-4BB2-8AAB-9DD491F8C7CA}" vid="{F5012EF2-E825-4750-9C31-446C1B040ED2}"/>
    </a:ext>
  </a:extLst>
</a:theme>
</file>

<file path=ppt/theme/theme4.xml><?xml version="1.0" encoding="utf-8"?>
<a:theme xmlns:a="http://schemas.openxmlformats.org/drawingml/2006/main" name="3_Metsä">
  <a:themeElements>
    <a:clrScheme name="Metsä">
      <a:dk1>
        <a:srgbClr val="363534"/>
      </a:dk1>
      <a:lt1>
        <a:sysClr val="window" lastClr="FFFFFF"/>
      </a:lt1>
      <a:dk2>
        <a:srgbClr val="ACC0C3"/>
      </a:dk2>
      <a:lt2>
        <a:srgbClr val="CDCDCD"/>
      </a:lt2>
      <a:accent1>
        <a:srgbClr val="62A700"/>
      </a:accent1>
      <a:accent2>
        <a:srgbClr val="363534"/>
      </a:accent2>
      <a:accent3>
        <a:srgbClr val="CDCDCD"/>
      </a:accent3>
      <a:accent4>
        <a:srgbClr val="588087"/>
      </a:accent4>
      <a:accent5>
        <a:srgbClr val="808176"/>
      </a:accent5>
      <a:accent6>
        <a:srgbClr val="AE6060"/>
      </a:accent6>
      <a:hlink>
        <a:srgbClr val="62A700"/>
      </a:hlink>
      <a:folHlink>
        <a:srgbClr val="004165"/>
      </a:folHlink>
    </a:clrScheme>
    <a:fontScheme name="Metsä 201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marL="179388" indent="-179388">
          <a:spcBef>
            <a:spcPts val="600"/>
          </a:spcBef>
          <a:buClr>
            <a:schemeClr val="tx1"/>
          </a:buClr>
          <a:buFont typeface="Arial" panose="020B0604020202020204" pitchFamily="34" charset="0"/>
          <a:buChar char="•"/>
          <a:defRPr sz="1600" dirty="0" err="1" smtClean="0">
            <a:solidFill>
              <a:schemeClr val="tx1"/>
            </a:solidFill>
          </a:defRPr>
        </a:defPPr>
      </a:lstStyle>
    </a:txDef>
  </a:objectDefaults>
  <a:extraClrSchemeLst/>
  <a:extLst>
    <a:ext uri="{05A4C25C-085E-4340-85A3-A5531E510DB2}">
      <thm15:themeFamily xmlns:thm15="http://schemas.microsoft.com/office/thememl/2012/main" name="metsa_group.potx" id="{52ED26D3-CBB7-44ED-B237-390BD45C1571}" vid="{DEB9AF6F-3A9B-4CB1-9BC3-103433D46602}"/>
    </a:ext>
  </a:extLst>
</a:theme>
</file>

<file path=ppt/theme/theme5.xml><?xml version="1.0" encoding="utf-8"?>
<a:theme xmlns:a="http://schemas.openxmlformats.org/drawingml/2006/main" name="ExpandFibre">
  <a:themeElements>
    <a:clrScheme name="Custom 1">
      <a:dk1>
        <a:srgbClr val="000000"/>
      </a:dk1>
      <a:lt1>
        <a:srgbClr val="FFFFFF"/>
      </a:lt1>
      <a:dk2>
        <a:srgbClr val="44546A"/>
      </a:dk2>
      <a:lt2>
        <a:srgbClr val="E7E6E6"/>
      </a:lt2>
      <a:accent1>
        <a:srgbClr val="93BC88"/>
      </a:accent1>
      <a:accent2>
        <a:srgbClr val="417069"/>
      </a:accent2>
      <a:accent3>
        <a:srgbClr val="62A600"/>
      </a:accent3>
      <a:accent4>
        <a:srgbClr val="44546A"/>
      </a:accent4>
      <a:accent5>
        <a:srgbClr val="FEFFFE"/>
      </a:accent5>
      <a:accent6>
        <a:srgbClr val="FEFFFE"/>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7" id="{EF2CE198-AADB-4BA5-B600-A490F204D14F}" vid="{7DD7AE24-DC84-4099-A42B-D5DC7EC158C1}"/>
    </a:ext>
  </a:extLst>
</a:theme>
</file>

<file path=ppt/theme/theme6.xml><?xml version="1.0" encoding="utf-8"?>
<a:theme xmlns:a="http://schemas.openxmlformats.org/drawingml/2006/main" name="Office Theme">
  <a:themeElements>
    <a:clrScheme name="Metsä 2023">
      <a:dk1>
        <a:srgbClr val="363534"/>
      </a:dk1>
      <a:lt1>
        <a:sysClr val="window" lastClr="FFFFFF"/>
      </a:lt1>
      <a:dk2>
        <a:srgbClr val="ACC0C3"/>
      </a:dk2>
      <a:lt2>
        <a:srgbClr val="A78A50"/>
      </a:lt2>
      <a:accent1>
        <a:srgbClr val="588087"/>
      </a:accent1>
      <a:accent2>
        <a:srgbClr val="363534"/>
      </a:accent2>
      <a:accent3>
        <a:srgbClr val="CDCDCD"/>
      </a:accent3>
      <a:accent4>
        <a:srgbClr val="62A700"/>
      </a:accent4>
      <a:accent5>
        <a:srgbClr val="85717A"/>
      </a:accent5>
      <a:accent6>
        <a:srgbClr val="BACED2"/>
      </a:accent6>
      <a:hlink>
        <a:srgbClr val="588087"/>
      </a:hlink>
      <a:folHlink>
        <a:srgbClr val="5880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Metsä 2023">
      <a:dk1>
        <a:srgbClr val="363534"/>
      </a:dk1>
      <a:lt1>
        <a:sysClr val="window" lastClr="FFFFFF"/>
      </a:lt1>
      <a:dk2>
        <a:srgbClr val="ACC0C3"/>
      </a:dk2>
      <a:lt2>
        <a:srgbClr val="A78A50"/>
      </a:lt2>
      <a:accent1>
        <a:srgbClr val="588087"/>
      </a:accent1>
      <a:accent2>
        <a:srgbClr val="363534"/>
      </a:accent2>
      <a:accent3>
        <a:srgbClr val="CDCDCD"/>
      </a:accent3>
      <a:accent4>
        <a:srgbClr val="62A700"/>
      </a:accent4>
      <a:accent5>
        <a:srgbClr val="85717A"/>
      </a:accent5>
      <a:accent6>
        <a:srgbClr val="BACED2"/>
      </a:accent6>
      <a:hlink>
        <a:srgbClr val="588087"/>
      </a:hlink>
      <a:folHlink>
        <a:srgbClr val="5880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c34dd070-9da3-41d4-bc02-216c0c00c932">
      <Terms xmlns="http://schemas.microsoft.com/office/infopath/2007/PartnerControls"/>
    </lcf76f155ced4ddcb4097134ff3c332f>
    <TaxCatchAll xmlns="7ba93c63-a69c-4c3e-92d2-592a1407268e" xsi:nil="true"/>
    <LinkkiVahvaan xmlns="c34dd070-9da3-41d4-bc02-216c0c00c932">
      <Url xsi:nil="true"/>
      <Description xsi:nil="true"/>
    </LinkkiVahvaan>
    <ViedaanVahvaan xmlns="c34dd070-9da3-41d4-bc02-216c0c00c932" xsi:nil="true"/>
    <Tila xmlns="c34dd070-9da3-41d4-bc02-216c0c00c93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145C21BFF5C7D4382C881A1CE61F615" ma:contentTypeVersion="17" ma:contentTypeDescription="Create a new document." ma:contentTypeScope="" ma:versionID="23bd2d5132b8b6f76aedb047d7fe5cd2">
  <xsd:schema xmlns:xsd="http://www.w3.org/2001/XMLSchema" xmlns:xs="http://www.w3.org/2001/XMLSchema" xmlns:p="http://schemas.microsoft.com/office/2006/metadata/properties" xmlns:ns2="c34dd070-9da3-41d4-bc02-216c0c00c932" xmlns:ns3="7ba93c63-a69c-4c3e-92d2-592a1407268e" targetNamespace="http://schemas.microsoft.com/office/2006/metadata/properties" ma:root="true" ma:fieldsID="b1298957c79681181d4605ad23deb789" ns2:_="" ns3:_="">
    <xsd:import namespace="c34dd070-9da3-41d4-bc02-216c0c00c932"/>
    <xsd:import namespace="7ba93c63-a69c-4c3e-92d2-592a1407268e"/>
    <xsd:element name="properties">
      <xsd:complexType>
        <xsd:sequence>
          <xsd:element name="documentManagement">
            <xsd:complexType>
              <xsd:all>
                <xsd:element ref="ns2:Tila" minOccurs="0"/>
                <xsd:element ref="ns2:ViedaanVahvaan" minOccurs="0"/>
                <xsd:element ref="ns2:LinkkiVahvaan" minOccurs="0"/>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4dd070-9da3-41d4-bc02-216c0c00c932" elementFormDefault="qualified">
    <xsd:import namespace="http://schemas.microsoft.com/office/2006/documentManagement/types"/>
    <xsd:import namespace="http://schemas.microsoft.com/office/infopath/2007/PartnerControls"/>
    <xsd:element name="Tila" ma:index="8" nillable="true" ma:displayName="Tila" ma:format="Dropdown" ma:internalName="Tila">
      <xsd:simpleType>
        <xsd:restriction base="dms:Choice">
          <xsd:enumeration value="Luonnos"/>
          <xsd:enumeration value="Valmis"/>
        </xsd:restriction>
      </xsd:simpleType>
    </xsd:element>
    <xsd:element name="ViedaanVahvaan" ma:index="9" nillable="true" ma:displayName="Viedään Vahvaan" ma:format="Dropdown" ma:internalName="ViedaanVahvaan">
      <xsd:simpleType>
        <xsd:restriction base="dms:Choice">
          <xsd:enumeration value="Ei"/>
          <xsd:enumeration value="Kyllä"/>
          <xsd:enumeration value="EOS"/>
          <xsd:enumeration value="Viety"/>
        </xsd:restriction>
      </xsd:simpleType>
    </xsd:element>
    <xsd:element name="LinkkiVahvaan" ma:index="10" nillable="true" ma:displayName="Linkki Vahvaan" ma:format="Hyperlink" ma:internalName="LinkkiVahvaan">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4f74eb33-bc01-4b65-a333-7b16e5d3bc2c" ma:termSetId="09814cd3-568e-fe90-9814-8d621ff8fb84" ma:anchorId="fba54fb3-c3e1-fe81-a776-ca4b69148c4d" ma:open="true" ma:isKeyword="false">
      <xsd:complexType>
        <xsd:sequence>
          <xsd:element ref="pc:Terms" minOccurs="0" maxOccurs="1"/>
        </xsd:sequence>
      </xsd:complex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ba93c63-a69c-4c3e-92d2-592a1407268e"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0ccf7f33-1c49-41ce-b5d1-f363ab5f6fa1}" ma:internalName="TaxCatchAll" ma:showField="CatchAllData" ma:web="7ba93c63-a69c-4c3e-92d2-592a1407268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790B1C0-E41B-4EEA-8F85-5A1CAB265B3D}">
  <ds:schemaRefs>
    <ds:schemaRef ds:uri="http://schemas.microsoft.com/office/2006/metadata/properties"/>
    <ds:schemaRef ds:uri="7ba93c63-a69c-4c3e-92d2-592a1407268e"/>
    <ds:schemaRef ds:uri="http://purl.org/dc/terms/"/>
    <ds:schemaRef ds:uri="c34dd070-9da3-41d4-bc02-216c0c00c932"/>
    <ds:schemaRef ds:uri="http://schemas.microsoft.com/office/2006/documentManagement/types"/>
    <ds:schemaRef ds:uri="http://schemas.microsoft.com/office/infopath/2007/PartnerControls"/>
    <ds:schemaRef ds:uri="http://purl.org/dc/elements/1.1/"/>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8D2390A4-AB98-48C0-A5EB-D2B255F527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34dd070-9da3-41d4-bc02-216c0c00c932"/>
    <ds:schemaRef ds:uri="7ba93c63-a69c-4c3e-92d2-592a1407268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773E2A9-4EB6-46F5-8E33-F2D6F32B2D5E}">
  <ds:schemaRefs>
    <ds:schemaRef ds:uri="http://schemas.microsoft.com/sharepoint/v3/contenttype/forms"/>
  </ds:schemaRefs>
</ds:datastoreItem>
</file>

<file path=docMetadata/LabelInfo.xml><?xml version="1.0" encoding="utf-8"?>
<clbl:labelList xmlns:clbl="http://schemas.microsoft.com/office/2020/mipLabelMetadata">
  <clbl:label id="{1a6781ca-b650-4250-9553-0dff8aad6264}" enabled="1" method="Privileged" siteId="{770c8619-ed01-4f02-84c5-2d8ea3da5d94}" removed="0"/>
</clbl:labelList>
</file>

<file path=docProps/app.xml><?xml version="1.0" encoding="utf-8"?>
<Properties xmlns="http://schemas.openxmlformats.org/officeDocument/2006/extended-properties" xmlns:vt="http://schemas.openxmlformats.org/officeDocument/2006/docPropsVTypes">
  <Template>Blank</Template>
  <TotalTime>0</TotalTime>
  <Words>684</Words>
  <Application>Microsoft Office PowerPoint</Application>
  <PresentationFormat>Laajakuva</PresentationFormat>
  <Paragraphs>80</Paragraphs>
  <Slides>8</Slides>
  <Notes>2</Notes>
  <HiddenSlides>0</HiddenSlides>
  <MMClips>0</MMClips>
  <ScaleCrop>false</ScaleCrop>
  <HeadingPairs>
    <vt:vector size="8" baseType="variant">
      <vt:variant>
        <vt:lpstr>Käytetyt fontit</vt:lpstr>
      </vt:variant>
      <vt:variant>
        <vt:i4>6</vt:i4>
      </vt:variant>
      <vt:variant>
        <vt:lpstr>Teema</vt:lpstr>
      </vt:variant>
      <vt:variant>
        <vt:i4>5</vt:i4>
      </vt:variant>
      <vt:variant>
        <vt:lpstr>Upotetut OLE-palvelimet</vt:lpstr>
      </vt:variant>
      <vt:variant>
        <vt:i4>1</vt:i4>
      </vt:variant>
      <vt:variant>
        <vt:lpstr>Dian otsikot</vt:lpstr>
      </vt:variant>
      <vt:variant>
        <vt:i4>8</vt:i4>
      </vt:variant>
    </vt:vector>
  </HeadingPairs>
  <TitlesOfParts>
    <vt:vector size="20" baseType="lpstr">
      <vt:lpstr>Arial</vt:lpstr>
      <vt:lpstr>Cabin</vt:lpstr>
      <vt:lpstr>Cabin Regular</vt:lpstr>
      <vt:lpstr>Calibri</vt:lpstr>
      <vt:lpstr>Calibri Light</vt:lpstr>
      <vt:lpstr>Fortum Sans TT Regular</vt:lpstr>
      <vt:lpstr>Metsä</vt:lpstr>
      <vt:lpstr>Blank slide (logos left)</vt:lpstr>
      <vt:lpstr>1_Metsä</vt:lpstr>
      <vt:lpstr>3_Metsä</vt:lpstr>
      <vt:lpstr>ExpandFibre</vt:lpstr>
      <vt:lpstr>think-cell Slide</vt:lpstr>
      <vt:lpstr>Metsä Groupin kokemukset veturihankkeesta ja TKI-toiminnan rahoituksesta</vt:lpstr>
      <vt:lpstr>Katariina Kemppainen</vt:lpstr>
      <vt:lpstr>Accelerating the development of  sustainable bioproducts  </vt:lpstr>
      <vt:lpstr>ExpandFibre Veturi programme</vt:lpstr>
      <vt:lpstr>Hankkeen hyödyt ja vaikutukset Metsä Groupin toimintaan</vt:lpstr>
      <vt:lpstr>Hankkeen hyödyt ja vaikutukset ekosysteemissä</vt:lpstr>
      <vt:lpstr>TKI-rahoituksesta yleisesti</vt:lpstr>
      <vt:lpstr>PowerPoint-esitys</vt:lpstr>
    </vt:vector>
  </TitlesOfParts>
  <Company>Metsaliitto Osuuskunt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tsä Groupin kokemukset veturihankkeesta ja TKI-toiminnan rahoituksesta</dc:title>
  <dc:creator>Kemppainen Katariina</dc:creator>
  <cp:lastModifiedBy>Pelkonen Antti (VNK)</cp:lastModifiedBy>
  <cp:revision>3</cp:revision>
  <cp:lastPrinted>2025-09-16T08:15:59Z</cp:lastPrinted>
  <dcterms:created xsi:type="dcterms:W3CDTF">2025-09-08T10:24:42Z</dcterms:created>
  <dcterms:modified xsi:type="dcterms:W3CDTF">2025-10-22T07:57: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e19d756-792e-42a1-bcad-4cb9051ddd2d_Enabled">
    <vt:lpwstr>true</vt:lpwstr>
  </property>
  <property fmtid="{D5CDD505-2E9C-101B-9397-08002B2CF9AE}" pid="3" name="MSIP_Label_8e19d756-792e-42a1-bcad-4cb9051ddd2d_SetDate">
    <vt:lpwstr>2024-07-30T12:27:53Z</vt:lpwstr>
  </property>
  <property fmtid="{D5CDD505-2E9C-101B-9397-08002B2CF9AE}" pid="4" name="MSIP_Label_8e19d756-792e-42a1-bcad-4cb9051ddd2d_Method">
    <vt:lpwstr>Standard</vt:lpwstr>
  </property>
  <property fmtid="{D5CDD505-2E9C-101B-9397-08002B2CF9AE}" pid="5" name="MSIP_Label_8e19d756-792e-42a1-bcad-4cb9051ddd2d_Name">
    <vt:lpwstr>Confidential</vt:lpwstr>
  </property>
  <property fmtid="{D5CDD505-2E9C-101B-9397-08002B2CF9AE}" pid="6" name="MSIP_Label_8e19d756-792e-42a1-bcad-4cb9051ddd2d_SiteId">
    <vt:lpwstr>41eb501a-f671-4ce0-a5bf-b64168c3705f</vt:lpwstr>
  </property>
  <property fmtid="{D5CDD505-2E9C-101B-9397-08002B2CF9AE}" pid="7" name="MSIP_Label_8e19d756-792e-42a1-bcad-4cb9051ddd2d_ActionId">
    <vt:lpwstr>fed9445e-83e8-4728-9801-6fa7cb853f01</vt:lpwstr>
  </property>
  <property fmtid="{D5CDD505-2E9C-101B-9397-08002B2CF9AE}" pid="8" name="MSIP_Label_8e19d756-792e-42a1-bcad-4cb9051ddd2d_ContentBits">
    <vt:lpwstr>2</vt:lpwstr>
  </property>
  <property fmtid="{D5CDD505-2E9C-101B-9397-08002B2CF9AE}" pid="9" name="ClassificationContentMarkingFooterLocations">
    <vt:lpwstr>Metsä:8</vt:lpwstr>
  </property>
  <property fmtid="{D5CDD505-2E9C-101B-9397-08002B2CF9AE}" pid="10" name="ClassificationContentMarkingFooterText">
    <vt:lpwstr>Confidential - Not for Public Consumption or Distribution</vt:lpwstr>
  </property>
  <property fmtid="{D5CDD505-2E9C-101B-9397-08002B2CF9AE}" pid="11" name="ContentTypeId">
    <vt:lpwstr>0x0101002145C21BFF5C7D4382C881A1CE61F615</vt:lpwstr>
  </property>
  <property fmtid="{D5CDD505-2E9C-101B-9397-08002B2CF9AE}" pid="12" name="MediaServiceImageTags">
    <vt:lpwstr/>
  </property>
</Properties>
</file>